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5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slideLayouts/slideLayout43.xml" ContentType="application/vnd.openxmlformats-officedocument.presentationml.slideLayout+xml"/>
  <Override PartName="/ppt/theme/theme7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8.xml" ContentType="application/vnd.openxmlformats-officedocument.theme+xml"/>
  <Override PartName="/ppt/slideLayouts/slideLayout75.xml" ContentType="application/vnd.openxmlformats-officedocument.presentationml.slideLayout+xml"/>
  <Override PartName="/ppt/theme/theme9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0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1.xml" ContentType="application/vnd.openxmlformats-officedocument.theme+xml"/>
  <Override PartName="/ppt/tags/tag1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4" r:id="rId1"/>
    <p:sldMasterId id="2147483662" r:id="rId2"/>
    <p:sldMasterId id="2147483673" r:id="rId3"/>
    <p:sldMasterId id="2147483680" r:id="rId4"/>
    <p:sldMasterId id="2147483694" r:id="rId5"/>
    <p:sldMasterId id="2147483709" r:id="rId6"/>
    <p:sldMasterId id="2147483721" r:id="rId7"/>
    <p:sldMasterId id="2147483723" r:id="rId8"/>
    <p:sldMasterId id="2147483753" r:id="rId9"/>
    <p:sldMasterId id="2147483757" r:id="rId10"/>
    <p:sldMasterId id="2147483787" r:id="rId11"/>
    <p:sldMasterId id="2147483792" r:id="rId12"/>
  </p:sldMasterIdLst>
  <p:notesMasterIdLst>
    <p:notesMasterId r:id="rId26"/>
  </p:notesMasterIdLst>
  <p:handoutMasterIdLst>
    <p:handoutMasterId r:id="rId27"/>
  </p:handoutMasterIdLst>
  <p:sldIdLst>
    <p:sldId id="384" r:id="rId13"/>
    <p:sldId id="385" r:id="rId14"/>
    <p:sldId id="386" r:id="rId15"/>
    <p:sldId id="387" r:id="rId16"/>
    <p:sldId id="388" r:id="rId17"/>
    <p:sldId id="389" r:id="rId18"/>
    <p:sldId id="320" r:id="rId19"/>
    <p:sldId id="321" r:id="rId20"/>
    <p:sldId id="322" r:id="rId21"/>
    <p:sldId id="323" r:id="rId22"/>
    <p:sldId id="324" r:id="rId23"/>
    <p:sldId id="325" r:id="rId24"/>
    <p:sldId id="268" r:id="rId25"/>
  </p:sldIdLst>
  <p:sldSz cx="12192000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RC MCCLURE" id="{19CE8FC8-FDF4-DB49-9512-AF95BFCEA47A}">
          <p14:sldIdLst>
            <p14:sldId id="384"/>
            <p14:sldId id="385"/>
            <p14:sldId id="386"/>
            <p14:sldId id="387"/>
            <p14:sldId id="388"/>
            <p14:sldId id="389"/>
            <p14:sldId id="320"/>
            <p14:sldId id="321"/>
            <p14:sldId id="322"/>
            <p14:sldId id="323"/>
            <p14:sldId id="324"/>
            <p14:sldId id="325"/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1E2"/>
    <a:srgbClr val="ED7D31"/>
    <a:srgbClr val="FBAD18"/>
    <a:srgbClr val="D7DF23"/>
    <a:srgbClr val="00558C"/>
    <a:srgbClr val="00B4DE"/>
    <a:srgbClr val="53565A"/>
    <a:srgbClr val="1F2A44"/>
    <a:srgbClr val="106A7F"/>
    <a:srgbClr val="8DC6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86"/>
    <p:restoredTop sz="41162" autoAdjust="0"/>
  </p:normalViewPr>
  <p:slideViewPr>
    <p:cSldViewPr snapToGrid="0" snapToObjects="1">
      <p:cViewPr varScale="1">
        <p:scale>
          <a:sx n="40" d="100"/>
          <a:sy n="40" d="100"/>
        </p:scale>
        <p:origin x="3016" y="1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82" d="100"/>
          <a:sy n="182" d="100"/>
        </p:scale>
        <p:origin x="1480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AF8D302-7B49-5E47-8348-9127F1E3559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39C338-FB0F-2148-BFEE-5E54DF9E77B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B996AA-76DA-724F-990D-6FD31699FD44}" type="datetimeFigureOut">
              <a:rPr lang="en-US" smtClean="0"/>
              <a:t>5/30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7798F4-39BC-2349-AA5B-CFDF6EE7F01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AD84CB-DD6C-E04C-8964-1317FFEB824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4F66B7-A965-5A49-8CE2-47D0F402F1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9795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18B6F9-7C3F-A84B-B4FD-74C0B71D836E}" type="datetimeFigureOut">
              <a:rPr lang="en-US" smtClean="0"/>
              <a:t>5/30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4AA159-85F2-C74A-93EC-00153D6A17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5273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6D5875-EF62-4A43-8313-04351598798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57170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8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D27F1D-D5C3-4873-BE28-C9929798F6E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001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sz="1000" b="0" i="1" baseline="0" dirty="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AB2566-4B08-4069-A451-01E311BBD5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0305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D27F1D-D5C3-4873-BE28-C9929798F6E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27123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AB2566-4B08-4069-A451-01E311BBD5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4161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4752">
              <a:defRPr/>
            </a:pPr>
            <a:endParaRPr lang="en-US" sz="1000" dirty="0">
              <a:solidFill>
                <a:srgbClr val="00000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AB2566-4B08-4069-A451-01E311BBD5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65324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AB2566-4B08-4069-A451-01E311BBD56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41388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800" b="1" i="0" kern="1200" dirty="0">
              <a:solidFill>
                <a:schemeClr val="tx1"/>
              </a:solidFill>
              <a:effectLst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047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2.pn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2.pn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1074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27116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6791" y="0"/>
            <a:ext cx="6085210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7"/>
            <a:ext cx="4399267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005948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6035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7"/>
            <a:ext cx="4239895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84015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928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6035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7"/>
            <a:ext cx="454270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4769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3" orient="horz" pos="2928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199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5017326" y="2838770"/>
            <a:ext cx="2157350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199">
              <a:solidFill>
                <a:srgbClr val="005073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97342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6566225"/>
            <a:ext cx="12192001" cy="2990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89696" y="6561620"/>
            <a:ext cx="1257301" cy="313440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23" y="6525955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81C0148-7551-41F8-A273-4787F6CFEC9F}" type="slidenum">
              <a:rPr lang="en-US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4096" y="807523"/>
            <a:ext cx="1165872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-2" y="-204890"/>
            <a:ext cx="10515600" cy="1325563"/>
          </a:xfrm>
        </p:spPr>
        <p:txBody>
          <a:bodyPr>
            <a:normAutofit/>
          </a:bodyPr>
          <a:lstStyle>
            <a:lvl1pPr>
              <a:defRPr sz="319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52144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91117" y="525416"/>
            <a:ext cx="10972801" cy="862109"/>
          </a:xfrm>
        </p:spPr>
        <p:txBody>
          <a:bodyPr anchor="t" anchorCtr="0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1"/>
          </p:nvPr>
        </p:nvSpPr>
        <p:spPr>
          <a:xfrm>
            <a:off x="878418" y="1944201"/>
            <a:ext cx="10761682" cy="1655233"/>
          </a:xfrm>
          <a:prstGeom prst="rect">
            <a:avLst/>
          </a:prstGeom>
        </p:spPr>
        <p:txBody>
          <a:bodyPr vert="horz" lIns="0"/>
          <a:lstStyle>
            <a:lvl1pPr marL="259010" indent="-380895">
              <a:defRPr lang="en-US" sz="2399" kern="1200" dirty="0" smtClean="0">
                <a:solidFill>
                  <a:schemeClr val="bg1"/>
                </a:solidFill>
                <a:latin typeface="Corbel"/>
                <a:ea typeface="+mn-ea"/>
                <a:cs typeface="Corbel"/>
              </a:defRPr>
            </a:lvl1pPr>
            <a:lvl2pPr>
              <a:defRPr lang="en-US" sz="2133" kern="1200" dirty="0">
                <a:solidFill>
                  <a:schemeClr val="bg1"/>
                </a:solidFill>
                <a:latin typeface="Corbel"/>
                <a:ea typeface="+mn-ea"/>
                <a:cs typeface="Corbel"/>
              </a:defRPr>
            </a:lvl2pPr>
          </a:lstStyle>
          <a:p>
            <a:pPr marL="219396" lvl="0" indent="-341281" algn="l" defTabSz="609433" rtl="0" eaLnBrk="1" latinLnBrk="0" hangingPunct="1">
              <a:spcBef>
                <a:spcPct val="20000"/>
              </a:spcBef>
              <a:buClr>
                <a:schemeClr val="accent2"/>
              </a:buClr>
              <a:buSzPct val="150000"/>
              <a:buFont typeface="Arial"/>
              <a:buChar char="•"/>
            </a:pPr>
            <a:r>
              <a:rPr lang="en-US"/>
              <a:t>Click to edit Master text styles</a:t>
            </a:r>
          </a:p>
          <a:p>
            <a:pPr marL="865394" lvl="1" indent="-380895" algn="l" defTabSz="609433" rtl="0" eaLnBrk="1" latinLnBrk="0" hangingPunct="1">
              <a:spcBef>
                <a:spcPts val="1312"/>
              </a:spcBef>
              <a:buFont typeface="Arial"/>
              <a:buChar char="–"/>
            </a:pPr>
            <a:r>
              <a:rPr lang="en-US"/>
              <a:t>Secon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2" hasCustomPrompt="1"/>
          </p:nvPr>
        </p:nvSpPr>
        <p:spPr>
          <a:xfrm>
            <a:off x="878419" y="1291560"/>
            <a:ext cx="4779434" cy="728133"/>
          </a:xfrm>
          <a:prstGeom prst="rect">
            <a:avLst/>
          </a:prstGeom>
        </p:spPr>
        <p:txBody>
          <a:bodyPr vert="horz" lIns="0" tIns="73152" rIns="0" bIns="0"/>
          <a:lstStyle>
            <a:lvl1pPr marL="0" indent="0">
              <a:buNone/>
              <a:defRPr sz="2133" spc="2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 GOES HERE </a:t>
            </a:r>
          </a:p>
        </p:txBody>
      </p:sp>
    </p:spTree>
    <p:extLst>
      <p:ext uri="{BB962C8B-B14F-4D97-AF65-F5344CB8AC3E}">
        <p14:creationId xmlns:p14="http://schemas.microsoft.com/office/powerpoint/2010/main" val="391548876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91117" y="525416"/>
            <a:ext cx="10972801" cy="8621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894159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5086" y="-25085"/>
            <a:ext cx="3750419" cy="688308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/>
            <a:endParaRPr lang="en-US" sz="23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650" y="781051"/>
            <a:ext cx="2683697" cy="206625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463553" y="3073403"/>
            <a:ext cx="2696633" cy="228176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66"/>
            </a:lvl1pPr>
            <a:lvl2pPr marL="609433" indent="0">
              <a:buNone/>
              <a:defRPr sz="1333"/>
            </a:lvl2pPr>
            <a:lvl3pPr marL="1218866" indent="0">
              <a:buNone/>
              <a:defRPr sz="1333"/>
            </a:lvl3pPr>
            <a:lvl4pPr marL="1828297" indent="0">
              <a:buNone/>
              <a:defRPr sz="1333"/>
            </a:lvl4pPr>
            <a:lvl5pPr marL="2437729" indent="0">
              <a:buNone/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29997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484558" y="1899981"/>
            <a:ext cx="9222890" cy="1981861"/>
            <a:chOff x="1194099" y="1549100"/>
            <a:chExt cx="7058797" cy="1516830"/>
          </a:xfrm>
        </p:grpSpPr>
        <p:sp>
          <p:nvSpPr>
            <p:cNvPr id="19" name="Oval 18"/>
            <p:cNvSpPr/>
            <p:nvPr userDrawn="1"/>
          </p:nvSpPr>
          <p:spPr>
            <a:xfrm>
              <a:off x="1194099" y="1549101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3046203" y="1549100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1" name="Oval 20"/>
            <p:cNvSpPr/>
            <p:nvPr userDrawn="1"/>
          </p:nvSpPr>
          <p:spPr>
            <a:xfrm>
              <a:off x="4894721" y="1549101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6736067" y="1549100"/>
              <a:ext cx="1516829" cy="1516829"/>
            </a:xfrm>
            <a:prstGeom prst="ellipse">
              <a:avLst/>
            </a:prstGeom>
            <a:noFill/>
            <a:ln w="254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sz="2399" kern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grpSp>
        <p:nvGrpSpPr>
          <p:cNvPr id="23" name="Group 22"/>
          <p:cNvGrpSpPr/>
          <p:nvPr userDrawn="1"/>
        </p:nvGrpSpPr>
        <p:grpSpPr>
          <a:xfrm>
            <a:off x="2475486" y="4086579"/>
            <a:ext cx="7299243" cy="532039"/>
            <a:chOff x="1856614" y="2807746"/>
            <a:chExt cx="5474432" cy="656216"/>
          </a:xfrm>
        </p:grpSpPr>
        <p:cxnSp>
          <p:nvCxnSpPr>
            <p:cNvPr id="24" name="Straight Connector 23"/>
            <p:cNvCxnSpPr/>
            <p:nvPr userDrawn="1"/>
          </p:nvCxnSpPr>
          <p:spPr>
            <a:xfrm>
              <a:off x="1856614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5" name="Straight Connector 24"/>
            <p:cNvCxnSpPr/>
            <p:nvPr userDrawn="1"/>
          </p:nvCxnSpPr>
          <p:spPr>
            <a:xfrm>
              <a:off x="3703831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6" name="Straight Connector 25"/>
            <p:cNvCxnSpPr/>
            <p:nvPr userDrawn="1"/>
          </p:nvCxnSpPr>
          <p:spPr>
            <a:xfrm>
              <a:off x="5482986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  <p:cxnSp>
          <p:nvCxnSpPr>
            <p:cNvPr id="27" name="Straight Connector 26"/>
            <p:cNvCxnSpPr/>
            <p:nvPr userDrawn="1"/>
          </p:nvCxnSpPr>
          <p:spPr>
            <a:xfrm>
              <a:off x="7331046" y="2807746"/>
              <a:ext cx="0" cy="656216"/>
            </a:xfrm>
            <a:prstGeom prst="lin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headEnd type="oval" w="med" len="med"/>
              <a:tailEnd type="triangle" w="med" len="med"/>
            </a:ln>
            <a:effectLst/>
          </p:spPr>
        </p:cxnSp>
      </p:grpSp>
      <p:sp>
        <p:nvSpPr>
          <p:cNvPr id="2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477352" y="4831155"/>
            <a:ext cx="2041463" cy="1212192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919058" y="4834038"/>
            <a:ext cx="2041463" cy="1216803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312313" y="4823349"/>
            <a:ext cx="2041463" cy="1219864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768633" y="4827323"/>
            <a:ext cx="2041463" cy="1219864"/>
          </a:xfrm>
          <a:prstGeom prst="rect">
            <a:avLst/>
          </a:prstGeom>
        </p:spPr>
        <p:txBody>
          <a:bodyPr vert="horz"/>
          <a:lstStyle>
            <a:lvl1pPr marL="0" marR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rgbClr val="FFFFFF"/>
                </a:solidFill>
                <a:latin typeface="+mj-lt"/>
                <a:cs typeface="Corbel"/>
              </a:defRPr>
            </a:lvl1pPr>
            <a:lvl2pPr marL="609433" indent="0">
              <a:buNone/>
              <a:defRPr sz="2666">
                <a:latin typeface="Arial"/>
                <a:cs typeface="Arial"/>
              </a:defRPr>
            </a:lvl2pPr>
            <a:lvl3pPr marL="1218866" indent="0">
              <a:buNone/>
              <a:defRPr sz="2399">
                <a:latin typeface="Arial"/>
                <a:cs typeface="Arial"/>
              </a:defRPr>
            </a:lvl3pPr>
            <a:lvl4pPr marL="1828297" indent="0">
              <a:buNone/>
              <a:defRPr sz="2133">
                <a:latin typeface="Arial"/>
                <a:cs typeface="Arial"/>
              </a:defRPr>
            </a:lvl4pPr>
            <a:lvl5pPr marL="2437729" indent="0">
              <a:buNone/>
              <a:defRPr sz="2133">
                <a:latin typeface="Arial"/>
                <a:cs typeface="Arial"/>
              </a:defRPr>
            </a:lvl5pPr>
          </a:lstStyle>
          <a:p>
            <a:pPr marL="0" marR="0" lvl="0" indent="0" algn="ctr" defTabSz="1218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Add char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  <a:t>description here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558C"/>
                </a:solidFill>
                <a:effectLst/>
                <a:uLnTx/>
                <a:uFillTx/>
                <a:latin typeface="Arial"/>
                <a:cs typeface="Arial"/>
              </a:rPr>
            </a:b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558C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937399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901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947" y="1901951"/>
            <a:ext cx="5303957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433891" y="1901951"/>
            <a:ext cx="5303957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85948" y="424084"/>
            <a:ext cx="10903544" cy="1258411"/>
          </a:xfrm>
          <a:prstGeom prst="rect">
            <a:avLst/>
          </a:prstGeom>
        </p:spPr>
        <p:txBody>
          <a:bodyPr lIns="0" bIns="0" anchor="b"/>
          <a:lstStyle>
            <a:lvl1pPr>
              <a:defRPr sz="3800" b="0" i="0">
                <a:solidFill>
                  <a:srgbClr val="00B4DE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51887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431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lIns="0" bIns="0" anchor="b"/>
          <a:lstStyle>
            <a:lvl1pPr>
              <a:defRPr sz="3200" b="0" i="0">
                <a:solidFill>
                  <a:srgbClr val="00B1E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338250"/>
            <a:ext cx="3932237" cy="3530737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96497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7AA9832-6E89-0543-9E90-EF6ACCC6949F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F8A74BF-FB0B-D84E-BDF4-D8ADA036E5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9111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8A32B-615C-CB46-B26F-C8C9DB615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960563"/>
            <a:ext cx="9144000" cy="2387600"/>
          </a:xfrm>
          <a:prstGeom prst="rect">
            <a:avLst/>
          </a:prstGeom>
        </p:spPr>
        <p:txBody>
          <a:bodyPr anchor="b"/>
          <a:lstStyle>
            <a:lvl1pPr algn="l">
              <a:defRPr sz="540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69594E-E5AE-7147-9C8E-5FE34EE759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44402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F56C41-4F83-3242-91F1-37768EF6337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03E524-3E9E-AF45-8057-47753CD32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36DB43-80C3-5A42-8FB9-AB7EC4031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3954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9BA88-AB4A-154B-8958-92F0026AE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8101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EC283-BC3C-D64C-B268-F2723FFC73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22384B-4891-B246-AECF-E0899B9968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4213DB-DA26-5D4F-9C84-361B5B160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A80659-73BB-8B4A-B2EC-931DCCD64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575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CF32D-ECCA-7743-91FF-4CF397FD8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59B4B2-8B94-1944-966D-405955E3FD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57BBA-4349-3D48-8106-3E73DB1F25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CA755-2D58-854D-BE95-855828DE6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4C617-B032-E849-A4F4-7AD93FE63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542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D7877-21E1-194E-AA63-A6125F623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8101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389E00-FD66-E34A-A68A-6AF812722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D1B6EF-15E6-0C49-A68F-852A263B10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40357A-E84D-B047-B920-B1BA4DF35F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381121-756E-6247-BCFE-E865B17A3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3BB5DC-5D20-614A-8089-070090544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3787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CD8AF-CFA1-5542-AFEB-D506BAFC6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48BBE9-D183-714A-ADF9-2465A8310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8314C-1BC2-BC4F-BE8D-50EEE27598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4FB16-D7D0-9540-AD04-6085D4E60B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2D874D-7A11-7F46-BD95-82032A84B7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B72BCA-43F3-DA40-9999-5184ADE75B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7AAE9A-7F9D-DB4E-AC97-08CC7F725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FEC7E1-7B51-5341-A5EB-7407E6AAC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2772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F21E4-942A-B94C-BD14-333A96456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8101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5B2BBE-1626-794D-A68D-E97C0A9321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BB660-B71B-8F49-832A-51971371C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7588CD-5D46-B641-B4E3-2103E3516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29515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948" y="424085"/>
            <a:ext cx="10903544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800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947" y="1352667"/>
            <a:ext cx="10903545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8830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E50A6F-EBA6-6D4D-910C-A1853883E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3B33C6-61D6-F243-AE1C-2E6FDACAC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57079A-5256-524F-869F-5BE22388D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8639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ED67B-3FA2-9845-AE78-3965383A6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54ACC8-FE16-954F-A906-EC20CBDC3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749810-F20A-8545-9E04-216F7C1239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17CD42-AEC5-6E47-972C-75F9B5BCCF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9ED489-F054-5E41-A04F-274272D86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0CE3A-1882-C54E-BD4C-C793EC165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1723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2BF5A-3B03-5A45-AB64-0924B3746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9938657-C6F0-6B45-BAFD-4BA5F3A805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02872-E643-434A-B7E1-204604AF5F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FC0A6E-A237-034C-BAA0-25C95ED3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3B1F82-682F-6441-B838-DCFD4F812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60F25-E759-8746-A349-D45B837ED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2925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DACAF-702F-664B-A102-248317483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8101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E3A999-429D-C74F-8AAD-5ABBDE7966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0A8874-B4D4-C34B-B0C5-F3FB159CE9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902A-A450-9A46-87F5-45C282D1C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2E1C2A-F9EB-5B47-AC27-0327A84CF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504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3376F8-7CAF-5C42-BE7E-08B361D5A9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80658-6659-3945-A38B-5140F842E3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A82649-4D02-8C4D-94F1-77AEB6B512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7D3265-83B7-9D42-B307-C7C26635C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B15D5-CC45-4545-820C-A56F23779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2807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DC Custom Solutions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/>
          <p:cNvGrpSpPr/>
          <p:nvPr userDrawn="1"/>
        </p:nvGrpSpPr>
        <p:grpSpPr>
          <a:xfrm>
            <a:off x="-1058" y="0"/>
            <a:ext cx="12192000" cy="1695450"/>
            <a:chOff x="-1058" y="0"/>
            <a:chExt cx="12192000" cy="169545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2"/>
            <a:srcRect t="28266" b="8152"/>
            <a:stretch/>
          </p:blipFill>
          <p:spPr>
            <a:xfrm>
              <a:off x="-1058" y="0"/>
              <a:ext cx="12192000" cy="1689652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1058" y="0"/>
              <a:ext cx="12192000" cy="1695450"/>
            </a:xfrm>
            <a:prstGeom prst="rect">
              <a:avLst/>
            </a:prstGeom>
          </p:spPr>
        </p:pic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874839"/>
            <a:ext cx="10820400" cy="3840161"/>
          </a:xfrm>
        </p:spPr>
        <p:txBody>
          <a:bodyPr anchor="t"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79362-658A-E344-B7E9-F19991414F7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153400" y="6477000"/>
            <a:ext cx="2590800" cy="318831"/>
          </a:xfrm>
        </p:spPr>
        <p:txBody>
          <a:bodyPr/>
          <a:lstStyle/>
          <a:p>
            <a:pPr algn="r"/>
            <a:r>
              <a:rPr lang="en-US" dirty="0"/>
              <a:t>© ID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60905"/>
            <a:ext cx="10820400" cy="724428"/>
          </a:xfrm>
        </p:spPr>
        <p:txBody>
          <a:bodyPr anchor="ctr" anchorCtr="0">
            <a:normAutofit/>
          </a:bodyPr>
          <a:lstStyle>
            <a:lvl1pPr algn="l">
              <a:defRPr sz="4000" b="0" i="0" cap="none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8967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DC Energy Insights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1058" y="0"/>
            <a:ext cx="12192000" cy="1695450"/>
            <a:chOff x="-1058" y="0"/>
            <a:chExt cx="12192000" cy="169545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2"/>
            <a:srcRect t="28266" b="8152"/>
            <a:stretch/>
          </p:blipFill>
          <p:spPr>
            <a:xfrm>
              <a:off x="-1058" y="0"/>
              <a:ext cx="12192000" cy="1689652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1058" y="0"/>
              <a:ext cx="12192000" cy="1695450"/>
            </a:xfrm>
            <a:prstGeom prst="rect">
              <a:avLst/>
            </a:prstGeom>
          </p:spPr>
        </p:pic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874839"/>
            <a:ext cx="10820400" cy="3840161"/>
          </a:xfrm>
        </p:spPr>
        <p:txBody>
          <a:bodyPr anchor="t"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79362-658A-E344-B7E9-F19991414F7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153400" y="6477000"/>
            <a:ext cx="2590800" cy="318831"/>
          </a:xfrm>
        </p:spPr>
        <p:txBody>
          <a:bodyPr/>
          <a:lstStyle/>
          <a:p>
            <a:pPr algn="r"/>
            <a:r>
              <a:rPr lang="en-US" dirty="0"/>
              <a:t>© ID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60905"/>
            <a:ext cx="10820400" cy="724428"/>
          </a:xfrm>
        </p:spPr>
        <p:txBody>
          <a:bodyPr anchor="ctr" anchorCtr="0">
            <a:normAutofit/>
          </a:bodyPr>
          <a:lstStyle>
            <a:lvl1pPr algn="l">
              <a:defRPr sz="4000" b="0" i="0" cap="none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69393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DC Financial Insights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1058" y="0"/>
            <a:ext cx="12192000" cy="1695450"/>
            <a:chOff x="-1058" y="0"/>
            <a:chExt cx="12192000" cy="169545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2"/>
            <a:srcRect t="28266" b="8152"/>
            <a:stretch/>
          </p:blipFill>
          <p:spPr>
            <a:xfrm>
              <a:off x="-1058" y="0"/>
              <a:ext cx="12192000" cy="1689652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1058" y="0"/>
              <a:ext cx="12192000" cy="1695450"/>
            </a:xfrm>
            <a:prstGeom prst="rect">
              <a:avLst/>
            </a:prstGeom>
          </p:spPr>
        </p:pic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874839"/>
            <a:ext cx="10820400" cy="3840161"/>
          </a:xfrm>
        </p:spPr>
        <p:txBody>
          <a:bodyPr anchor="t"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79362-658A-E344-B7E9-F19991414F7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153400" y="6477000"/>
            <a:ext cx="2590800" cy="318831"/>
          </a:xfrm>
        </p:spPr>
        <p:txBody>
          <a:bodyPr/>
          <a:lstStyle/>
          <a:p>
            <a:pPr algn="r"/>
            <a:r>
              <a:rPr lang="en-US" dirty="0"/>
              <a:t>© ID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60905"/>
            <a:ext cx="10820400" cy="724428"/>
          </a:xfrm>
        </p:spPr>
        <p:txBody>
          <a:bodyPr anchor="ctr" anchorCtr="0">
            <a:normAutofit/>
          </a:bodyPr>
          <a:lstStyle>
            <a:lvl1pPr algn="l">
              <a:defRPr sz="4000" b="0" i="0" cap="none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0729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DC Government Insights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1058" y="0"/>
            <a:ext cx="12192000" cy="1695450"/>
            <a:chOff x="-1058" y="0"/>
            <a:chExt cx="12192000" cy="169545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2"/>
            <a:srcRect t="28266" b="8152"/>
            <a:stretch/>
          </p:blipFill>
          <p:spPr>
            <a:xfrm>
              <a:off x="-1058" y="0"/>
              <a:ext cx="12192000" cy="1689652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1058" y="0"/>
              <a:ext cx="12192000" cy="1695450"/>
            </a:xfrm>
            <a:prstGeom prst="rect">
              <a:avLst/>
            </a:prstGeom>
          </p:spPr>
        </p:pic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874839"/>
            <a:ext cx="10820400" cy="3840161"/>
          </a:xfrm>
        </p:spPr>
        <p:txBody>
          <a:bodyPr anchor="t"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79362-658A-E344-B7E9-F19991414F7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153400" y="6477000"/>
            <a:ext cx="2590800" cy="318831"/>
          </a:xfrm>
        </p:spPr>
        <p:txBody>
          <a:bodyPr/>
          <a:lstStyle/>
          <a:p>
            <a:pPr algn="r"/>
            <a:r>
              <a:rPr lang="en-US" dirty="0"/>
              <a:t>© ID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60905"/>
            <a:ext cx="10820400" cy="724428"/>
          </a:xfrm>
        </p:spPr>
        <p:txBody>
          <a:bodyPr anchor="ctr" anchorCtr="0">
            <a:normAutofit/>
          </a:bodyPr>
          <a:lstStyle>
            <a:lvl1pPr algn="l">
              <a:defRPr sz="4000" b="0" i="0" cap="none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592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DC Health Insights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1058" y="0"/>
            <a:ext cx="12192000" cy="1695450"/>
            <a:chOff x="-1058" y="0"/>
            <a:chExt cx="12192000" cy="169545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2"/>
            <a:srcRect t="28266" b="8152"/>
            <a:stretch/>
          </p:blipFill>
          <p:spPr>
            <a:xfrm>
              <a:off x="-1058" y="0"/>
              <a:ext cx="12192000" cy="1689652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1058" y="0"/>
              <a:ext cx="12192000" cy="1695450"/>
            </a:xfrm>
            <a:prstGeom prst="rect">
              <a:avLst/>
            </a:prstGeom>
          </p:spPr>
        </p:pic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874839"/>
            <a:ext cx="10820400" cy="3840161"/>
          </a:xfrm>
        </p:spPr>
        <p:txBody>
          <a:bodyPr anchor="t"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79362-658A-E344-B7E9-F19991414F7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153400" y="6477000"/>
            <a:ext cx="2590800" cy="318831"/>
          </a:xfrm>
        </p:spPr>
        <p:txBody>
          <a:bodyPr/>
          <a:lstStyle/>
          <a:p>
            <a:pPr algn="r"/>
            <a:r>
              <a:rPr lang="en-US" dirty="0"/>
              <a:t>© ID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60905"/>
            <a:ext cx="10820400" cy="724428"/>
          </a:xfrm>
        </p:spPr>
        <p:txBody>
          <a:bodyPr anchor="ctr" anchorCtr="0">
            <a:normAutofit/>
          </a:bodyPr>
          <a:lstStyle>
            <a:lvl1pPr algn="l">
              <a:defRPr sz="4000" b="0" i="0" cap="none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51332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948" y="424085"/>
            <a:ext cx="10903544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800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1222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DC Manufacturing Insights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-1058" y="0"/>
            <a:ext cx="12192000" cy="1695450"/>
            <a:chOff x="-1058" y="0"/>
            <a:chExt cx="12192000" cy="169545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2"/>
            <a:srcRect t="28266" b="8152"/>
            <a:stretch/>
          </p:blipFill>
          <p:spPr>
            <a:xfrm>
              <a:off x="-1058" y="0"/>
              <a:ext cx="12192000" cy="1689652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1058" y="0"/>
              <a:ext cx="12192000" cy="1695450"/>
            </a:xfrm>
            <a:prstGeom prst="rect">
              <a:avLst/>
            </a:prstGeom>
          </p:spPr>
        </p:pic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874839"/>
            <a:ext cx="10820400" cy="3840161"/>
          </a:xfrm>
        </p:spPr>
        <p:txBody>
          <a:bodyPr anchor="t"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79362-658A-E344-B7E9-F19991414F7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153400" y="6477000"/>
            <a:ext cx="2590800" cy="318831"/>
          </a:xfrm>
        </p:spPr>
        <p:txBody>
          <a:bodyPr/>
          <a:lstStyle/>
          <a:p>
            <a:pPr algn="r"/>
            <a:r>
              <a:rPr lang="en-US" dirty="0"/>
              <a:t>© ID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60905"/>
            <a:ext cx="10820400" cy="724428"/>
          </a:xfrm>
        </p:spPr>
        <p:txBody>
          <a:bodyPr anchor="ctr" anchorCtr="0">
            <a:normAutofit/>
          </a:bodyPr>
          <a:lstStyle>
            <a:lvl1pPr algn="l">
              <a:defRPr sz="4000" b="0" i="0" cap="none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923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DC Retail Insights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-1058" y="0"/>
            <a:ext cx="12192000" cy="1695450"/>
            <a:chOff x="-1058" y="0"/>
            <a:chExt cx="12192000" cy="169545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2"/>
            <a:srcRect t="28266" b="8152"/>
            <a:stretch/>
          </p:blipFill>
          <p:spPr>
            <a:xfrm>
              <a:off x="-1058" y="0"/>
              <a:ext cx="12192000" cy="1689652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1058" y="0"/>
              <a:ext cx="12192000" cy="1695450"/>
            </a:xfrm>
            <a:prstGeom prst="rect">
              <a:avLst/>
            </a:prstGeom>
          </p:spPr>
        </p:pic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874839"/>
            <a:ext cx="10820400" cy="3840161"/>
          </a:xfrm>
        </p:spPr>
        <p:txBody>
          <a:bodyPr anchor="t"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879362-658A-E344-B7E9-F19991414F7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153400" y="6477000"/>
            <a:ext cx="2590800" cy="318831"/>
          </a:xfrm>
        </p:spPr>
        <p:txBody>
          <a:bodyPr/>
          <a:lstStyle/>
          <a:p>
            <a:pPr algn="r"/>
            <a:r>
              <a:rPr lang="en-US" dirty="0"/>
              <a:t>© ID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460905"/>
            <a:ext cx="10820400" cy="724428"/>
          </a:xfrm>
        </p:spPr>
        <p:txBody>
          <a:bodyPr anchor="ctr" anchorCtr="0">
            <a:normAutofit/>
          </a:bodyPr>
          <a:lstStyle>
            <a:lvl1pPr algn="l">
              <a:defRPr sz="4000" b="0" i="0" cap="none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3188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8A32B-615C-CB46-B26F-C8C9DB615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1565" y="2395579"/>
            <a:ext cx="6508830" cy="2387600"/>
          </a:xfrm>
          <a:prstGeom prst="rect">
            <a:avLst/>
          </a:prstGeom>
        </p:spPr>
        <p:txBody>
          <a:bodyPr anchor="b"/>
          <a:lstStyle>
            <a:lvl1pPr algn="l">
              <a:defRPr sz="4800" b="1" i="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3528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49BA88-AB4A-154B-8958-92F0026AE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8101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EC283-BC3C-D64C-B268-F2723FFC73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22384B-4891-B246-AECF-E0899B9968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4213DB-DA26-5D4F-9C84-361B5B160A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A80659-73BB-8B4A-B2EC-931DCCD64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6211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CF32D-ECCA-7743-91FF-4CF397FD8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59B4B2-8B94-1944-966D-405955E3FD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C57BBA-4349-3D48-8106-3E73DB1F25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2CA755-2D58-854D-BE95-855828DE6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54C617-B032-E849-A4F4-7AD93FE63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5467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FD7877-21E1-194E-AA63-A6125F6236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8101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389E00-FD66-E34A-A68A-6AF812722E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D1B6EF-15E6-0C49-A68F-852A263B10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40357A-E84D-B047-B920-B1BA4DF35F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381121-756E-6247-BCFE-E865B17A3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3BB5DC-5D20-614A-8089-070090544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9668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CD8AF-CFA1-5542-AFEB-D506BAFC67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48BBE9-D183-714A-ADF9-2465A83103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8314C-1BC2-BC4F-BE8D-50EEE27598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4FB16-D7D0-9540-AD04-6085D4E60B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2D874D-7A11-7F46-BD95-82032A84B7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4B72BCA-43F3-DA40-9999-5184ADE75B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7AAE9A-7F9D-DB4E-AC97-08CC7F725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FEC7E1-7B51-5341-A5EB-7407E6AAC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49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CF21E4-942A-B94C-BD14-333A96456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8101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5B2BBE-1626-794D-A68D-E97C0A9321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2BB660-B71B-8F49-832A-51971371C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7588CD-5D46-B641-B4E3-2103E3516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6364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E50A6F-EBA6-6D4D-910C-A1853883E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3B33C6-61D6-F243-AE1C-2E6FDACAC1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57079A-5256-524F-869F-5BE22388D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66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ED67B-3FA2-9845-AE78-3965383A64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54ACC8-FE16-954F-A906-EC20CBDC38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749810-F20A-8545-9E04-216F7C1239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17CD42-AEC5-6E47-972C-75F9B5BCCF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89ED489-F054-5E41-A04F-274272D86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60CE3A-1882-C54E-BD4C-C793EC165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2202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9528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2BF5A-3B03-5A45-AB64-0924B37468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9938657-C6F0-6B45-BAFD-4BA5F3A8055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802872-E643-434A-B7E1-204604AF5F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FC0A6E-A237-034C-BAA0-25C95ED38E0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3B1F82-682F-6441-B838-DCFD4F812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F60F25-E759-8746-A349-D45B837ED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1960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DACAF-702F-664B-A102-248317483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281011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E3A999-429D-C74F-8AAD-5ABBDE7966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0A8874-B4D4-C34B-B0C5-F3FB159CE9D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10902A-A450-9A46-87F5-45C282D1C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2E1C2A-F9EB-5B47-AC27-0327A84CF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4261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3376F8-7CAF-5C42-BE7E-08B361D5A93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80658-6659-3945-A38B-5140F842E3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A82649-4D02-8C4D-94F1-77AEB6B512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998208E-4783-C64B-87ED-BC55F0CB780C}" type="datetimeFigureOut">
              <a:rPr lang="en-US" smtClean="0"/>
              <a:t>5/30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7D3265-83B7-9D42-B307-C7C26635C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BB15D5-CC45-4545-820C-A56F23779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9D0DBDC-1BDD-CF4D-8F89-7DC19BA62A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7645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04673" y="3285069"/>
            <a:ext cx="8572746" cy="1333931"/>
          </a:xfrm>
          <a:prstGeom prst="rect">
            <a:avLst/>
          </a:prstGeom>
        </p:spPr>
        <p:txBody>
          <a:bodyPr anchor="b" anchorCtr="0"/>
          <a:lstStyle>
            <a:lvl1pPr algn="l">
              <a:defRPr sz="480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r>
              <a:rPr lang="en-US" dirty="0"/>
              <a:t>Section Title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04673" y="4618999"/>
            <a:ext cx="9208820" cy="1231384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2400" baseline="0">
                <a:solidFill>
                  <a:srgbClr val="00AFD7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If Needed, additional </a:t>
            </a:r>
            <a:br>
              <a:rPr lang="en-US" dirty="0"/>
            </a:br>
            <a:r>
              <a:rPr lang="en-US" dirty="0"/>
              <a:t>Information can go here.</a:t>
            </a:r>
          </a:p>
        </p:txBody>
      </p:sp>
    </p:spTree>
    <p:extLst>
      <p:ext uri="{BB962C8B-B14F-4D97-AF65-F5344CB8AC3E}">
        <p14:creationId xmlns:p14="http://schemas.microsoft.com/office/powerpoint/2010/main" val="33659167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158359"/>
            <a:ext cx="11061895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133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478355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98351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273" indent="0">
              <a:buNone/>
              <a:defRPr/>
            </a:lvl2pPr>
            <a:lvl3pPr marL="569726" indent="0">
              <a:buNone/>
              <a:defRPr/>
            </a:lvl3pPr>
            <a:lvl4pPr marL="688753" indent="0">
              <a:buNone/>
              <a:defRPr/>
            </a:lvl4pPr>
            <a:lvl5pPr marL="80142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2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804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4" y="1220546"/>
            <a:ext cx="10130722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2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5464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4" y="1220546"/>
            <a:ext cx="10130722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2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2928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565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70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39" indent="-533157" algn="l">
              <a:lnSpc>
                <a:spcPct val="90000"/>
              </a:lnSpc>
              <a:defRPr sz="5332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81020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565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70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39" indent="-533157" algn="l">
              <a:lnSpc>
                <a:spcPct val="90000"/>
              </a:lnSpc>
              <a:defRPr sz="5332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15598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1" y="5222858"/>
            <a:ext cx="10852149" cy="68480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6"/>
              </a:lnSpc>
              <a:spcBef>
                <a:spcPts val="0"/>
              </a:spcBef>
              <a:buNone/>
              <a:defRPr sz="3199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16637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947" y="1901951"/>
            <a:ext cx="5303957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 hasCustomPrompt="1"/>
          </p:nvPr>
        </p:nvSpPr>
        <p:spPr>
          <a:xfrm>
            <a:off x="6433891" y="1901951"/>
            <a:ext cx="5303957" cy="4054005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85948" y="424084"/>
            <a:ext cx="10903544" cy="1258411"/>
          </a:xfrm>
          <a:prstGeom prst="rect">
            <a:avLst/>
          </a:prstGeom>
        </p:spPr>
        <p:txBody>
          <a:bodyPr lIns="0" bIns="0" anchor="b"/>
          <a:lstStyle>
            <a:lvl1pPr>
              <a:defRPr sz="3800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6687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3"/>
            <a:ext cx="12401551" cy="3790949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8380" y="4072692"/>
            <a:ext cx="11152314" cy="715965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4266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52226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0895194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12124266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636905" y="6322226"/>
            <a:ext cx="4622390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3"/>
            <a:ext cx="11307184" cy="5688861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371266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2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E2044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1549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2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E2044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3842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ull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7605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0B4DE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64920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761228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51635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67514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200" y="1797052"/>
            <a:ext cx="10820400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6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89" y="5530962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565">
              <a:lnSpc>
                <a:spcPct val="100000"/>
              </a:lnSpc>
              <a:spcBef>
                <a:spcPct val="50000"/>
              </a:spcBef>
              <a:buNone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40159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lIns="0" bIns="0" anchor="b"/>
          <a:lstStyle>
            <a:lvl1pPr>
              <a:defRPr sz="3200" b="0" i="0">
                <a:solidFill>
                  <a:schemeClr val="tx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338250"/>
            <a:ext cx="3932237" cy="3530737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1600" b="0" i="0">
                <a:solidFill>
                  <a:schemeClr val="tx2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84434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200" y="1602319"/>
            <a:ext cx="10820400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89" y="5530962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565">
              <a:lnSpc>
                <a:spcPct val="100000"/>
              </a:lnSpc>
              <a:spcBef>
                <a:spcPct val="50000"/>
              </a:spcBef>
              <a:buNone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198468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4" y="1797052"/>
            <a:ext cx="11040076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825" marR="0" indent="-380825" algn="ctr" defTabSz="60932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8762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2" y="2220244"/>
            <a:ext cx="4882699" cy="390115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60000"/>
              <a:buFont typeface="Arial"/>
              <a:buChar char="•"/>
              <a:defRPr sz="2666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60000"/>
              <a:buFont typeface="Arial"/>
              <a:buChar char="•"/>
              <a:defRPr sz="2399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7499" indent="-152362">
              <a:buClr>
                <a:schemeClr val="tx2"/>
              </a:buClr>
              <a:buSzPct val="60000"/>
              <a:buFont typeface="Arial"/>
              <a:buChar char="•"/>
              <a:defRPr sz="2133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89861" indent="-152362">
              <a:buClr>
                <a:schemeClr val="tx2"/>
              </a:buClr>
              <a:buSzPct val="60000"/>
              <a:buFont typeface="Arial"/>
              <a:buChar char="•"/>
              <a:defRPr sz="1866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42223" indent="-152362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491541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6"/>
            <a:ext cx="4757856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371131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3463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709083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226427" indent="-226427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724" algn="l"/>
              </a:tabLst>
              <a:defRPr sz="3199"/>
            </a:lvl1pPr>
            <a:lvl2pPr marL="461318" indent="-22854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199"/>
            </a:lvl2pPr>
            <a:lvl3pPr marL="609448" indent="-156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6"/>
            </a:lvl3pPr>
            <a:lvl4pPr marL="766042" indent="-156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399"/>
            </a:lvl4pPr>
            <a:lvl5pPr marL="992469" indent="-15024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39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636905" y="6322226"/>
            <a:ext cx="4622390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466940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2" pos="352">
          <p15:clr>
            <a:srgbClr val="FBAE40"/>
          </p15:clr>
        </p15:guide>
        <p15:guide id="3" orient="horz" pos="2928">
          <p15:clr>
            <a:srgbClr val="FBAE40"/>
          </p15:clr>
        </p15:guide>
        <p15:guide id="4" pos="356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680720"/>
            <a:ext cx="5078396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680720"/>
            <a:ext cx="4734983" cy="5440680"/>
          </a:xfrm>
          <a:prstGeom prst="rect">
            <a:avLst/>
          </a:prstGeom>
        </p:spPr>
        <p:txBody>
          <a:bodyPr lIns="0" rIns="0"/>
          <a:lstStyle>
            <a:lvl1pPr marL="152362" indent="-152362">
              <a:lnSpc>
                <a:spcPct val="100000"/>
              </a:lnSpc>
              <a:buClr>
                <a:schemeClr val="tx1"/>
              </a:buClr>
              <a:buSzPct val="60000"/>
              <a:defRPr sz="2666"/>
            </a:lvl1pPr>
            <a:lvl2pPr marL="304724" indent="-152362">
              <a:lnSpc>
                <a:spcPct val="100000"/>
              </a:lnSpc>
              <a:buClr>
                <a:schemeClr val="tx1"/>
              </a:buClr>
              <a:buSzPct val="60000"/>
              <a:defRPr sz="2666"/>
            </a:lvl2pPr>
            <a:lvl3pPr marL="457086" indent="-152362">
              <a:lnSpc>
                <a:spcPct val="100000"/>
              </a:lnSpc>
              <a:buClr>
                <a:schemeClr val="tx1"/>
              </a:buClr>
              <a:buSzPct val="60000"/>
              <a:defRPr sz="2399"/>
            </a:lvl3pPr>
            <a:lvl4pPr marL="609448" indent="-165059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042" indent="-156594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688" y="2213124"/>
            <a:ext cx="5078396" cy="3908277"/>
          </a:xfrm>
          <a:prstGeom prst="rect">
            <a:avLst/>
          </a:prstGeom>
        </p:spPr>
        <p:txBody>
          <a:bodyPr/>
          <a:lstStyle>
            <a:lvl1pPr marL="152362" indent="-152362">
              <a:buClr>
                <a:schemeClr val="tx2"/>
              </a:buClr>
              <a:buSzPct val="60000"/>
              <a:defRPr lang="en-US" sz="2666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304724" indent="-152362">
              <a:buClr>
                <a:schemeClr val="tx2"/>
              </a:buClr>
              <a:buSzPct val="60000"/>
              <a:defRPr sz="2666">
                <a:solidFill>
                  <a:schemeClr val="bg1"/>
                </a:solidFill>
              </a:defRPr>
            </a:lvl2pPr>
            <a:lvl3pPr marL="457086" indent="-152362">
              <a:buClr>
                <a:schemeClr val="tx2"/>
              </a:buClr>
              <a:buSzPct val="60000"/>
              <a:defRPr sz="2399">
                <a:solidFill>
                  <a:schemeClr val="bg1"/>
                </a:solidFill>
              </a:defRPr>
            </a:lvl3pPr>
            <a:lvl4pPr marL="609448" indent="-165059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4pPr>
            <a:lvl5pPr marL="766042" indent="-156594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6" y="6322227"/>
            <a:ext cx="447895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359572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356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5" y="709085"/>
            <a:ext cx="4745567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6035" y="5416469"/>
            <a:ext cx="4745567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6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636906" y="6322227"/>
            <a:ext cx="3817557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73949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2" pos="35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5" y="709085"/>
            <a:ext cx="4745567" cy="541231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7"/>
            <a:ext cx="4351456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495701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2" pos="35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7"/>
            <a:ext cx="3929118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327736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6791" y="0"/>
            <a:ext cx="6085210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7"/>
            <a:ext cx="4399267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286947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6035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7"/>
            <a:ext cx="4239895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294249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928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948" y="424085"/>
            <a:ext cx="10903544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800" b="0" i="0">
                <a:solidFill>
                  <a:srgbClr val="00B4DE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947" y="1352667"/>
            <a:ext cx="10903545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3191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66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6035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7"/>
            <a:ext cx="454270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00BCEB">
                    <a:lumMod val="7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410492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3" orient="horz" pos="2928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5017326" y="2838770"/>
            <a:ext cx="2157350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4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04635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493">
              <a:defRPr/>
            </a:pPr>
            <a:endParaRPr lang="en-US" sz="240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6566225"/>
            <a:ext cx="12192001" cy="29901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89696" y="6561620"/>
            <a:ext cx="1257301" cy="313440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23" y="6525955"/>
            <a:ext cx="274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defTabSz="609493">
              <a:defRPr/>
            </a:pPr>
            <a:fld id="{281C0148-7551-41F8-A273-4787F6CFEC9F}" type="slidenum">
              <a:rPr lang="en-US" sz="2400" smtClean="0">
                <a:solidFill>
                  <a:prstClr val="white"/>
                </a:solidFill>
              </a:rPr>
              <a:pPr defTabSz="609493">
                <a:defRPr/>
              </a:pPr>
              <a:t>‹#›</a:t>
            </a:fld>
            <a:endParaRPr lang="en-US" sz="240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4096" y="807523"/>
            <a:ext cx="11658727" cy="0"/>
          </a:xfrm>
          <a:prstGeom prst="line">
            <a:avLst/>
          </a:prstGeom>
          <a:ln w="317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-2" y="-204890"/>
            <a:ext cx="10515600" cy="1325563"/>
          </a:xfrm>
        </p:spPr>
        <p:txBody>
          <a:bodyPr>
            <a:normAutofit/>
          </a:bodyPr>
          <a:lstStyle>
            <a:lvl1pPr>
              <a:defRPr sz="319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61876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91117" y="525416"/>
            <a:ext cx="10972801" cy="8621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771301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2746" y="655638"/>
            <a:ext cx="11126511" cy="792163"/>
          </a:xfrm>
          <a:prstGeom prst="rect">
            <a:avLst/>
          </a:prstGeom>
        </p:spPr>
        <p:txBody>
          <a:bodyPr lIns="0" anchor="b"/>
          <a:lstStyle>
            <a:lvl1pPr>
              <a:defRPr sz="3599" b="0" i="0" cap="none" baseline="0">
                <a:solidFill>
                  <a:schemeClr val="tx1"/>
                </a:solidFill>
                <a:latin typeface="Work Sans Regular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531951" y="1600200"/>
            <a:ext cx="11128099" cy="4343400"/>
          </a:xfrm>
          <a:prstGeom prst="rect">
            <a:avLst/>
          </a:prstGeom>
        </p:spPr>
        <p:txBody>
          <a:bodyPr lIns="0" tIns="91440">
            <a:normAutofit/>
          </a:bodyPr>
          <a:lstStyle>
            <a:lvl1pPr marL="226957" indent="-226957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Webdings" panose="05030102010509060703" pitchFamily="18" charset="2"/>
              <a:buChar char=""/>
              <a:defRPr sz="2801" b="0" i="0">
                <a:solidFill>
                  <a:schemeClr val="bg2"/>
                </a:solidFill>
                <a:latin typeface="Work Sans Regular" charset="0"/>
              </a:defRPr>
            </a:lvl1pPr>
            <a:lvl2pPr marL="458812" indent="-231787">
              <a:spcBef>
                <a:spcPts val="0"/>
              </a:spcBef>
              <a:spcAft>
                <a:spcPts val="1200"/>
              </a:spcAft>
              <a:defRPr sz="2401" b="0" i="0">
                <a:solidFill>
                  <a:schemeClr val="bg2"/>
                </a:solidFill>
                <a:latin typeface="Work Sans Regular" charset="0"/>
              </a:defRPr>
            </a:lvl2pPr>
            <a:lvl3pPr marL="912858" indent="-225437">
              <a:spcBef>
                <a:spcPts val="0"/>
              </a:spcBef>
              <a:spcAft>
                <a:spcPts val="1200"/>
              </a:spcAft>
              <a:defRPr sz="1801" b="0" i="0">
                <a:solidFill>
                  <a:schemeClr val="bg2"/>
                </a:solidFill>
                <a:latin typeface="Work Sans Regular" charset="0"/>
              </a:defRPr>
            </a:lvl3pPr>
            <a:lvl4pPr marL="1255777" indent="-227025">
              <a:spcBef>
                <a:spcPts val="0"/>
              </a:spcBef>
              <a:spcAft>
                <a:spcPts val="1200"/>
              </a:spcAft>
              <a:defRPr sz="1600" b="0" i="0">
                <a:solidFill>
                  <a:schemeClr val="bg2"/>
                </a:solidFill>
                <a:latin typeface="Work Sans Regular" charset="0"/>
              </a:defRPr>
            </a:lvl4pPr>
            <a:lvl5pPr marL="1600280" indent="-225437">
              <a:spcBef>
                <a:spcPts val="0"/>
              </a:spcBef>
              <a:spcAft>
                <a:spcPts val="1200"/>
              </a:spcAft>
              <a:defRPr sz="1600" b="0" i="0">
                <a:solidFill>
                  <a:schemeClr val="bg2"/>
                </a:solidFill>
                <a:latin typeface="Work Sans Regular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447800"/>
            <a:ext cx="1218895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8504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7407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158359"/>
            <a:ext cx="11061895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133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457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478355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98351"/>
            <a:ext cx="11061895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133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406273" indent="0">
              <a:buNone/>
              <a:defRPr/>
            </a:lvl2pPr>
            <a:lvl3pPr marL="569726" indent="0">
              <a:buNone/>
              <a:defRPr/>
            </a:lvl3pPr>
            <a:lvl4pPr marL="688753" indent="0">
              <a:buNone/>
              <a:defRPr/>
            </a:lvl4pPr>
            <a:lvl5pPr marL="80142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2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26275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4" y="1220546"/>
            <a:ext cx="10130722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2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43166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199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4" y="1220546"/>
            <a:ext cx="10130722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2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74965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199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565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70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39" indent="-533157" algn="l">
              <a:lnSpc>
                <a:spcPct val="90000"/>
              </a:lnSpc>
              <a:defRPr sz="5332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20640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948" y="424085"/>
            <a:ext cx="10903544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800" b="0" i="0">
                <a:solidFill>
                  <a:srgbClr val="00B4DE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785947" y="1352667"/>
            <a:ext cx="10903545" cy="4603290"/>
          </a:xfrm>
          <a:prstGeom prst="rect">
            <a:avLst/>
          </a:prstGeom>
        </p:spPr>
        <p:txBody>
          <a:bodyPr lIns="0" tIns="0">
            <a:normAutofit/>
          </a:bodyPr>
          <a:lstStyle>
            <a:lvl1pPr>
              <a:defRPr b="0" i="0" baseline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  <a:lvl2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2pPr>
            <a:lvl3pPr>
              <a:defRPr b="0" i="0">
                <a:solidFill>
                  <a:schemeClr val="bg1"/>
                </a:solidFill>
                <a:latin typeface="Corbel Regular" charset="0"/>
                <a:ea typeface="Corbel Regular" charset="0"/>
                <a:cs typeface="Corbel Regular" charset="0"/>
              </a:defRPr>
            </a:lvl3pPr>
            <a:lvl4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endParaRPr lang="en-US" dirty="0"/>
          </a:p>
          <a:p>
            <a:pPr lvl="2"/>
            <a:endParaRPr lang="en-US" dirty="0"/>
          </a:p>
        </p:txBody>
      </p:sp>
    </p:spTree>
    <p:extLst/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199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565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70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39" indent="-533157" algn="l">
              <a:lnSpc>
                <a:spcPct val="90000"/>
              </a:lnSpc>
              <a:defRPr sz="5332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81176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1" y="5222858"/>
            <a:ext cx="10852149" cy="68480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6"/>
              </a:lnSpc>
              <a:spcBef>
                <a:spcPts val="0"/>
              </a:spcBef>
              <a:buNone/>
              <a:defRPr sz="3199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53516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3"/>
            <a:ext cx="12401551" cy="3790949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8380" y="4072692"/>
            <a:ext cx="11152314" cy="715965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4266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92815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9405302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12124266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636905" y="6322226"/>
            <a:ext cx="4622390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3"/>
            <a:ext cx="11307184" cy="5688861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388742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2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E2044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5994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2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E2044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22331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ulle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7605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24" indent="-22854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1pPr>
            <a:lvl2pPr marL="609448" indent="-22007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399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2pPr>
            <a:lvl3pPr marL="914171" indent="-146014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3pPr>
            <a:lvl4pPr marL="1214410" indent="-228496">
              <a:buClr>
                <a:schemeClr val="tx1"/>
              </a:buClr>
              <a:buSzPct val="80000"/>
              <a:buFont typeface="Arial"/>
              <a:buChar char="•"/>
              <a:defRPr sz="1866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4pPr>
            <a:lvl5pPr marL="1442906" indent="-22426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Corbel" charset="0"/>
                <a:ea typeface="Corbel" charset="0"/>
                <a:cs typeface="Corbel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rgbClr val="00B4DE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806923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928454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74050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Titl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85948" y="424085"/>
            <a:ext cx="10903544" cy="684742"/>
          </a:xfrm>
          <a:prstGeom prst="rect">
            <a:avLst/>
          </a:prstGeom>
        </p:spPr>
        <p:txBody>
          <a:bodyPr lIns="0" bIns="0" anchor="b"/>
          <a:lstStyle>
            <a:lvl1pPr>
              <a:defRPr sz="3800" b="0" i="0">
                <a:solidFill>
                  <a:srgbClr val="00B4DE"/>
                </a:solidFill>
                <a:latin typeface="Corbel Regular" charset="0"/>
                <a:ea typeface="Corbel Regular" charset="0"/>
                <a:cs typeface="Corbel Regular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27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888085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200" y="1797052"/>
            <a:ext cx="10820400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6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89" y="5530962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565">
              <a:lnSpc>
                <a:spcPct val="100000"/>
              </a:lnSpc>
              <a:spcBef>
                <a:spcPct val="50000"/>
              </a:spcBef>
              <a:buNone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048506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200" y="1602319"/>
            <a:ext cx="10820400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89" y="5530962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565">
              <a:lnSpc>
                <a:spcPct val="100000"/>
              </a:lnSpc>
              <a:spcBef>
                <a:spcPct val="50000"/>
              </a:spcBef>
              <a:buNone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6"/>
            </a:lvl2pPr>
            <a:lvl3pPr>
              <a:buFont typeface="Arial" pitchFamily="34" charset="0"/>
              <a:buNone/>
              <a:defRPr sz="1466"/>
            </a:lvl3pPr>
            <a:lvl4pPr>
              <a:buFont typeface="Arial" pitchFamily="34" charset="0"/>
              <a:buNone/>
              <a:defRPr sz="1466"/>
            </a:lvl4pPr>
            <a:lvl5pPr>
              <a:buFont typeface="Arial" pitchFamily="34" charset="0"/>
              <a:buNone/>
              <a:defRPr sz="1466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39720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4" y="1797052"/>
            <a:ext cx="11040076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825" marR="0" indent="-380825" algn="ctr" defTabSz="60932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066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2" y="2220244"/>
            <a:ext cx="4882699" cy="390115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60000"/>
              <a:buFont typeface="Arial"/>
              <a:buChar char="•"/>
              <a:defRPr sz="2666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60000"/>
              <a:buFont typeface="Arial"/>
              <a:buChar char="•"/>
              <a:defRPr sz="2399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7499" indent="-152362">
              <a:buClr>
                <a:schemeClr val="tx2"/>
              </a:buClr>
              <a:buSzPct val="60000"/>
              <a:buFont typeface="Arial"/>
              <a:buChar char="•"/>
              <a:defRPr sz="2133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89861" indent="-152362">
              <a:buClr>
                <a:schemeClr val="tx2"/>
              </a:buClr>
              <a:buSzPct val="60000"/>
              <a:buFont typeface="Arial"/>
              <a:buChar char="•"/>
              <a:defRPr sz="1866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42223" indent="-152362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491541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6"/>
            <a:ext cx="4757856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468876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84">
          <p15:clr>
            <a:srgbClr val="FBAE40"/>
          </p15:clr>
        </p15:guide>
        <p15:guide id="3" pos="346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709083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226427" indent="-226427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724" algn="l"/>
              </a:tabLst>
              <a:defRPr sz="3199"/>
            </a:lvl1pPr>
            <a:lvl2pPr marL="461318" indent="-22854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199"/>
            </a:lvl2pPr>
            <a:lvl3pPr marL="609448" indent="-156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6"/>
            </a:lvl3pPr>
            <a:lvl4pPr marL="766042" indent="-156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399"/>
            </a:lvl4pPr>
            <a:lvl5pPr marL="992469" indent="-15024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399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636905" y="6322226"/>
            <a:ext cx="4622390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279598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2" pos="352">
          <p15:clr>
            <a:srgbClr val="FBAE40"/>
          </p15:clr>
        </p15:guide>
        <p15:guide id="3" orient="horz" pos="2928">
          <p15:clr>
            <a:srgbClr val="FBAE40"/>
          </p15:clr>
        </p15:guide>
        <p15:guide id="4" pos="356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680720"/>
            <a:ext cx="5078396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680720"/>
            <a:ext cx="4734983" cy="5440680"/>
          </a:xfrm>
          <a:prstGeom prst="rect">
            <a:avLst/>
          </a:prstGeom>
        </p:spPr>
        <p:txBody>
          <a:bodyPr lIns="0" rIns="0"/>
          <a:lstStyle>
            <a:lvl1pPr marL="152362" indent="-152362">
              <a:lnSpc>
                <a:spcPct val="100000"/>
              </a:lnSpc>
              <a:buClr>
                <a:schemeClr val="tx1"/>
              </a:buClr>
              <a:buSzPct val="60000"/>
              <a:defRPr sz="2666"/>
            </a:lvl1pPr>
            <a:lvl2pPr marL="304724" indent="-152362">
              <a:lnSpc>
                <a:spcPct val="100000"/>
              </a:lnSpc>
              <a:buClr>
                <a:schemeClr val="tx1"/>
              </a:buClr>
              <a:buSzPct val="60000"/>
              <a:defRPr sz="2666"/>
            </a:lvl2pPr>
            <a:lvl3pPr marL="457086" indent="-152362">
              <a:lnSpc>
                <a:spcPct val="100000"/>
              </a:lnSpc>
              <a:buClr>
                <a:schemeClr val="tx1"/>
              </a:buClr>
              <a:buSzPct val="60000"/>
              <a:defRPr sz="2399"/>
            </a:lvl3pPr>
            <a:lvl4pPr marL="609448" indent="-165059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042" indent="-156594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688" y="2213124"/>
            <a:ext cx="5078396" cy="3908277"/>
          </a:xfrm>
          <a:prstGeom prst="rect">
            <a:avLst/>
          </a:prstGeom>
        </p:spPr>
        <p:txBody>
          <a:bodyPr/>
          <a:lstStyle>
            <a:lvl1pPr marL="152362" indent="-152362">
              <a:buClr>
                <a:schemeClr val="tx2"/>
              </a:buClr>
              <a:buSzPct val="60000"/>
              <a:defRPr lang="en-US" sz="2666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304724" indent="-152362">
              <a:buClr>
                <a:schemeClr val="tx2"/>
              </a:buClr>
              <a:buSzPct val="60000"/>
              <a:defRPr sz="2666">
                <a:solidFill>
                  <a:schemeClr val="bg1"/>
                </a:solidFill>
              </a:defRPr>
            </a:lvl2pPr>
            <a:lvl3pPr marL="457086" indent="-152362">
              <a:buClr>
                <a:schemeClr val="tx2"/>
              </a:buClr>
              <a:buSzPct val="60000"/>
              <a:defRPr sz="2399">
                <a:solidFill>
                  <a:schemeClr val="bg1"/>
                </a:solidFill>
              </a:defRPr>
            </a:lvl3pPr>
            <a:lvl4pPr marL="609448" indent="-165059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4pPr>
            <a:lvl5pPr marL="766042" indent="-156594">
              <a:buClr>
                <a:schemeClr val="tx2"/>
              </a:buClr>
              <a:buSzPct val="60000"/>
              <a:defRPr sz="21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6" y="6322227"/>
            <a:ext cx="447895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775410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356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5" y="709085"/>
            <a:ext cx="4745567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6035" y="5416469"/>
            <a:ext cx="4745567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6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636906" y="6322227"/>
            <a:ext cx="3817557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63887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2" pos="35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5" y="709085"/>
            <a:ext cx="4745567" cy="541231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7"/>
            <a:ext cx="4351456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514035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2" pos="35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66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05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6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636905" y="6322227"/>
            <a:ext cx="3929118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00BCEB">
                    <a:lumMod val="7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131542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392">
          <p15:clr>
            <a:srgbClr val="FBAE40"/>
          </p15:clr>
        </p15:guide>
        <p15:guide id="3" orient="horz" pos="2924">
          <p15:clr>
            <a:srgbClr val="FBAE40"/>
          </p15:clr>
        </p15:guide>
        <p15:guide id="4" pos="3566">
          <p15:clr>
            <a:srgbClr val="FBAE40"/>
          </p15:clr>
        </p15:guide>
        <p15:guide id="7" pos="42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image" Target="../media/image17.jpg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07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1.xml"/><Relationship Id="rId10" Type="http://schemas.openxmlformats.org/officeDocument/2006/relationships/image" Target="../media/image25.jpg"/><Relationship Id="rId4" Type="http://schemas.openxmlformats.org/officeDocument/2006/relationships/slideLayout" Target="../slideLayouts/slideLayout108.xml"/><Relationship Id="rId9" Type="http://schemas.openxmlformats.org/officeDocument/2006/relationships/image" Target="../media/image24.emf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3.jp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5.jp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5.jp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3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image" Target="../media/image17.jpg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theme" Target="../theme/theme8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8" Type="http://schemas.openxmlformats.org/officeDocument/2006/relationships/slideLayout" Target="../slideLayouts/slideLayout51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0663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636906" y="6322227"/>
            <a:ext cx="453473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defTabSz="814122">
              <a:defRPr/>
            </a:pPr>
            <a:r>
              <a:rPr lang="en-US" sz="800" spc="27">
                <a:solidFill>
                  <a:srgbClr val="FFFFFF">
                    <a:lumMod val="65000"/>
                  </a:srgbClr>
                </a:solidFill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61619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  <p:sldLayoutId id="2147483780" r:id="rId23"/>
    <p:sldLayoutId id="2147483781" r:id="rId24"/>
    <p:sldLayoutId id="2147483782" r:id="rId25"/>
    <p:sldLayoutId id="2147483783" r:id="rId26"/>
    <p:sldLayoutId id="2147483784" r:id="rId27"/>
    <p:sldLayoutId id="2147483785" r:id="rId28"/>
    <p:sldLayoutId id="2147483786" r:id="rId29"/>
  </p:sldLayoutIdLst>
  <p:txStyles>
    <p:titleStyle>
      <a:lvl1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2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5pPr>
      <a:lvl6pPr marL="609448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6pPr>
      <a:lvl7pPr marL="1218895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7pPr>
      <a:lvl8pPr marL="1828343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8pPr>
      <a:lvl9pPr marL="2437790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27" indent="-226427" algn="l" defTabSz="912056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247" indent="-287795" algn="l" defTabSz="912056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589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816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042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520" indent="-228536" algn="l" defTabSz="91414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480" indent="-228506" algn="l" defTabSz="914141" rtl="0" eaLnBrk="1" latinLnBrk="0" hangingPunct="1">
        <a:spcBef>
          <a:spcPts val="800"/>
        </a:spcBef>
        <a:buFont typeface="Arial" pitchFamily="34" charset="0"/>
        <a:buChar char="•"/>
        <a:defRPr sz="1066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493" indent="0" algn="l" defTabSz="91414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99" indent="-228536" algn="l" defTabSz="9141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067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914141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37121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4pPr>
      <a:lvl5pPr marL="1828283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5pPr>
      <a:lvl6pPr marL="228535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6pPr>
      <a:lvl7pPr marL="2742424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7pPr>
      <a:lvl8pPr marL="3199493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8pPr>
      <a:lvl9pPr marL="3656566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56">
          <p15:clr>
            <a:srgbClr val="F26B43"/>
          </p15:clr>
        </p15:guide>
        <p15:guide id="2" pos="448">
          <p15:clr>
            <a:srgbClr val="F26B43"/>
          </p15:clr>
        </p15:guide>
        <p15:guide id="3" pos="7262">
          <p15:clr>
            <a:srgbClr val="F26B43"/>
          </p15:clr>
        </p15:guide>
        <p15:guide id="4" orient="horz" pos="1009">
          <p15:clr>
            <a:srgbClr val="F26B43"/>
          </p15:clr>
        </p15:guide>
        <p15:guide id="5" orient="horz" pos="447">
          <p15:clr>
            <a:srgbClr val="F26B43"/>
          </p15:clr>
        </p15:guide>
        <p15:guide id="6" pos="3834">
          <p15:clr>
            <a:srgbClr val="F26B43"/>
          </p15:clr>
        </p15:guide>
        <p15:guide id="7" orient="horz" pos="139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2120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6350000" imgH="6350000" progId="TCLayout.ActiveDocument.1">
                  <p:embed/>
                </p:oleObj>
              </mc:Choice>
              <mc:Fallback>
                <p:oleObj name="think-cell Slide" r:id="rId8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891117" y="781053"/>
            <a:ext cx="10972801" cy="8621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9008544" y="6356354"/>
            <a:ext cx="2844800" cy="366183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rgbClr val="2131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D7BA85-E772-E949-93DE-4E26ED59B952}" type="slidenum">
              <a:rPr lang="en-US" sz="1066" smtClean="0">
                <a:solidFill>
                  <a:prstClr val="white"/>
                </a:solidFill>
              </a:rPr>
              <a:pPr/>
              <a:t>‹#›</a:t>
            </a:fld>
            <a:endParaRPr lang="en-US" sz="1066">
              <a:solidFill>
                <a:prstClr val="white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9004230" y="6356704"/>
            <a:ext cx="2844800" cy="366183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rgbClr val="21314D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D7BA85-E772-E949-93DE-4E26ED59B952}" type="slidenum">
              <a:rPr lang="en-US" sz="1066" smtClean="0">
                <a:solidFill>
                  <a:prstClr val="white"/>
                </a:solidFill>
              </a:rPr>
              <a:pPr/>
              <a:t>‹#›</a:t>
            </a:fld>
            <a:endParaRPr lang="en-US" sz="1066">
              <a:solidFill>
                <a:prstClr val="white"/>
              </a:solidFill>
            </a:endParaRPr>
          </a:p>
        </p:txBody>
      </p:sp>
      <p:pic>
        <p:nvPicPr>
          <p:cNvPr id="7" name="Picture 6" descr="Dark Background6.jp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283621" cy="6919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419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</p:sldLayoutIdLst>
  <p:hf sldNum="0" hdr="0" dt="0"/>
  <p:txStyles>
    <p:titleStyle>
      <a:lvl1pPr algn="l" defTabSz="609433" rtl="0" eaLnBrk="1" latinLnBrk="0" hangingPunct="1">
        <a:spcBef>
          <a:spcPct val="0"/>
        </a:spcBef>
        <a:buNone/>
        <a:defRPr lang="en-US" sz="3999" b="1" kern="1200" baseline="0" dirty="0">
          <a:solidFill>
            <a:schemeClr val="tx2"/>
          </a:solidFill>
          <a:latin typeface="Corbel"/>
          <a:ea typeface="+mj-ea"/>
          <a:cs typeface="Corbel"/>
        </a:defRPr>
      </a:lvl1pPr>
    </p:titleStyle>
    <p:bodyStyle>
      <a:lvl1pPr marL="457075" indent="-457075" algn="l" defTabSz="609433" rtl="0" eaLnBrk="1" latinLnBrk="0" hangingPunct="1">
        <a:spcBef>
          <a:spcPct val="20000"/>
        </a:spcBef>
        <a:buFont typeface="Arial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327" indent="-380895" algn="l" defTabSz="609433" rtl="0" eaLnBrk="1" latinLnBrk="0" hangingPunct="1">
        <a:spcBef>
          <a:spcPct val="20000"/>
        </a:spcBef>
        <a:buFont typeface="Arial"/>
        <a:buChar char="–"/>
        <a:defRPr sz="3732" kern="1200">
          <a:solidFill>
            <a:schemeClr val="tx1"/>
          </a:solidFill>
          <a:latin typeface="+mn-lt"/>
          <a:ea typeface="+mn-ea"/>
          <a:cs typeface="+mn-cs"/>
        </a:defRPr>
      </a:lvl2pPr>
      <a:lvl3pPr marL="1523582" indent="-304716" algn="l" defTabSz="609433" rtl="0" eaLnBrk="1" latinLnBrk="0" hangingPunct="1">
        <a:spcBef>
          <a:spcPct val="20000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013" indent="-304716" algn="l" defTabSz="609433" rtl="0" eaLnBrk="1" latinLnBrk="0" hangingPunct="1">
        <a:spcBef>
          <a:spcPct val="20000"/>
        </a:spcBef>
        <a:buFont typeface="Arial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445" indent="-304716" algn="l" defTabSz="609433" rtl="0" eaLnBrk="1" latinLnBrk="0" hangingPunct="1">
        <a:spcBef>
          <a:spcPct val="20000"/>
        </a:spcBef>
        <a:buFont typeface="Arial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1878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311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744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175" indent="-304716" algn="l" defTabSz="609433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33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66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97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29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62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95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027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459" algn="l" defTabSz="609433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0656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3540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2" r:id="rId2"/>
    <p:sldLayoutId id="2147483665" r:id="rId3"/>
    <p:sldLayoutId id="2147483666" r:id="rId4"/>
    <p:sldLayoutId id="214748367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7140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93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6569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1019875" y="6498005"/>
            <a:ext cx="1172125" cy="256695"/>
          </a:xfrm>
          <a:prstGeom prst="rect">
            <a:avLst/>
          </a:prstGeom>
          <a:solidFill>
            <a:srgbClr val="004B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1019875" y="6498005"/>
            <a:ext cx="1172125" cy="256695"/>
          </a:xfrm>
          <a:prstGeom prst="rect">
            <a:avLst/>
          </a:prstGeom>
          <a:solidFill>
            <a:srgbClr val="004B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018235" y="6498005"/>
            <a:ext cx="173765" cy="256695"/>
          </a:xfrm>
          <a:prstGeom prst="rect">
            <a:avLst/>
          </a:prstGeom>
          <a:solidFill>
            <a:srgbClr val="6CAE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018235" y="6498005"/>
            <a:ext cx="173765" cy="256695"/>
          </a:xfrm>
          <a:prstGeom prst="rect">
            <a:avLst/>
          </a:prstGeom>
          <a:solidFill>
            <a:srgbClr val="6CAED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274637"/>
            <a:ext cx="10820400" cy="9381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1561701"/>
            <a:ext cx="10820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153400" y="6477000"/>
            <a:ext cx="2590800" cy="3188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© ID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43070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FFFFFF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879362-658A-E344-B7E9-F19991414F7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26408" y="6410610"/>
            <a:ext cx="1891435" cy="36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212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tx2"/>
        </a:buClr>
        <a:buFont typeface="Wingdings" charset="2"/>
        <a:buChar char="§"/>
        <a:defRPr lang="en-US" sz="2800" i="0" kern="1200" dirty="0">
          <a:solidFill>
            <a:schemeClr val="bg1">
              <a:lumMod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•"/>
        <a:defRPr lang="en-US" sz="2000" i="0" kern="1200" dirty="0">
          <a:solidFill>
            <a:schemeClr val="bg1">
              <a:lumMod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bg2"/>
        </a:buClr>
        <a:buSzPct val="74000"/>
        <a:buFont typeface="Wingdings" charset="2"/>
        <a:buChar char="§"/>
        <a:defRPr lang="en-US" sz="1800" i="0" kern="1200" dirty="0">
          <a:solidFill>
            <a:schemeClr val="bg1">
              <a:lumMod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–"/>
        <a:defRPr lang="en-US" sz="1600" i="0" kern="1200" dirty="0">
          <a:solidFill>
            <a:schemeClr val="bg1">
              <a:lumMod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bg2"/>
        </a:buClr>
        <a:buFont typeface="Arial"/>
        <a:buChar char="»"/>
        <a:defRPr lang="en-US" sz="1600" i="0" kern="1200" dirty="0">
          <a:solidFill>
            <a:schemeClr val="bg1">
              <a:lumMod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4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9554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8450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txStyles>
    <p:titleStyle>
      <a:lvl1pPr algn="ctr" defTabSz="609448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609448" rtl="0" eaLnBrk="1" latinLnBrk="0" hangingPunct="1">
        <a:spcBef>
          <a:spcPct val="20000"/>
        </a:spcBef>
        <a:buFont typeface="Arial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352" indent="-380905" algn="l" defTabSz="609448" rtl="0" eaLnBrk="1" latinLnBrk="0" hangingPunct="1">
        <a:spcBef>
          <a:spcPct val="20000"/>
        </a:spcBef>
        <a:buFont typeface="Arial"/>
        <a:buChar char="–"/>
        <a:defRPr sz="3732" kern="1200">
          <a:solidFill>
            <a:schemeClr val="tx1"/>
          </a:solidFill>
          <a:latin typeface="+mn-lt"/>
          <a:ea typeface="+mn-ea"/>
          <a:cs typeface="+mn-cs"/>
        </a:defRPr>
      </a:lvl2pPr>
      <a:lvl3pPr marL="1523619" indent="-304724" algn="l" defTabSz="609448" rtl="0" eaLnBrk="1" latinLnBrk="0" hangingPunct="1">
        <a:spcBef>
          <a:spcPct val="20000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067" indent="-304724" algn="l" defTabSz="609448" rtl="0" eaLnBrk="1" latinLnBrk="0" hangingPunct="1">
        <a:spcBef>
          <a:spcPct val="20000"/>
        </a:spcBef>
        <a:buFont typeface="Arial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514" indent="-304724" algn="l" defTabSz="609448" rtl="0" eaLnBrk="1" latinLnBrk="0" hangingPunct="1">
        <a:spcBef>
          <a:spcPct val="20000"/>
        </a:spcBef>
        <a:buFont typeface="Arial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1962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636906" y="6322227"/>
            <a:ext cx="4534733" cy="20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3" tIns="41045" rIns="82093" bIns="41045" anchor="b">
            <a:spAutoFit/>
          </a:bodyPr>
          <a:lstStyle/>
          <a:p>
            <a:pPr marL="0" marR="0" lvl="0" indent="0" algn="l" defTabSz="8141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27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94358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  <p:sldLayoutId id="2147483743" r:id="rId20"/>
    <p:sldLayoutId id="2147483744" r:id="rId21"/>
    <p:sldLayoutId id="2147483745" r:id="rId22"/>
    <p:sldLayoutId id="2147483746" r:id="rId23"/>
    <p:sldLayoutId id="2147483747" r:id="rId24"/>
    <p:sldLayoutId id="2147483748" r:id="rId25"/>
    <p:sldLayoutId id="2147483749" r:id="rId26"/>
    <p:sldLayoutId id="2147483750" r:id="rId27"/>
    <p:sldLayoutId id="2147483751" r:id="rId28"/>
    <p:sldLayoutId id="2147483752" r:id="rId29"/>
    <p:sldLayoutId id="2147483755" r:id="rId30"/>
    <p:sldLayoutId id="2147483756" r:id="rId31"/>
  </p:sldLayoutIdLst>
  <p:txStyles>
    <p:titleStyle>
      <a:lvl1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2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5pPr>
      <a:lvl6pPr marL="609448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6pPr>
      <a:lvl7pPr marL="1218895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7pPr>
      <a:lvl8pPr marL="1828343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8pPr>
      <a:lvl9pPr marL="2437790" algn="l" defTabSz="91205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6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27" indent="-226427" algn="l" defTabSz="912056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247" indent="-287795" algn="l" defTabSz="912056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589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816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042" indent="-226427" algn="l" defTabSz="91205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6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520" indent="-228536" algn="l" defTabSz="91414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480" indent="-228506" algn="l" defTabSz="914141" rtl="0" eaLnBrk="1" latinLnBrk="0" hangingPunct="1">
        <a:spcBef>
          <a:spcPts val="800"/>
        </a:spcBef>
        <a:buFont typeface="Arial" pitchFamily="34" charset="0"/>
        <a:buChar char="•"/>
        <a:defRPr sz="1066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493" indent="0" algn="l" defTabSz="91414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99" indent="-228536" algn="l" defTabSz="91414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1pPr>
      <a:lvl2pPr marL="457067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914141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3pPr>
      <a:lvl4pPr marL="137121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4pPr>
      <a:lvl5pPr marL="1828283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5pPr>
      <a:lvl6pPr marL="2285350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6pPr>
      <a:lvl7pPr marL="2742424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7pPr>
      <a:lvl8pPr marL="3199493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8pPr>
      <a:lvl9pPr marL="3656566" algn="l" defTabSz="914141" rtl="0" eaLnBrk="1" latinLnBrk="0" hangingPunct="1">
        <a:defRPr sz="186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56">
          <p15:clr>
            <a:srgbClr val="F26B43"/>
          </p15:clr>
        </p15:guide>
        <p15:guide id="2" pos="448">
          <p15:clr>
            <a:srgbClr val="F26B43"/>
          </p15:clr>
        </p15:guide>
        <p15:guide id="3" pos="7262">
          <p15:clr>
            <a:srgbClr val="F26B43"/>
          </p15:clr>
        </p15:guide>
        <p15:guide id="4" orient="horz" pos="1009">
          <p15:clr>
            <a:srgbClr val="F26B43"/>
          </p15:clr>
        </p15:guide>
        <p15:guide id="5" orient="horz" pos="447">
          <p15:clr>
            <a:srgbClr val="F26B43"/>
          </p15:clr>
        </p15:guide>
        <p15:guide id="6" pos="3834">
          <p15:clr>
            <a:srgbClr val="F26B43"/>
          </p15:clr>
        </p15:guide>
        <p15:guide id="7" orient="horz" pos="139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034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</p:sldLayoutIdLst>
  <p:txStyles>
    <p:titleStyle>
      <a:lvl1pPr algn="ctr" defTabSz="609448" rtl="0" eaLnBrk="1" latinLnBrk="0" hangingPunct="1">
        <a:spcBef>
          <a:spcPct val="0"/>
        </a:spcBef>
        <a:buNone/>
        <a:defRPr sz="586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86" indent="-457086" algn="l" defTabSz="609448" rtl="0" eaLnBrk="1" latinLnBrk="0" hangingPunct="1">
        <a:spcBef>
          <a:spcPct val="20000"/>
        </a:spcBef>
        <a:buFont typeface="Arial"/>
        <a:buChar char="•"/>
        <a:defRPr sz="4266" kern="1200">
          <a:solidFill>
            <a:schemeClr val="tx1"/>
          </a:solidFill>
          <a:latin typeface="+mn-lt"/>
          <a:ea typeface="+mn-ea"/>
          <a:cs typeface="+mn-cs"/>
        </a:defRPr>
      </a:lvl1pPr>
      <a:lvl2pPr marL="990352" indent="-380905" algn="l" defTabSz="609448" rtl="0" eaLnBrk="1" latinLnBrk="0" hangingPunct="1">
        <a:spcBef>
          <a:spcPct val="20000"/>
        </a:spcBef>
        <a:buFont typeface="Arial"/>
        <a:buChar char="–"/>
        <a:defRPr sz="3732" kern="1200">
          <a:solidFill>
            <a:schemeClr val="tx1"/>
          </a:solidFill>
          <a:latin typeface="+mn-lt"/>
          <a:ea typeface="+mn-ea"/>
          <a:cs typeface="+mn-cs"/>
        </a:defRPr>
      </a:lvl2pPr>
      <a:lvl3pPr marL="1523619" indent="-304724" algn="l" defTabSz="609448" rtl="0" eaLnBrk="1" latinLnBrk="0" hangingPunct="1">
        <a:spcBef>
          <a:spcPct val="20000"/>
        </a:spcBef>
        <a:buFont typeface="Arial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3pPr>
      <a:lvl4pPr marL="2133067" indent="-304724" algn="l" defTabSz="609448" rtl="0" eaLnBrk="1" latinLnBrk="0" hangingPunct="1">
        <a:spcBef>
          <a:spcPct val="20000"/>
        </a:spcBef>
        <a:buFont typeface="Arial"/>
        <a:buChar char="–"/>
        <a:defRPr sz="2666" kern="1200">
          <a:solidFill>
            <a:schemeClr val="tx1"/>
          </a:solidFill>
          <a:latin typeface="+mn-lt"/>
          <a:ea typeface="+mn-ea"/>
          <a:cs typeface="+mn-cs"/>
        </a:defRPr>
      </a:lvl4pPr>
      <a:lvl5pPr marL="2742514" indent="-304724" algn="l" defTabSz="609448" rtl="0" eaLnBrk="1" latinLnBrk="0" hangingPunct="1">
        <a:spcBef>
          <a:spcPct val="20000"/>
        </a:spcBef>
        <a:buFont typeface="Arial"/>
        <a:buChar char="»"/>
        <a:defRPr sz="2666" kern="1200">
          <a:solidFill>
            <a:schemeClr val="tx1"/>
          </a:solidFill>
          <a:latin typeface="+mn-lt"/>
          <a:ea typeface="+mn-ea"/>
          <a:cs typeface="+mn-cs"/>
        </a:defRPr>
      </a:lvl5pPr>
      <a:lvl6pPr marL="3351962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09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857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05" indent="-304724" algn="l" defTabSz="609448" rtl="0" eaLnBrk="1" latinLnBrk="0" hangingPunct="1">
        <a:spcBef>
          <a:spcPct val="20000"/>
        </a:spcBef>
        <a:buFont typeface="Arial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609448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7" Type="http://schemas.openxmlformats.org/officeDocument/2006/relationships/image" Target="../media/image4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4" Type="http://schemas.openxmlformats.org/officeDocument/2006/relationships/image" Target="../media/image37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5DAF5D4-C3C8-DE4D-98CC-8AA64881743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/>
        <p:txBody>
          <a:bodyPr/>
          <a:lstStyle>
            <a:lvl1pPr algn="l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e IT Distributor of the Futur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0DD2F0EC-50F7-1C4A-B905-EB72CBEE9E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/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solidFill>
                  <a:srgbClr val="00AFD7"/>
                </a:solidFill>
              </a:rPr>
              <a:t>Marc McClure</a:t>
            </a:r>
          </a:p>
          <a:p>
            <a:r>
              <a:rPr lang="en-US" dirty="0">
                <a:solidFill>
                  <a:srgbClr val="00AFD7"/>
                </a:solidFill>
              </a:rPr>
              <a:t>SVP, Commercial Sales, U.S., Tech Data</a:t>
            </a:r>
          </a:p>
        </p:txBody>
      </p:sp>
    </p:spTree>
    <p:extLst>
      <p:ext uri="{BB962C8B-B14F-4D97-AF65-F5344CB8AC3E}">
        <p14:creationId xmlns:p14="http://schemas.microsoft.com/office/powerpoint/2010/main" val="563281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1" name="Group 260"/>
          <p:cNvGrpSpPr/>
          <p:nvPr/>
        </p:nvGrpSpPr>
        <p:grpSpPr>
          <a:xfrm>
            <a:off x="6362360" y="2016428"/>
            <a:ext cx="4221651" cy="2001845"/>
            <a:chOff x="3538538" y="1728788"/>
            <a:chExt cx="3167063" cy="1501775"/>
          </a:xfrm>
          <a:solidFill>
            <a:srgbClr val="B3BE0C"/>
          </a:solidFill>
        </p:grpSpPr>
        <p:sp>
          <p:nvSpPr>
            <p:cNvPr id="48" name="Freeform 45"/>
            <p:cNvSpPr>
              <a:spLocks/>
            </p:cNvSpPr>
            <p:nvPr/>
          </p:nvSpPr>
          <p:spPr bwMode="auto">
            <a:xfrm>
              <a:off x="4748213" y="2962049"/>
              <a:ext cx="0" cy="1588"/>
            </a:xfrm>
            <a:custGeom>
              <a:avLst/>
              <a:gdLst>
                <a:gd name="T0" fmla="*/ 1 h 1"/>
                <a:gd name="T1" fmla="*/ 1 h 1"/>
                <a:gd name="T2" fmla="*/ 1 h 1"/>
                <a:gd name="T3" fmla="*/ 0 h 1"/>
                <a:gd name="T4" fmla="*/ 1 h 1"/>
                <a:gd name="T5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49" name="Freeform 46"/>
            <p:cNvSpPr>
              <a:spLocks/>
            </p:cNvSpPr>
            <p:nvPr/>
          </p:nvSpPr>
          <p:spPr bwMode="auto">
            <a:xfrm>
              <a:off x="4481513" y="1946049"/>
              <a:ext cx="23813" cy="15875"/>
            </a:xfrm>
            <a:custGeom>
              <a:avLst/>
              <a:gdLst>
                <a:gd name="T0" fmla="*/ 15 w 30"/>
                <a:gd name="T1" fmla="*/ 18 h 20"/>
                <a:gd name="T2" fmla="*/ 15 w 30"/>
                <a:gd name="T3" fmla="*/ 18 h 20"/>
                <a:gd name="T4" fmla="*/ 20 w 30"/>
                <a:gd name="T5" fmla="*/ 17 h 20"/>
                <a:gd name="T6" fmla="*/ 25 w 30"/>
                <a:gd name="T7" fmla="*/ 14 h 20"/>
                <a:gd name="T8" fmla="*/ 30 w 30"/>
                <a:gd name="T9" fmla="*/ 10 h 20"/>
                <a:gd name="T10" fmla="*/ 30 w 30"/>
                <a:gd name="T11" fmla="*/ 8 h 20"/>
                <a:gd name="T12" fmla="*/ 30 w 30"/>
                <a:gd name="T13" fmla="*/ 5 h 20"/>
                <a:gd name="T14" fmla="*/ 30 w 30"/>
                <a:gd name="T15" fmla="*/ 5 h 20"/>
                <a:gd name="T16" fmla="*/ 27 w 30"/>
                <a:gd name="T17" fmla="*/ 4 h 20"/>
                <a:gd name="T18" fmla="*/ 24 w 30"/>
                <a:gd name="T19" fmla="*/ 4 h 20"/>
                <a:gd name="T20" fmla="*/ 17 w 30"/>
                <a:gd name="T21" fmla="*/ 3 h 20"/>
                <a:gd name="T22" fmla="*/ 17 w 30"/>
                <a:gd name="T23" fmla="*/ 3 h 20"/>
                <a:gd name="T24" fmla="*/ 12 w 30"/>
                <a:gd name="T25" fmla="*/ 0 h 20"/>
                <a:gd name="T26" fmla="*/ 8 w 30"/>
                <a:gd name="T27" fmla="*/ 0 h 20"/>
                <a:gd name="T28" fmla="*/ 8 w 30"/>
                <a:gd name="T29" fmla="*/ 0 h 20"/>
                <a:gd name="T30" fmla="*/ 4 w 30"/>
                <a:gd name="T31" fmla="*/ 1 h 20"/>
                <a:gd name="T32" fmla="*/ 0 w 30"/>
                <a:gd name="T33" fmla="*/ 5 h 20"/>
                <a:gd name="T34" fmla="*/ 0 w 30"/>
                <a:gd name="T35" fmla="*/ 10 h 20"/>
                <a:gd name="T36" fmla="*/ 0 w 30"/>
                <a:gd name="T37" fmla="*/ 14 h 20"/>
                <a:gd name="T38" fmla="*/ 0 w 30"/>
                <a:gd name="T39" fmla="*/ 14 h 20"/>
                <a:gd name="T40" fmla="*/ 0 w 30"/>
                <a:gd name="T41" fmla="*/ 17 h 20"/>
                <a:gd name="T42" fmla="*/ 1 w 30"/>
                <a:gd name="T43" fmla="*/ 18 h 20"/>
                <a:gd name="T44" fmla="*/ 5 w 30"/>
                <a:gd name="T45" fmla="*/ 20 h 20"/>
                <a:gd name="T46" fmla="*/ 11 w 30"/>
                <a:gd name="T47" fmla="*/ 20 h 20"/>
                <a:gd name="T48" fmla="*/ 15 w 30"/>
                <a:gd name="T49" fmla="*/ 18 h 20"/>
                <a:gd name="T50" fmla="*/ 15 w 30"/>
                <a:gd name="T51" fmla="*/ 1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0">
                  <a:moveTo>
                    <a:pt x="15" y="18"/>
                  </a:moveTo>
                  <a:lnTo>
                    <a:pt x="15" y="18"/>
                  </a:lnTo>
                  <a:lnTo>
                    <a:pt x="20" y="17"/>
                  </a:lnTo>
                  <a:lnTo>
                    <a:pt x="25" y="14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7" y="4"/>
                  </a:lnTo>
                  <a:lnTo>
                    <a:pt x="24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1"/>
                  </a:lnTo>
                  <a:lnTo>
                    <a:pt x="0" y="5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1" y="18"/>
                  </a:lnTo>
                  <a:lnTo>
                    <a:pt x="5" y="20"/>
                  </a:lnTo>
                  <a:lnTo>
                    <a:pt x="11" y="20"/>
                  </a:lnTo>
                  <a:lnTo>
                    <a:pt x="15" y="18"/>
                  </a:lnTo>
                  <a:lnTo>
                    <a:pt x="15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62" name="Freeform 59"/>
            <p:cNvSpPr>
              <a:spLocks/>
            </p:cNvSpPr>
            <p:nvPr/>
          </p:nvSpPr>
          <p:spPr bwMode="auto">
            <a:xfrm>
              <a:off x="5087938" y="1768249"/>
              <a:ext cx="71438" cy="23813"/>
            </a:xfrm>
            <a:custGeom>
              <a:avLst/>
              <a:gdLst>
                <a:gd name="T0" fmla="*/ 0 w 88"/>
                <a:gd name="T1" fmla="*/ 25 h 30"/>
                <a:gd name="T2" fmla="*/ 5 w 88"/>
                <a:gd name="T3" fmla="*/ 30 h 30"/>
                <a:gd name="T4" fmla="*/ 13 w 88"/>
                <a:gd name="T5" fmla="*/ 28 h 30"/>
                <a:gd name="T6" fmla="*/ 18 w 88"/>
                <a:gd name="T7" fmla="*/ 27 h 30"/>
                <a:gd name="T8" fmla="*/ 24 w 88"/>
                <a:gd name="T9" fmla="*/ 25 h 30"/>
                <a:gd name="T10" fmla="*/ 38 w 88"/>
                <a:gd name="T11" fmla="*/ 24 h 30"/>
                <a:gd name="T12" fmla="*/ 45 w 88"/>
                <a:gd name="T13" fmla="*/ 24 h 30"/>
                <a:gd name="T14" fmla="*/ 54 w 88"/>
                <a:gd name="T15" fmla="*/ 24 h 30"/>
                <a:gd name="T16" fmla="*/ 65 w 88"/>
                <a:gd name="T17" fmla="*/ 21 h 30"/>
                <a:gd name="T18" fmla="*/ 83 w 88"/>
                <a:gd name="T19" fmla="*/ 21 h 30"/>
                <a:gd name="T20" fmla="*/ 85 w 88"/>
                <a:gd name="T21" fmla="*/ 20 h 30"/>
                <a:gd name="T22" fmla="*/ 88 w 88"/>
                <a:gd name="T23" fmla="*/ 17 h 30"/>
                <a:gd name="T24" fmla="*/ 87 w 88"/>
                <a:gd name="T25" fmla="*/ 14 h 30"/>
                <a:gd name="T26" fmla="*/ 81 w 88"/>
                <a:gd name="T27" fmla="*/ 11 h 30"/>
                <a:gd name="T28" fmla="*/ 75 w 88"/>
                <a:gd name="T29" fmla="*/ 10 h 30"/>
                <a:gd name="T30" fmla="*/ 64 w 88"/>
                <a:gd name="T31" fmla="*/ 8 h 30"/>
                <a:gd name="T32" fmla="*/ 50 w 88"/>
                <a:gd name="T33" fmla="*/ 2 h 30"/>
                <a:gd name="T34" fmla="*/ 47 w 88"/>
                <a:gd name="T35" fmla="*/ 1 h 30"/>
                <a:gd name="T36" fmla="*/ 37 w 88"/>
                <a:gd name="T37" fmla="*/ 5 h 30"/>
                <a:gd name="T38" fmla="*/ 33 w 88"/>
                <a:gd name="T39" fmla="*/ 7 h 30"/>
                <a:gd name="T40" fmla="*/ 30 w 88"/>
                <a:gd name="T41" fmla="*/ 2 h 30"/>
                <a:gd name="T42" fmla="*/ 30 w 88"/>
                <a:gd name="T43" fmla="*/ 0 h 30"/>
                <a:gd name="T44" fmla="*/ 20 w 88"/>
                <a:gd name="T45" fmla="*/ 1 h 30"/>
                <a:gd name="T46" fmla="*/ 15 w 88"/>
                <a:gd name="T47" fmla="*/ 1 h 30"/>
                <a:gd name="T48" fmla="*/ 10 w 88"/>
                <a:gd name="T49" fmla="*/ 1 h 30"/>
                <a:gd name="T50" fmla="*/ 4 w 88"/>
                <a:gd name="T51" fmla="*/ 1 h 30"/>
                <a:gd name="T52" fmla="*/ 4 w 88"/>
                <a:gd name="T53" fmla="*/ 11 h 30"/>
                <a:gd name="T54" fmla="*/ 1 w 88"/>
                <a:gd name="T55" fmla="*/ 11 h 30"/>
                <a:gd name="T56" fmla="*/ 1 w 88"/>
                <a:gd name="T57" fmla="*/ 18 h 30"/>
                <a:gd name="T58" fmla="*/ 1 w 88"/>
                <a:gd name="T59" fmla="*/ 20 h 30"/>
                <a:gd name="T60" fmla="*/ 1 w 88"/>
                <a:gd name="T61" fmla="*/ 21 h 30"/>
                <a:gd name="T62" fmla="*/ 0 w 88"/>
                <a:gd name="T63" fmla="*/ 24 h 30"/>
                <a:gd name="T64" fmla="*/ 0 w 88"/>
                <a:gd name="T65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8" h="30">
                  <a:moveTo>
                    <a:pt x="0" y="25"/>
                  </a:moveTo>
                  <a:lnTo>
                    <a:pt x="0" y="25"/>
                  </a:lnTo>
                  <a:lnTo>
                    <a:pt x="1" y="28"/>
                  </a:lnTo>
                  <a:lnTo>
                    <a:pt x="5" y="30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5" y="28"/>
                  </a:lnTo>
                  <a:lnTo>
                    <a:pt x="18" y="27"/>
                  </a:lnTo>
                  <a:lnTo>
                    <a:pt x="21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45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60" y="22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5" y="20"/>
                  </a:lnTo>
                  <a:lnTo>
                    <a:pt x="87" y="18"/>
                  </a:lnTo>
                  <a:lnTo>
                    <a:pt x="88" y="17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5" y="11"/>
                  </a:lnTo>
                  <a:lnTo>
                    <a:pt x="81" y="11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57" y="5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7" y="1"/>
                  </a:lnTo>
                  <a:lnTo>
                    <a:pt x="43" y="1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3" y="7"/>
                  </a:lnTo>
                  <a:lnTo>
                    <a:pt x="31" y="5"/>
                  </a:lnTo>
                  <a:lnTo>
                    <a:pt x="30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5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3" y="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1" y="11"/>
                  </a:lnTo>
                  <a:lnTo>
                    <a:pt x="0" y="12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0" y="2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40" name="Freeform 131"/>
            <p:cNvSpPr>
              <a:spLocks/>
            </p:cNvSpPr>
            <p:nvPr/>
          </p:nvSpPr>
          <p:spPr bwMode="auto">
            <a:xfrm>
              <a:off x="4483100" y="1947863"/>
              <a:ext cx="23813" cy="15875"/>
            </a:xfrm>
            <a:custGeom>
              <a:avLst/>
              <a:gdLst>
                <a:gd name="T0" fmla="*/ 16 w 30"/>
                <a:gd name="T1" fmla="*/ 19 h 20"/>
                <a:gd name="T2" fmla="*/ 16 w 30"/>
                <a:gd name="T3" fmla="*/ 19 h 20"/>
                <a:gd name="T4" fmla="*/ 20 w 30"/>
                <a:gd name="T5" fmla="*/ 18 h 20"/>
                <a:gd name="T6" fmla="*/ 26 w 30"/>
                <a:gd name="T7" fmla="*/ 15 h 20"/>
                <a:gd name="T8" fmla="*/ 30 w 30"/>
                <a:gd name="T9" fmla="*/ 10 h 20"/>
                <a:gd name="T10" fmla="*/ 30 w 30"/>
                <a:gd name="T11" fmla="*/ 9 h 20"/>
                <a:gd name="T12" fmla="*/ 30 w 30"/>
                <a:gd name="T13" fmla="*/ 6 h 20"/>
                <a:gd name="T14" fmla="*/ 30 w 30"/>
                <a:gd name="T15" fmla="*/ 6 h 20"/>
                <a:gd name="T16" fmla="*/ 27 w 30"/>
                <a:gd name="T17" fmla="*/ 5 h 20"/>
                <a:gd name="T18" fmla="*/ 24 w 30"/>
                <a:gd name="T19" fmla="*/ 5 h 20"/>
                <a:gd name="T20" fmla="*/ 17 w 30"/>
                <a:gd name="T21" fmla="*/ 3 h 20"/>
                <a:gd name="T22" fmla="*/ 17 w 30"/>
                <a:gd name="T23" fmla="*/ 3 h 20"/>
                <a:gd name="T24" fmla="*/ 13 w 30"/>
                <a:gd name="T25" fmla="*/ 0 h 20"/>
                <a:gd name="T26" fmla="*/ 9 w 30"/>
                <a:gd name="T27" fmla="*/ 0 h 20"/>
                <a:gd name="T28" fmla="*/ 9 w 30"/>
                <a:gd name="T29" fmla="*/ 0 h 20"/>
                <a:gd name="T30" fmla="*/ 4 w 30"/>
                <a:gd name="T31" fmla="*/ 2 h 20"/>
                <a:gd name="T32" fmla="*/ 0 w 30"/>
                <a:gd name="T33" fmla="*/ 6 h 20"/>
                <a:gd name="T34" fmla="*/ 0 w 30"/>
                <a:gd name="T35" fmla="*/ 10 h 20"/>
                <a:gd name="T36" fmla="*/ 0 w 30"/>
                <a:gd name="T37" fmla="*/ 15 h 20"/>
                <a:gd name="T38" fmla="*/ 0 w 30"/>
                <a:gd name="T39" fmla="*/ 15 h 20"/>
                <a:gd name="T40" fmla="*/ 0 w 30"/>
                <a:gd name="T41" fmla="*/ 18 h 20"/>
                <a:gd name="T42" fmla="*/ 1 w 30"/>
                <a:gd name="T43" fmla="*/ 19 h 20"/>
                <a:gd name="T44" fmla="*/ 6 w 30"/>
                <a:gd name="T45" fmla="*/ 20 h 20"/>
                <a:gd name="T46" fmla="*/ 11 w 30"/>
                <a:gd name="T47" fmla="*/ 20 h 20"/>
                <a:gd name="T48" fmla="*/ 16 w 30"/>
                <a:gd name="T49" fmla="*/ 19 h 20"/>
                <a:gd name="T50" fmla="*/ 16 w 30"/>
                <a:gd name="T51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" h="20">
                  <a:moveTo>
                    <a:pt x="16" y="19"/>
                  </a:moveTo>
                  <a:lnTo>
                    <a:pt x="16" y="19"/>
                  </a:lnTo>
                  <a:lnTo>
                    <a:pt x="20" y="18"/>
                  </a:lnTo>
                  <a:lnTo>
                    <a:pt x="26" y="15"/>
                  </a:lnTo>
                  <a:lnTo>
                    <a:pt x="30" y="10"/>
                  </a:lnTo>
                  <a:lnTo>
                    <a:pt x="30" y="9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7" y="5"/>
                  </a:lnTo>
                  <a:lnTo>
                    <a:pt x="24" y="5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19"/>
                  </a:lnTo>
                  <a:lnTo>
                    <a:pt x="6" y="20"/>
                  </a:lnTo>
                  <a:lnTo>
                    <a:pt x="11" y="20"/>
                  </a:lnTo>
                  <a:lnTo>
                    <a:pt x="16" y="19"/>
                  </a:lnTo>
                  <a:lnTo>
                    <a:pt x="16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41" name="Freeform 132"/>
            <p:cNvSpPr>
              <a:spLocks/>
            </p:cNvSpPr>
            <p:nvPr/>
          </p:nvSpPr>
          <p:spPr bwMode="auto">
            <a:xfrm>
              <a:off x="3919538" y="1749425"/>
              <a:ext cx="209550" cy="68262"/>
            </a:xfrm>
            <a:custGeom>
              <a:avLst/>
              <a:gdLst>
                <a:gd name="T0" fmla="*/ 10 w 263"/>
                <a:gd name="T1" fmla="*/ 31 h 85"/>
                <a:gd name="T2" fmla="*/ 15 w 263"/>
                <a:gd name="T3" fmla="*/ 37 h 85"/>
                <a:gd name="T4" fmla="*/ 28 w 263"/>
                <a:gd name="T5" fmla="*/ 44 h 85"/>
                <a:gd name="T6" fmla="*/ 53 w 263"/>
                <a:gd name="T7" fmla="*/ 45 h 85"/>
                <a:gd name="T8" fmla="*/ 68 w 263"/>
                <a:gd name="T9" fmla="*/ 38 h 85"/>
                <a:gd name="T10" fmla="*/ 70 w 263"/>
                <a:gd name="T11" fmla="*/ 44 h 85"/>
                <a:gd name="T12" fmla="*/ 47 w 263"/>
                <a:gd name="T13" fmla="*/ 50 h 85"/>
                <a:gd name="T14" fmla="*/ 48 w 263"/>
                <a:gd name="T15" fmla="*/ 57 h 85"/>
                <a:gd name="T16" fmla="*/ 53 w 263"/>
                <a:gd name="T17" fmla="*/ 61 h 85"/>
                <a:gd name="T18" fmla="*/ 75 w 263"/>
                <a:gd name="T19" fmla="*/ 75 h 85"/>
                <a:gd name="T20" fmla="*/ 87 w 263"/>
                <a:gd name="T21" fmla="*/ 81 h 85"/>
                <a:gd name="T22" fmla="*/ 98 w 263"/>
                <a:gd name="T23" fmla="*/ 84 h 85"/>
                <a:gd name="T24" fmla="*/ 113 w 263"/>
                <a:gd name="T25" fmla="*/ 68 h 85"/>
                <a:gd name="T26" fmla="*/ 124 w 263"/>
                <a:gd name="T27" fmla="*/ 60 h 85"/>
                <a:gd name="T28" fmla="*/ 131 w 263"/>
                <a:gd name="T29" fmla="*/ 51 h 85"/>
                <a:gd name="T30" fmla="*/ 141 w 263"/>
                <a:gd name="T31" fmla="*/ 40 h 85"/>
                <a:gd name="T32" fmla="*/ 153 w 263"/>
                <a:gd name="T33" fmla="*/ 41 h 85"/>
                <a:gd name="T34" fmla="*/ 168 w 263"/>
                <a:gd name="T35" fmla="*/ 47 h 85"/>
                <a:gd name="T36" fmla="*/ 171 w 263"/>
                <a:gd name="T37" fmla="*/ 55 h 85"/>
                <a:gd name="T38" fmla="*/ 185 w 263"/>
                <a:gd name="T39" fmla="*/ 61 h 85"/>
                <a:gd name="T40" fmla="*/ 207 w 263"/>
                <a:gd name="T41" fmla="*/ 64 h 85"/>
                <a:gd name="T42" fmla="*/ 225 w 263"/>
                <a:gd name="T43" fmla="*/ 57 h 85"/>
                <a:gd name="T44" fmla="*/ 215 w 263"/>
                <a:gd name="T45" fmla="*/ 51 h 85"/>
                <a:gd name="T46" fmla="*/ 204 w 263"/>
                <a:gd name="T47" fmla="*/ 48 h 85"/>
                <a:gd name="T48" fmla="*/ 193 w 263"/>
                <a:gd name="T49" fmla="*/ 45 h 85"/>
                <a:gd name="T50" fmla="*/ 190 w 263"/>
                <a:gd name="T51" fmla="*/ 40 h 85"/>
                <a:gd name="T52" fmla="*/ 184 w 263"/>
                <a:gd name="T53" fmla="*/ 38 h 85"/>
                <a:gd name="T54" fmla="*/ 171 w 263"/>
                <a:gd name="T55" fmla="*/ 35 h 85"/>
                <a:gd name="T56" fmla="*/ 145 w 263"/>
                <a:gd name="T57" fmla="*/ 27 h 85"/>
                <a:gd name="T58" fmla="*/ 130 w 263"/>
                <a:gd name="T59" fmla="*/ 22 h 85"/>
                <a:gd name="T60" fmla="*/ 134 w 263"/>
                <a:gd name="T61" fmla="*/ 15 h 85"/>
                <a:gd name="T62" fmla="*/ 148 w 263"/>
                <a:gd name="T63" fmla="*/ 21 h 85"/>
                <a:gd name="T64" fmla="*/ 168 w 263"/>
                <a:gd name="T65" fmla="*/ 21 h 85"/>
                <a:gd name="T66" fmla="*/ 188 w 263"/>
                <a:gd name="T67" fmla="*/ 22 h 85"/>
                <a:gd name="T68" fmla="*/ 203 w 263"/>
                <a:gd name="T69" fmla="*/ 28 h 85"/>
                <a:gd name="T70" fmla="*/ 218 w 263"/>
                <a:gd name="T71" fmla="*/ 24 h 85"/>
                <a:gd name="T72" fmla="*/ 237 w 263"/>
                <a:gd name="T73" fmla="*/ 20 h 85"/>
                <a:gd name="T74" fmla="*/ 263 w 263"/>
                <a:gd name="T75" fmla="*/ 10 h 85"/>
                <a:gd name="T76" fmla="*/ 238 w 263"/>
                <a:gd name="T77" fmla="*/ 7 h 85"/>
                <a:gd name="T78" fmla="*/ 214 w 263"/>
                <a:gd name="T79" fmla="*/ 1 h 85"/>
                <a:gd name="T80" fmla="*/ 208 w 263"/>
                <a:gd name="T81" fmla="*/ 1 h 85"/>
                <a:gd name="T82" fmla="*/ 197 w 263"/>
                <a:gd name="T83" fmla="*/ 2 h 85"/>
                <a:gd name="T84" fmla="*/ 188 w 263"/>
                <a:gd name="T85" fmla="*/ 5 h 85"/>
                <a:gd name="T86" fmla="*/ 171 w 263"/>
                <a:gd name="T87" fmla="*/ 4 h 85"/>
                <a:gd name="T88" fmla="*/ 157 w 263"/>
                <a:gd name="T89" fmla="*/ 4 h 85"/>
                <a:gd name="T90" fmla="*/ 144 w 263"/>
                <a:gd name="T91" fmla="*/ 0 h 85"/>
                <a:gd name="T92" fmla="*/ 127 w 263"/>
                <a:gd name="T93" fmla="*/ 5 h 85"/>
                <a:gd name="T94" fmla="*/ 115 w 263"/>
                <a:gd name="T95" fmla="*/ 8 h 85"/>
                <a:gd name="T96" fmla="*/ 107 w 263"/>
                <a:gd name="T97" fmla="*/ 12 h 85"/>
                <a:gd name="T98" fmla="*/ 97 w 263"/>
                <a:gd name="T99" fmla="*/ 11 h 85"/>
                <a:gd name="T100" fmla="*/ 85 w 263"/>
                <a:gd name="T101" fmla="*/ 7 h 85"/>
                <a:gd name="T102" fmla="*/ 83 w 263"/>
                <a:gd name="T103" fmla="*/ 15 h 85"/>
                <a:gd name="T104" fmla="*/ 84 w 263"/>
                <a:gd name="T105" fmla="*/ 27 h 85"/>
                <a:gd name="T106" fmla="*/ 70 w 263"/>
                <a:gd name="T107" fmla="*/ 14 h 85"/>
                <a:gd name="T108" fmla="*/ 61 w 263"/>
                <a:gd name="T109" fmla="*/ 14 h 85"/>
                <a:gd name="T110" fmla="*/ 51 w 263"/>
                <a:gd name="T111" fmla="*/ 14 h 85"/>
                <a:gd name="T112" fmla="*/ 34 w 263"/>
                <a:gd name="T113" fmla="*/ 12 h 85"/>
                <a:gd name="T114" fmla="*/ 13 w 263"/>
                <a:gd name="T115" fmla="*/ 14 h 85"/>
                <a:gd name="T116" fmla="*/ 0 w 263"/>
                <a:gd name="T117" fmla="*/ 12 h 85"/>
                <a:gd name="T118" fmla="*/ 1 w 263"/>
                <a:gd name="T119" fmla="*/ 2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3" h="85">
                  <a:moveTo>
                    <a:pt x="5" y="25"/>
                  </a:moveTo>
                  <a:lnTo>
                    <a:pt x="5" y="25"/>
                  </a:lnTo>
                  <a:lnTo>
                    <a:pt x="8" y="28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1" y="34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20" y="38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8" y="44"/>
                  </a:lnTo>
                  <a:lnTo>
                    <a:pt x="34" y="45"/>
                  </a:lnTo>
                  <a:lnTo>
                    <a:pt x="40" y="47"/>
                  </a:lnTo>
                  <a:lnTo>
                    <a:pt x="45" y="47"/>
                  </a:lnTo>
                  <a:lnTo>
                    <a:pt x="53" y="45"/>
                  </a:lnTo>
                  <a:lnTo>
                    <a:pt x="58" y="44"/>
                  </a:lnTo>
                  <a:lnTo>
                    <a:pt x="63" y="43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71" y="41"/>
                  </a:lnTo>
                  <a:lnTo>
                    <a:pt x="73" y="41"/>
                  </a:lnTo>
                  <a:lnTo>
                    <a:pt x="73" y="43"/>
                  </a:lnTo>
                  <a:lnTo>
                    <a:pt x="70" y="44"/>
                  </a:lnTo>
                  <a:lnTo>
                    <a:pt x="64" y="45"/>
                  </a:lnTo>
                  <a:lnTo>
                    <a:pt x="54" y="48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5" y="54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8" y="57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61" y="68"/>
                  </a:lnTo>
                  <a:lnTo>
                    <a:pt x="71" y="74"/>
                  </a:lnTo>
                  <a:lnTo>
                    <a:pt x="71" y="74"/>
                  </a:lnTo>
                  <a:lnTo>
                    <a:pt x="75" y="75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4" y="78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91" y="84"/>
                  </a:lnTo>
                  <a:lnTo>
                    <a:pt x="95" y="85"/>
                  </a:lnTo>
                  <a:lnTo>
                    <a:pt x="98" y="84"/>
                  </a:lnTo>
                  <a:lnTo>
                    <a:pt x="101" y="81"/>
                  </a:lnTo>
                  <a:lnTo>
                    <a:pt x="107" y="74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8" y="64"/>
                  </a:lnTo>
                  <a:lnTo>
                    <a:pt x="121" y="63"/>
                  </a:lnTo>
                  <a:lnTo>
                    <a:pt x="124" y="60"/>
                  </a:lnTo>
                  <a:lnTo>
                    <a:pt x="124" y="60"/>
                  </a:lnTo>
                  <a:lnTo>
                    <a:pt x="125" y="57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31" y="51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8" y="43"/>
                  </a:lnTo>
                  <a:lnTo>
                    <a:pt x="141" y="40"/>
                  </a:lnTo>
                  <a:lnTo>
                    <a:pt x="145" y="40"/>
                  </a:lnTo>
                  <a:lnTo>
                    <a:pt x="145" y="40"/>
                  </a:lnTo>
                  <a:lnTo>
                    <a:pt x="150" y="40"/>
                  </a:lnTo>
                  <a:lnTo>
                    <a:pt x="153" y="41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5" y="45"/>
                  </a:lnTo>
                  <a:lnTo>
                    <a:pt x="168" y="47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1" y="53"/>
                  </a:lnTo>
                  <a:lnTo>
                    <a:pt x="171" y="55"/>
                  </a:lnTo>
                  <a:lnTo>
                    <a:pt x="168" y="61"/>
                  </a:lnTo>
                  <a:lnTo>
                    <a:pt x="168" y="61"/>
                  </a:lnTo>
                  <a:lnTo>
                    <a:pt x="185" y="61"/>
                  </a:lnTo>
                  <a:lnTo>
                    <a:pt x="185" y="61"/>
                  </a:lnTo>
                  <a:lnTo>
                    <a:pt x="193" y="63"/>
                  </a:lnTo>
                  <a:lnTo>
                    <a:pt x="200" y="64"/>
                  </a:lnTo>
                  <a:lnTo>
                    <a:pt x="200" y="64"/>
                  </a:lnTo>
                  <a:lnTo>
                    <a:pt x="207" y="64"/>
                  </a:lnTo>
                  <a:lnTo>
                    <a:pt x="217" y="63"/>
                  </a:lnTo>
                  <a:lnTo>
                    <a:pt x="223" y="61"/>
                  </a:lnTo>
                  <a:lnTo>
                    <a:pt x="225" y="58"/>
                  </a:lnTo>
                  <a:lnTo>
                    <a:pt x="225" y="57"/>
                  </a:lnTo>
                  <a:lnTo>
                    <a:pt x="224" y="54"/>
                  </a:lnTo>
                  <a:lnTo>
                    <a:pt x="224" y="54"/>
                  </a:lnTo>
                  <a:lnTo>
                    <a:pt x="220" y="53"/>
                  </a:lnTo>
                  <a:lnTo>
                    <a:pt x="215" y="51"/>
                  </a:lnTo>
                  <a:lnTo>
                    <a:pt x="211" y="51"/>
                  </a:lnTo>
                  <a:lnTo>
                    <a:pt x="207" y="50"/>
                  </a:lnTo>
                  <a:lnTo>
                    <a:pt x="207" y="50"/>
                  </a:lnTo>
                  <a:lnTo>
                    <a:pt x="204" y="48"/>
                  </a:lnTo>
                  <a:lnTo>
                    <a:pt x="201" y="47"/>
                  </a:lnTo>
                  <a:lnTo>
                    <a:pt x="201" y="47"/>
                  </a:lnTo>
                  <a:lnTo>
                    <a:pt x="195" y="47"/>
                  </a:lnTo>
                  <a:lnTo>
                    <a:pt x="193" y="45"/>
                  </a:lnTo>
                  <a:lnTo>
                    <a:pt x="190" y="45"/>
                  </a:lnTo>
                  <a:lnTo>
                    <a:pt x="190" y="45"/>
                  </a:lnTo>
                  <a:lnTo>
                    <a:pt x="190" y="41"/>
                  </a:lnTo>
                  <a:lnTo>
                    <a:pt x="190" y="40"/>
                  </a:lnTo>
                  <a:lnTo>
                    <a:pt x="188" y="38"/>
                  </a:lnTo>
                  <a:lnTo>
                    <a:pt x="188" y="38"/>
                  </a:lnTo>
                  <a:lnTo>
                    <a:pt x="187" y="38"/>
                  </a:lnTo>
                  <a:lnTo>
                    <a:pt x="184" y="38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75" y="37"/>
                  </a:lnTo>
                  <a:lnTo>
                    <a:pt x="171" y="35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55" y="28"/>
                  </a:lnTo>
                  <a:lnTo>
                    <a:pt x="145" y="27"/>
                  </a:lnTo>
                  <a:lnTo>
                    <a:pt x="145" y="27"/>
                  </a:lnTo>
                  <a:lnTo>
                    <a:pt x="137" y="25"/>
                  </a:lnTo>
                  <a:lnTo>
                    <a:pt x="133" y="24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0" y="20"/>
                  </a:lnTo>
                  <a:lnTo>
                    <a:pt x="131" y="17"/>
                  </a:lnTo>
                  <a:lnTo>
                    <a:pt x="134" y="15"/>
                  </a:lnTo>
                  <a:lnTo>
                    <a:pt x="137" y="17"/>
                  </a:lnTo>
                  <a:lnTo>
                    <a:pt x="137" y="17"/>
                  </a:lnTo>
                  <a:lnTo>
                    <a:pt x="144" y="20"/>
                  </a:lnTo>
                  <a:lnTo>
                    <a:pt x="148" y="21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60" y="22"/>
                  </a:lnTo>
                  <a:lnTo>
                    <a:pt x="168" y="21"/>
                  </a:lnTo>
                  <a:lnTo>
                    <a:pt x="175" y="21"/>
                  </a:lnTo>
                  <a:lnTo>
                    <a:pt x="184" y="21"/>
                  </a:lnTo>
                  <a:lnTo>
                    <a:pt x="184" y="21"/>
                  </a:lnTo>
                  <a:lnTo>
                    <a:pt x="188" y="22"/>
                  </a:lnTo>
                  <a:lnTo>
                    <a:pt x="191" y="24"/>
                  </a:lnTo>
                  <a:lnTo>
                    <a:pt x="198" y="27"/>
                  </a:lnTo>
                  <a:lnTo>
                    <a:pt x="198" y="27"/>
                  </a:lnTo>
                  <a:lnTo>
                    <a:pt x="203" y="28"/>
                  </a:lnTo>
                  <a:lnTo>
                    <a:pt x="205" y="27"/>
                  </a:lnTo>
                  <a:lnTo>
                    <a:pt x="213" y="25"/>
                  </a:lnTo>
                  <a:lnTo>
                    <a:pt x="213" y="25"/>
                  </a:lnTo>
                  <a:lnTo>
                    <a:pt x="218" y="24"/>
                  </a:lnTo>
                  <a:lnTo>
                    <a:pt x="224" y="24"/>
                  </a:lnTo>
                  <a:lnTo>
                    <a:pt x="224" y="24"/>
                  </a:lnTo>
                  <a:lnTo>
                    <a:pt x="231" y="22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50" y="17"/>
                  </a:lnTo>
                  <a:lnTo>
                    <a:pt x="257" y="14"/>
                  </a:lnTo>
                  <a:lnTo>
                    <a:pt x="263" y="10"/>
                  </a:lnTo>
                  <a:lnTo>
                    <a:pt x="263" y="10"/>
                  </a:lnTo>
                  <a:lnTo>
                    <a:pt x="254" y="8"/>
                  </a:lnTo>
                  <a:lnTo>
                    <a:pt x="247" y="7"/>
                  </a:lnTo>
                  <a:lnTo>
                    <a:pt x="238" y="7"/>
                  </a:lnTo>
                  <a:lnTo>
                    <a:pt x="230" y="5"/>
                  </a:lnTo>
                  <a:lnTo>
                    <a:pt x="230" y="5"/>
                  </a:lnTo>
                  <a:lnTo>
                    <a:pt x="223" y="2"/>
                  </a:lnTo>
                  <a:lnTo>
                    <a:pt x="214" y="1"/>
                  </a:lnTo>
                  <a:lnTo>
                    <a:pt x="214" y="1"/>
                  </a:lnTo>
                  <a:lnTo>
                    <a:pt x="211" y="0"/>
                  </a:lnTo>
                  <a:lnTo>
                    <a:pt x="208" y="1"/>
                  </a:lnTo>
                  <a:lnTo>
                    <a:pt x="208" y="1"/>
                  </a:lnTo>
                  <a:lnTo>
                    <a:pt x="204" y="2"/>
                  </a:lnTo>
                  <a:lnTo>
                    <a:pt x="201" y="4"/>
                  </a:lnTo>
                  <a:lnTo>
                    <a:pt x="201" y="4"/>
                  </a:lnTo>
                  <a:lnTo>
                    <a:pt x="197" y="2"/>
                  </a:lnTo>
                  <a:lnTo>
                    <a:pt x="194" y="1"/>
                  </a:lnTo>
                  <a:lnTo>
                    <a:pt x="194" y="1"/>
                  </a:lnTo>
                  <a:lnTo>
                    <a:pt x="191" y="2"/>
                  </a:lnTo>
                  <a:lnTo>
                    <a:pt x="188" y="5"/>
                  </a:lnTo>
                  <a:lnTo>
                    <a:pt x="188" y="5"/>
                  </a:lnTo>
                  <a:lnTo>
                    <a:pt x="184" y="7"/>
                  </a:lnTo>
                  <a:lnTo>
                    <a:pt x="180" y="7"/>
                  </a:lnTo>
                  <a:lnTo>
                    <a:pt x="171" y="4"/>
                  </a:lnTo>
                  <a:lnTo>
                    <a:pt x="171" y="4"/>
                  </a:lnTo>
                  <a:lnTo>
                    <a:pt x="164" y="4"/>
                  </a:lnTo>
                  <a:lnTo>
                    <a:pt x="157" y="4"/>
                  </a:lnTo>
                  <a:lnTo>
                    <a:pt x="157" y="4"/>
                  </a:lnTo>
                  <a:lnTo>
                    <a:pt x="151" y="1"/>
                  </a:lnTo>
                  <a:lnTo>
                    <a:pt x="147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38" y="1"/>
                  </a:lnTo>
                  <a:lnTo>
                    <a:pt x="133" y="4"/>
                  </a:lnTo>
                  <a:lnTo>
                    <a:pt x="133" y="4"/>
                  </a:lnTo>
                  <a:lnTo>
                    <a:pt x="127" y="5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17" y="4"/>
                  </a:lnTo>
                  <a:lnTo>
                    <a:pt x="115" y="8"/>
                  </a:lnTo>
                  <a:lnTo>
                    <a:pt x="115" y="8"/>
                  </a:lnTo>
                  <a:lnTo>
                    <a:pt x="114" y="12"/>
                  </a:lnTo>
                  <a:lnTo>
                    <a:pt x="113" y="14"/>
                  </a:lnTo>
                  <a:lnTo>
                    <a:pt x="107" y="12"/>
                  </a:lnTo>
                  <a:lnTo>
                    <a:pt x="107" y="12"/>
                  </a:lnTo>
                  <a:lnTo>
                    <a:pt x="101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1" y="8"/>
                  </a:lnTo>
                  <a:lnTo>
                    <a:pt x="88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3" y="7"/>
                  </a:lnTo>
                  <a:lnTo>
                    <a:pt x="81" y="10"/>
                  </a:lnTo>
                  <a:lnTo>
                    <a:pt x="81" y="12"/>
                  </a:lnTo>
                  <a:lnTo>
                    <a:pt x="83" y="15"/>
                  </a:lnTo>
                  <a:lnTo>
                    <a:pt x="84" y="22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4" y="27"/>
                  </a:lnTo>
                  <a:lnTo>
                    <a:pt x="81" y="27"/>
                  </a:lnTo>
                  <a:lnTo>
                    <a:pt x="78" y="21"/>
                  </a:lnTo>
                  <a:lnTo>
                    <a:pt x="74" y="17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7" y="12"/>
                  </a:lnTo>
                  <a:lnTo>
                    <a:pt x="64" y="12"/>
                  </a:lnTo>
                  <a:lnTo>
                    <a:pt x="61" y="14"/>
                  </a:lnTo>
                  <a:lnTo>
                    <a:pt x="57" y="17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1" y="14"/>
                  </a:lnTo>
                  <a:lnTo>
                    <a:pt x="48" y="12"/>
                  </a:lnTo>
                  <a:lnTo>
                    <a:pt x="45" y="11"/>
                  </a:lnTo>
                  <a:lnTo>
                    <a:pt x="43" y="11"/>
                  </a:lnTo>
                  <a:lnTo>
                    <a:pt x="34" y="12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0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5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5" y="25"/>
                  </a:lnTo>
                  <a:lnTo>
                    <a:pt x="5" y="2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42" name="Freeform 133"/>
            <p:cNvSpPr>
              <a:spLocks noEditPoints="1"/>
            </p:cNvSpPr>
            <p:nvPr/>
          </p:nvSpPr>
          <p:spPr bwMode="auto">
            <a:xfrm>
              <a:off x="3549650" y="2244725"/>
              <a:ext cx="92075" cy="84137"/>
            </a:xfrm>
            <a:custGeom>
              <a:avLst/>
              <a:gdLst>
                <a:gd name="T0" fmla="*/ 10 w 114"/>
                <a:gd name="T1" fmla="*/ 103 h 106"/>
                <a:gd name="T2" fmla="*/ 24 w 114"/>
                <a:gd name="T3" fmla="*/ 106 h 106"/>
                <a:gd name="T4" fmla="*/ 31 w 114"/>
                <a:gd name="T5" fmla="*/ 104 h 106"/>
                <a:gd name="T6" fmla="*/ 54 w 114"/>
                <a:gd name="T7" fmla="*/ 94 h 106"/>
                <a:gd name="T8" fmla="*/ 67 w 114"/>
                <a:gd name="T9" fmla="*/ 89 h 106"/>
                <a:gd name="T10" fmla="*/ 80 w 114"/>
                <a:gd name="T11" fmla="*/ 86 h 106"/>
                <a:gd name="T12" fmla="*/ 86 w 114"/>
                <a:gd name="T13" fmla="*/ 86 h 106"/>
                <a:gd name="T14" fmla="*/ 93 w 114"/>
                <a:gd name="T15" fmla="*/ 80 h 106"/>
                <a:gd name="T16" fmla="*/ 96 w 114"/>
                <a:gd name="T17" fmla="*/ 76 h 106"/>
                <a:gd name="T18" fmla="*/ 98 w 114"/>
                <a:gd name="T19" fmla="*/ 67 h 106"/>
                <a:gd name="T20" fmla="*/ 97 w 114"/>
                <a:gd name="T21" fmla="*/ 66 h 106"/>
                <a:gd name="T22" fmla="*/ 93 w 114"/>
                <a:gd name="T23" fmla="*/ 62 h 106"/>
                <a:gd name="T24" fmla="*/ 93 w 114"/>
                <a:gd name="T25" fmla="*/ 59 h 106"/>
                <a:gd name="T26" fmla="*/ 96 w 114"/>
                <a:gd name="T27" fmla="*/ 56 h 106"/>
                <a:gd name="T28" fmla="*/ 98 w 114"/>
                <a:gd name="T29" fmla="*/ 51 h 106"/>
                <a:gd name="T30" fmla="*/ 97 w 114"/>
                <a:gd name="T31" fmla="*/ 47 h 106"/>
                <a:gd name="T32" fmla="*/ 96 w 114"/>
                <a:gd name="T33" fmla="*/ 36 h 106"/>
                <a:gd name="T34" fmla="*/ 97 w 114"/>
                <a:gd name="T35" fmla="*/ 31 h 106"/>
                <a:gd name="T36" fmla="*/ 107 w 114"/>
                <a:gd name="T37" fmla="*/ 33 h 106"/>
                <a:gd name="T38" fmla="*/ 114 w 114"/>
                <a:gd name="T39" fmla="*/ 23 h 106"/>
                <a:gd name="T40" fmla="*/ 111 w 114"/>
                <a:gd name="T41" fmla="*/ 13 h 106"/>
                <a:gd name="T42" fmla="*/ 107 w 114"/>
                <a:gd name="T43" fmla="*/ 1 h 106"/>
                <a:gd name="T44" fmla="*/ 93 w 114"/>
                <a:gd name="T45" fmla="*/ 4 h 106"/>
                <a:gd name="T46" fmla="*/ 94 w 114"/>
                <a:gd name="T47" fmla="*/ 3 h 106"/>
                <a:gd name="T48" fmla="*/ 87 w 114"/>
                <a:gd name="T49" fmla="*/ 3 h 106"/>
                <a:gd name="T50" fmla="*/ 83 w 114"/>
                <a:gd name="T51" fmla="*/ 1 h 106"/>
                <a:gd name="T52" fmla="*/ 83 w 114"/>
                <a:gd name="T53" fmla="*/ 0 h 106"/>
                <a:gd name="T54" fmla="*/ 67 w 114"/>
                <a:gd name="T55" fmla="*/ 1 h 106"/>
                <a:gd name="T56" fmla="*/ 60 w 114"/>
                <a:gd name="T57" fmla="*/ 4 h 106"/>
                <a:gd name="T58" fmla="*/ 54 w 114"/>
                <a:gd name="T59" fmla="*/ 9 h 106"/>
                <a:gd name="T60" fmla="*/ 45 w 114"/>
                <a:gd name="T61" fmla="*/ 16 h 106"/>
                <a:gd name="T62" fmla="*/ 45 w 114"/>
                <a:gd name="T63" fmla="*/ 20 h 106"/>
                <a:gd name="T64" fmla="*/ 50 w 114"/>
                <a:gd name="T65" fmla="*/ 24 h 106"/>
                <a:gd name="T66" fmla="*/ 48 w 114"/>
                <a:gd name="T67" fmla="*/ 27 h 106"/>
                <a:gd name="T68" fmla="*/ 43 w 114"/>
                <a:gd name="T69" fmla="*/ 27 h 106"/>
                <a:gd name="T70" fmla="*/ 33 w 114"/>
                <a:gd name="T71" fmla="*/ 27 h 106"/>
                <a:gd name="T72" fmla="*/ 28 w 114"/>
                <a:gd name="T73" fmla="*/ 27 h 106"/>
                <a:gd name="T74" fmla="*/ 21 w 114"/>
                <a:gd name="T75" fmla="*/ 24 h 106"/>
                <a:gd name="T76" fmla="*/ 18 w 114"/>
                <a:gd name="T77" fmla="*/ 24 h 106"/>
                <a:gd name="T78" fmla="*/ 13 w 114"/>
                <a:gd name="T79" fmla="*/ 29 h 106"/>
                <a:gd name="T80" fmla="*/ 13 w 114"/>
                <a:gd name="T81" fmla="*/ 37 h 106"/>
                <a:gd name="T82" fmla="*/ 13 w 114"/>
                <a:gd name="T83" fmla="*/ 40 h 106"/>
                <a:gd name="T84" fmla="*/ 11 w 114"/>
                <a:gd name="T85" fmla="*/ 47 h 106"/>
                <a:gd name="T86" fmla="*/ 11 w 114"/>
                <a:gd name="T87" fmla="*/ 50 h 106"/>
                <a:gd name="T88" fmla="*/ 17 w 114"/>
                <a:gd name="T89" fmla="*/ 56 h 106"/>
                <a:gd name="T90" fmla="*/ 23 w 114"/>
                <a:gd name="T91" fmla="*/ 59 h 106"/>
                <a:gd name="T92" fmla="*/ 23 w 114"/>
                <a:gd name="T93" fmla="*/ 62 h 106"/>
                <a:gd name="T94" fmla="*/ 21 w 114"/>
                <a:gd name="T95" fmla="*/ 67 h 106"/>
                <a:gd name="T96" fmla="*/ 17 w 114"/>
                <a:gd name="T97" fmla="*/ 73 h 106"/>
                <a:gd name="T98" fmla="*/ 11 w 114"/>
                <a:gd name="T99" fmla="*/ 79 h 106"/>
                <a:gd name="T100" fmla="*/ 7 w 114"/>
                <a:gd name="T101" fmla="*/ 80 h 106"/>
                <a:gd name="T102" fmla="*/ 4 w 114"/>
                <a:gd name="T103" fmla="*/ 82 h 106"/>
                <a:gd name="T104" fmla="*/ 1 w 114"/>
                <a:gd name="T105" fmla="*/ 90 h 106"/>
                <a:gd name="T106" fmla="*/ 0 w 114"/>
                <a:gd name="T107" fmla="*/ 97 h 106"/>
                <a:gd name="T108" fmla="*/ 4 w 114"/>
                <a:gd name="T109" fmla="*/ 102 h 106"/>
                <a:gd name="T110" fmla="*/ 10 w 114"/>
                <a:gd name="T111" fmla="*/ 103 h 106"/>
                <a:gd name="T112" fmla="*/ 68 w 114"/>
                <a:gd name="T113" fmla="*/ 14 h 106"/>
                <a:gd name="T114" fmla="*/ 73 w 114"/>
                <a:gd name="T115" fmla="*/ 11 h 106"/>
                <a:gd name="T116" fmla="*/ 77 w 114"/>
                <a:gd name="T117" fmla="*/ 10 h 106"/>
                <a:gd name="T118" fmla="*/ 67 w 114"/>
                <a:gd name="T119" fmla="*/ 17 h 106"/>
                <a:gd name="T120" fmla="*/ 67 w 114"/>
                <a:gd name="T121" fmla="*/ 19 h 106"/>
                <a:gd name="T122" fmla="*/ 67 w 114"/>
                <a:gd name="T123" fmla="*/ 17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4" h="106">
                  <a:moveTo>
                    <a:pt x="10" y="103"/>
                  </a:moveTo>
                  <a:lnTo>
                    <a:pt x="10" y="103"/>
                  </a:lnTo>
                  <a:lnTo>
                    <a:pt x="17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31" y="104"/>
                  </a:lnTo>
                  <a:lnTo>
                    <a:pt x="40" y="102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67" y="89"/>
                  </a:lnTo>
                  <a:lnTo>
                    <a:pt x="73" y="87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6" y="86"/>
                  </a:lnTo>
                  <a:lnTo>
                    <a:pt x="90" y="83"/>
                  </a:lnTo>
                  <a:lnTo>
                    <a:pt x="93" y="80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7" y="72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7" y="66"/>
                  </a:lnTo>
                  <a:lnTo>
                    <a:pt x="96" y="64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59"/>
                  </a:lnTo>
                  <a:lnTo>
                    <a:pt x="93" y="57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8" y="51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3" y="33"/>
                  </a:lnTo>
                  <a:lnTo>
                    <a:pt x="97" y="31"/>
                  </a:lnTo>
                  <a:lnTo>
                    <a:pt x="103" y="33"/>
                  </a:lnTo>
                  <a:lnTo>
                    <a:pt x="107" y="33"/>
                  </a:lnTo>
                  <a:lnTo>
                    <a:pt x="110" y="31"/>
                  </a:lnTo>
                  <a:lnTo>
                    <a:pt x="114" y="23"/>
                  </a:lnTo>
                  <a:lnTo>
                    <a:pt x="114" y="17"/>
                  </a:lnTo>
                  <a:lnTo>
                    <a:pt x="111" y="13"/>
                  </a:lnTo>
                  <a:lnTo>
                    <a:pt x="110" y="4"/>
                  </a:lnTo>
                  <a:lnTo>
                    <a:pt x="107" y="1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87" y="3"/>
                  </a:lnTo>
                  <a:lnTo>
                    <a:pt x="84" y="3"/>
                  </a:lnTo>
                  <a:lnTo>
                    <a:pt x="83" y="1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6" y="0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0" y="4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47" y="13"/>
                  </a:lnTo>
                  <a:lnTo>
                    <a:pt x="45" y="16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8" y="23"/>
                  </a:lnTo>
                  <a:lnTo>
                    <a:pt x="50" y="24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7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28" y="27"/>
                  </a:lnTo>
                  <a:lnTo>
                    <a:pt x="25" y="26"/>
                  </a:lnTo>
                  <a:lnTo>
                    <a:pt x="21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4" y="26"/>
                  </a:lnTo>
                  <a:lnTo>
                    <a:pt x="13" y="29"/>
                  </a:lnTo>
                  <a:lnTo>
                    <a:pt x="13" y="33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40"/>
                  </a:lnTo>
                  <a:lnTo>
                    <a:pt x="11" y="44"/>
                  </a:lnTo>
                  <a:lnTo>
                    <a:pt x="11" y="47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4" y="53"/>
                  </a:lnTo>
                  <a:lnTo>
                    <a:pt x="17" y="56"/>
                  </a:lnTo>
                  <a:lnTo>
                    <a:pt x="21" y="57"/>
                  </a:lnTo>
                  <a:lnTo>
                    <a:pt x="23" y="59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3" y="66"/>
                  </a:lnTo>
                  <a:lnTo>
                    <a:pt x="21" y="67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4" y="76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7" y="80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3" y="86"/>
                  </a:lnTo>
                  <a:lnTo>
                    <a:pt x="1" y="90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1" y="100"/>
                  </a:lnTo>
                  <a:lnTo>
                    <a:pt x="4" y="102"/>
                  </a:lnTo>
                  <a:lnTo>
                    <a:pt x="10" y="103"/>
                  </a:lnTo>
                  <a:lnTo>
                    <a:pt x="10" y="103"/>
                  </a:lnTo>
                  <a:close/>
                  <a:moveTo>
                    <a:pt x="77" y="10"/>
                  </a:moveTo>
                  <a:lnTo>
                    <a:pt x="68" y="14"/>
                  </a:lnTo>
                  <a:lnTo>
                    <a:pt x="68" y="14"/>
                  </a:lnTo>
                  <a:lnTo>
                    <a:pt x="73" y="11"/>
                  </a:lnTo>
                  <a:lnTo>
                    <a:pt x="77" y="10"/>
                  </a:lnTo>
                  <a:lnTo>
                    <a:pt x="77" y="10"/>
                  </a:lnTo>
                  <a:close/>
                  <a:moveTo>
                    <a:pt x="67" y="17"/>
                  </a:moveTo>
                  <a:lnTo>
                    <a:pt x="67" y="17"/>
                  </a:lnTo>
                  <a:lnTo>
                    <a:pt x="68" y="16"/>
                  </a:lnTo>
                  <a:lnTo>
                    <a:pt x="67" y="19"/>
                  </a:lnTo>
                  <a:lnTo>
                    <a:pt x="67" y="19"/>
                  </a:lnTo>
                  <a:lnTo>
                    <a:pt x="67" y="17"/>
                  </a:lnTo>
                  <a:lnTo>
                    <a:pt x="67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43" name="Freeform 134"/>
            <p:cNvSpPr>
              <a:spLocks/>
            </p:cNvSpPr>
            <p:nvPr/>
          </p:nvSpPr>
          <p:spPr bwMode="auto">
            <a:xfrm>
              <a:off x="3629025" y="2171700"/>
              <a:ext cx="136525" cy="190500"/>
            </a:xfrm>
            <a:custGeom>
              <a:avLst/>
              <a:gdLst>
                <a:gd name="T0" fmla="*/ 19 w 173"/>
                <a:gd name="T1" fmla="*/ 77 h 240"/>
                <a:gd name="T2" fmla="*/ 16 w 173"/>
                <a:gd name="T3" fmla="*/ 91 h 240"/>
                <a:gd name="T4" fmla="*/ 29 w 173"/>
                <a:gd name="T5" fmla="*/ 85 h 240"/>
                <a:gd name="T6" fmla="*/ 35 w 173"/>
                <a:gd name="T7" fmla="*/ 91 h 240"/>
                <a:gd name="T8" fmla="*/ 38 w 173"/>
                <a:gd name="T9" fmla="*/ 105 h 240"/>
                <a:gd name="T10" fmla="*/ 65 w 173"/>
                <a:gd name="T11" fmla="*/ 102 h 240"/>
                <a:gd name="T12" fmla="*/ 59 w 173"/>
                <a:gd name="T13" fmla="*/ 117 h 240"/>
                <a:gd name="T14" fmla="*/ 73 w 173"/>
                <a:gd name="T15" fmla="*/ 127 h 240"/>
                <a:gd name="T16" fmla="*/ 68 w 173"/>
                <a:gd name="T17" fmla="*/ 138 h 240"/>
                <a:gd name="T18" fmla="*/ 58 w 173"/>
                <a:gd name="T19" fmla="*/ 147 h 240"/>
                <a:gd name="T20" fmla="*/ 40 w 173"/>
                <a:gd name="T21" fmla="*/ 151 h 240"/>
                <a:gd name="T22" fmla="*/ 39 w 173"/>
                <a:gd name="T23" fmla="*/ 158 h 240"/>
                <a:gd name="T24" fmla="*/ 45 w 173"/>
                <a:gd name="T25" fmla="*/ 171 h 240"/>
                <a:gd name="T26" fmla="*/ 30 w 173"/>
                <a:gd name="T27" fmla="*/ 180 h 240"/>
                <a:gd name="T28" fmla="*/ 23 w 173"/>
                <a:gd name="T29" fmla="*/ 194 h 240"/>
                <a:gd name="T30" fmla="*/ 48 w 173"/>
                <a:gd name="T31" fmla="*/ 197 h 240"/>
                <a:gd name="T32" fmla="*/ 79 w 173"/>
                <a:gd name="T33" fmla="*/ 193 h 240"/>
                <a:gd name="T34" fmla="*/ 49 w 173"/>
                <a:gd name="T35" fmla="*/ 208 h 240"/>
                <a:gd name="T36" fmla="*/ 29 w 173"/>
                <a:gd name="T37" fmla="*/ 214 h 240"/>
                <a:gd name="T38" fmla="*/ 3 w 173"/>
                <a:gd name="T39" fmla="*/ 235 h 240"/>
                <a:gd name="T40" fmla="*/ 13 w 173"/>
                <a:gd name="T41" fmla="*/ 235 h 240"/>
                <a:gd name="T42" fmla="*/ 36 w 173"/>
                <a:gd name="T43" fmla="*/ 228 h 240"/>
                <a:gd name="T44" fmla="*/ 53 w 173"/>
                <a:gd name="T45" fmla="*/ 228 h 240"/>
                <a:gd name="T46" fmla="*/ 73 w 173"/>
                <a:gd name="T47" fmla="*/ 220 h 240"/>
                <a:gd name="T48" fmla="*/ 95 w 173"/>
                <a:gd name="T49" fmla="*/ 220 h 240"/>
                <a:gd name="T50" fmla="*/ 122 w 173"/>
                <a:gd name="T51" fmla="*/ 220 h 240"/>
                <a:gd name="T52" fmla="*/ 149 w 173"/>
                <a:gd name="T53" fmla="*/ 214 h 240"/>
                <a:gd name="T54" fmla="*/ 163 w 173"/>
                <a:gd name="T55" fmla="*/ 200 h 240"/>
                <a:gd name="T56" fmla="*/ 148 w 173"/>
                <a:gd name="T57" fmla="*/ 197 h 240"/>
                <a:gd name="T58" fmla="*/ 168 w 173"/>
                <a:gd name="T59" fmla="*/ 181 h 240"/>
                <a:gd name="T60" fmla="*/ 170 w 173"/>
                <a:gd name="T61" fmla="*/ 157 h 240"/>
                <a:gd name="T62" fmla="*/ 145 w 173"/>
                <a:gd name="T63" fmla="*/ 155 h 240"/>
                <a:gd name="T64" fmla="*/ 139 w 173"/>
                <a:gd name="T65" fmla="*/ 168 h 240"/>
                <a:gd name="T66" fmla="*/ 136 w 173"/>
                <a:gd name="T67" fmla="*/ 160 h 240"/>
                <a:gd name="T68" fmla="*/ 135 w 173"/>
                <a:gd name="T69" fmla="*/ 144 h 240"/>
                <a:gd name="T70" fmla="*/ 128 w 173"/>
                <a:gd name="T71" fmla="*/ 117 h 240"/>
                <a:gd name="T72" fmla="*/ 109 w 173"/>
                <a:gd name="T73" fmla="*/ 104 h 240"/>
                <a:gd name="T74" fmla="*/ 86 w 173"/>
                <a:gd name="T75" fmla="*/ 71 h 240"/>
                <a:gd name="T76" fmla="*/ 66 w 173"/>
                <a:gd name="T77" fmla="*/ 72 h 240"/>
                <a:gd name="T78" fmla="*/ 76 w 173"/>
                <a:gd name="T79" fmla="*/ 67 h 240"/>
                <a:gd name="T80" fmla="*/ 86 w 173"/>
                <a:gd name="T81" fmla="*/ 54 h 240"/>
                <a:gd name="T82" fmla="*/ 105 w 173"/>
                <a:gd name="T83" fmla="*/ 38 h 240"/>
                <a:gd name="T84" fmla="*/ 103 w 173"/>
                <a:gd name="T85" fmla="*/ 27 h 240"/>
                <a:gd name="T86" fmla="*/ 79 w 173"/>
                <a:gd name="T87" fmla="*/ 25 h 240"/>
                <a:gd name="T88" fmla="*/ 58 w 173"/>
                <a:gd name="T89" fmla="*/ 27 h 240"/>
                <a:gd name="T90" fmla="*/ 75 w 173"/>
                <a:gd name="T91" fmla="*/ 8 h 240"/>
                <a:gd name="T92" fmla="*/ 70 w 173"/>
                <a:gd name="T93" fmla="*/ 0 h 240"/>
                <a:gd name="T94" fmla="*/ 38 w 173"/>
                <a:gd name="T95" fmla="*/ 5 h 240"/>
                <a:gd name="T96" fmla="*/ 26 w 173"/>
                <a:gd name="T97" fmla="*/ 21 h 240"/>
                <a:gd name="T98" fmla="*/ 18 w 173"/>
                <a:gd name="T99" fmla="*/ 34 h 240"/>
                <a:gd name="T100" fmla="*/ 12 w 173"/>
                <a:gd name="T101" fmla="*/ 28 h 240"/>
                <a:gd name="T102" fmla="*/ 5 w 173"/>
                <a:gd name="T103" fmla="*/ 37 h 240"/>
                <a:gd name="T104" fmla="*/ 9 w 173"/>
                <a:gd name="T105" fmla="*/ 52 h 240"/>
                <a:gd name="T106" fmla="*/ 6 w 173"/>
                <a:gd name="T107" fmla="*/ 71 h 240"/>
                <a:gd name="T108" fmla="*/ 6 w 173"/>
                <a:gd name="T109" fmla="*/ 8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3" h="240">
                  <a:moveTo>
                    <a:pt x="6" y="81"/>
                  </a:moveTo>
                  <a:lnTo>
                    <a:pt x="6" y="81"/>
                  </a:lnTo>
                  <a:lnTo>
                    <a:pt x="9" y="80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6" y="77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20" y="80"/>
                  </a:lnTo>
                  <a:lnTo>
                    <a:pt x="20" y="82"/>
                  </a:lnTo>
                  <a:lnTo>
                    <a:pt x="16" y="88"/>
                  </a:lnTo>
                  <a:lnTo>
                    <a:pt x="15" y="90"/>
                  </a:lnTo>
                  <a:lnTo>
                    <a:pt x="15" y="91"/>
                  </a:lnTo>
                  <a:lnTo>
                    <a:pt x="16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6" y="88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32" y="84"/>
                  </a:lnTo>
                  <a:lnTo>
                    <a:pt x="35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8" y="90"/>
                  </a:lnTo>
                  <a:lnTo>
                    <a:pt x="35" y="91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2" y="97"/>
                  </a:lnTo>
                  <a:lnTo>
                    <a:pt x="33" y="101"/>
                  </a:lnTo>
                  <a:lnTo>
                    <a:pt x="35" y="104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40" y="107"/>
                  </a:lnTo>
                  <a:lnTo>
                    <a:pt x="45" y="107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8" y="102"/>
                  </a:lnTo>
                  <a:lnTo>
                    <a:pt x="65" y="102"/>
                  </a:lnTo>
                  <a:lnTo>
                    <a:pt x="65" y="102"/>
                  </a:lnTo>
                  <a:lnTo>
                    <a:pt x="65" y="105"/>
                  </a:lnTo>
                  <a:lnTo>
                    <a:pt x="63" y="107"/>
                  </a:lnTo>
                  <a:lnTo>
                    <a:pt x="60" y="110"/>
                  </a:lnTo>
                  <a:lnTo>
                    <a:pt x="59" y="111"/>
                  </a:lnTo>
                  <a:lnTo>
                    <a:pt x="59" y="111"/>
                  </a:lnTo>
                  <a:lnTo>
                    <a:pt x="59" y="114"/>
                  </a:lnTo>
                  <a:lnTo>
                    <a:pt x="59" y="117"/>
                  </a:lnTo>
                  <a:lnTo>
                    <a:pt x="62" y="121"/>
                  </a:lnTo>
                  <a:lnTo>
                    <a:pt x="62" y="121"/>
                  </a:lnTo>
                  <a:lnTo>
                    <a:pt x="65" y="122"/>
                  </a:lnTo>
                  <a:lnTo>
                    <a:pt x="69" y="124"/>
                  </a:lnTo>
                  <a:lnTo>
                    <a:pt x="72" y="124"/>
                  </a:lnTo>
                  <a:lnTo>
                    <a:pt x="73" y="127"/>
                  </a:lnTo>
                  <a:lnTo>
                    <a:pt x="73" y="127"/>
                  </a:lnTo>
                  <a:lnTo>
                    <a:pt x="73" y="128"/>
                  </a:lnTo>
                  <a:lnTo>
                    <a:pt x="72" y="130"/>
                  </a:lnTo>
                  <a:lnTo>
                    <a:pt x="70" y="131"/>
                  </a:lnTo>
                  <a:lnTo>
                    <a:pt x="70" y="131"/>
                  </a:lnTo>
                  <a:lnTo>
                    <a:pt x="69" y="135"/>
                  </a:lnTo>
                  <a:lnTo>
                    <a:pt x="68" y="138"/>
                  </a:lnTo>
                  <a:lnTo>
                    <a:pt x="68" y="138"/>
                  </a:lnTo>
                  <a:lnTo>
                    <a:pt x="69" y="144"/>
                  </a:lnTo>
                  <a:lnTo>
                    <a:pt x="68" y="145"/>
                  </a:lnTo>
                  <a:lnTo>
                    <a:pt x="65" y="147"/>
                  </a:lnTo>
                  <a:lnTo>
                    <a:pt x="65" y="147"/>
                  </a:lnTo>
                  <a:lnTo>
                    <a:pt x="62" y="147"/>
                  </a:lnTo>
                  <a:lnTo>
                    <a:pt x="58" y="147"/>
                  </a:lnTo>
                  <a:lnTo>
                    <a:pt x="58" y="147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2" y="150"/>
                  </a:lnTo>
                  <a:lnTo>
                    <a:pt x="40" y="151"/>
                  </a:lnTo>
                  <a:lnTo>
                    <a:pt x="40" y="151"/>
                  </a:lnTo>
                  <a:lnTo>
                    <a:pt x="38" y="154"/>
                  </a:lnTo>
                  <a:lnTo>
                    <a:pt x="38" y="154"/>
                  </a:lnTo>
                  <a:lnTo>
                    <a:pt x="35" y="155"/>
                  </a:lnTo>
                  <a:lnTo>
                    <a:pt x="33" y="157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9" y="158"/>
                  </a:lnTo>
                  <a:lnTo>
                    <a:pt x="42" y="160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164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5" y="171"/>
                  </a:lnTo>
                  <a:lnTo>
                    <a:pt x="43" y="171"/>
                  </a:lnTo>
                  <a:lnTo>
                    <a:pt x="39" y="173"/>
                  </a:lnTo>
                  <a:lnTo>
                    <a:pt x="39" y="173"/>
                  </a:lnTo>
                  <a:lnTo>
                    <a:pt x="38" y="174"/>
                  </a:lnTo>
                  <a:lnTo>
                    <a:pt x="36" y="177"/>
                  </a:lnTo>
                  <a:lnTo>
                    <a:pt x="33" y="178"/>
                  </a:lnTo>
                  <a:lnTo>
                    <a:pt x="30" y="180"/>
                  </a:lnTo>
                  <a:lnTo>
                    <a:pt x="30" y="180"/>
                  </a:lnTo>
                  <a:lnTo>
                    <a:pt x="25" y="181"/>
                  </a:lnTo>
                  <a:lnTo>
                    <a:pt x="19" y="185"/>
                  </a:lnTo>
                  <a:lnTo>
                    <a:pt x="19" y="185"/>
                  </a:lnTo>
                  <a:lnTo>
                    <a:pt x="18" y="188"/>
                  </a:lnTo>
                  <a:lnTo>
                    <a:pt x="19" y="191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30" y="194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42" y="194"/>
                  </a:lnTo>
                  <a:lnTo>
                    <a:pt x="48" y="197"/>
                  </a:lnTo>
                  <a:lnTo>
                    <a:pt x="48" y="197"/>
                  </a:lnTo>
                  <a:lnTo>
                    <a:pt x="53" y="200"/>
                  </a:lnTo>
                  <a:lnTo>
                    <a:pt x="59" y="201"/>
                  </a:lnTo>
                  <a:lnTo>
                    <a:pt x="59" y="201"/>
                  </a:lnTo>
                  <a:lnTo>
                    <a:pt x="65" y="200"/>
                  </a:lnTo>
                  <a:lnTo>
                    <a:pt x="70" y="197"/>
                  </a:lnTo>
                  <a:lnTo>
                    <a:pt x="75" y="194"/>
                  </a:lnTo>
                  <a:lnTo>
                    <a:pt x="79" y="193"/>
                  </a:lnTo>
                  <a:lnTo>
                    <a:pt x="79" y="193"/>
                  </a:lnTo>
                  <a:lnTo>
                    <a:pt x="79" y="194"/>
                  </a:lnTo>
                  <a:lnTo>
                    <a:pt x="76" y="195"/>
                  </a:lnTo>
                  <a:lnTo>
                    <a:pt x="68" y="203"/>
                  </a:lnTo>
                  <a:lnTo>
                    <a:pt x="58" y="207"/>
                  </a:lnTo>
                  <a:lnTo>
                    <a:pt x="53" y="208"/>
                  </a:lnTo>
                  <a:lnTo>
                    <a:pt x="49" y="208"/>
                  </a:lnTo>
                  <a:lnTo>
                    <a:pt x="49" y="208"/>
                  </a:lnTo>
                  <a:lnTo>
                    <a:pt x="45" y="205"/>
                  </a:lnTo>
                  <a:lnTo>
                    <a:pt x="39" y="205"/>
                  </a:lnTo>
                  <a:lnTo>
                    <a:pt x="36" y="208"/>
                  </a:lnTo>
                  <a:lnTo>
                    <a:pt x="33" y="210"/>
                  </a:lnTo>
                  <a:lnTo>
                    <a:pt x="33" y="210"/>
                  </a:lnTo>
                  <a:lnTo>
                    <a:pt x="29" y="214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15" y="228"/>
                  </a:lnTo>
                  <a:lnTo>
                    <a:pt x="10" y="233"/>
                  </a:lnTo>
                  <a:lnTo>
                    <a:pt x="6" y="234"/>
                  </a:lnTo>
                  <a:lnTo>
                    <a:pt x="6" y="234"/>
                  </a:lnTo>
                  <a:lnTo>
                    <a:pt x="3" y="235"/>
                  </a:lnTo>
                  <a:lnTo>
                    <a:pt x="3" y="237"/>
                  </a:lnTo>
                  <a:lnTo>
                    <a:pt x="5" y="238"/>
                  </a:lnTo>
                  <a:lnTo>
                    <a:pt x="9" y="240"/>
                  </a:lnTo>
                  <a:lnTo>
                    <a:pt x="9" y="240"/>
                  </a:lnTo>
                  <a:lnTo>
                    <a:pt x="10" y="238"/>
                  </a:lnTo>
                  <a:lnTo>
                    <a:pt x="12" y="237"/>
                  </a:lnTo>
                  <a:lnTo>
                    <a:pt x="13" y="235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30" y="230"/>
                  </a:lnTo>
                  <a:lnTo>
                    <a:pt x="30" y="230"/>
                  </a:lnTo>
                  <a:lnTo>
                    <a:pt x="33" y="228"/>
                  </a:lnTo>
                  <a:lnTo>
                    <a:pt x="36" y="228"/>
                  </a:lnTo>
                  <a:lnTo>
                    <a:pt x="36" y="228"/>
                  </a:lnTo>
                  <a:lnTo>
                    <a:pt x="42" y="233"/>
                  </a:lnTo>
                  <a:lnTo>
                    <a:pt x="45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9" y="234"/>
                  </a:lnTo>
                  <a:lnTo>
                    <a:pt x="50" y="233"/>
                  </a:lnTo>
                  <a:lnTo>
                    <a:pt x="53" y="228"/>
                  </a:lnTo>
                  <a:lnTo>
                    <a:pt x="56" y="223"/>
                  </a:lnTo>
                  <a:lnTo>
                    <a:pt x="59" y="220"/>
                  </a:lnTo>
                  <a:lnTo>
                    <a:pt x="59" y="220"/>
                  </a:lnTo>
                  <a:lnTo>
                    <a:pt x="66" y="217"/>
                  </a:lnTo>
                  <a:lnTo>
                    <a:pt x="70" y="217"/>
                  </a:lnTo>
                  <a:lnTo>
                    <a:pt x="73" y="220"/>
                  </a:lnTo>
                  <a:lnTo>
                    <a:pt x="73" y="220"/>
                  </a:lnTo>
                  <a:lnTo>
                    <a:pt x="79" y="225"/>
                  </a:lnTo>
                  <a:lnTo>
                    <a:pt x="80" y="227"/>
                  </a:lnTo>
                  <a:lnTo>
                    <a:pt x="83" y="225"/>
                  </a:lnTo>
                  <a:lnTo>
                    <a:pt x="83" y="225"/>
                  </a:lnTo>
                  <a:lnTo>
                    <a:pt x="89" y="221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105" y="218"/>
                  </a:lnTo>
                  <a:lnTo>
                    <a:pt x="108" y="218"/>
                  </a:lnTo>
                  <a:lnTo>
                    <a:pt x="109" y="220"/>
                  </a:lnTo>
                  <a:lnTo>
                    <a:pt x="109" y="220"/>
                  </a:lnTo>
                  <a:lnTo>
                    <a:pt x="112" y="221"/>
                  </a:lnTo>
                  <a:lnTo>
                    <a:pt x="115" y="221"/>
                  </a:lnTo>
                  <a:lnTo>
                    <a:pt x="122" y="220"/>
                  </a:lnTo>
                  <a:lnTo>
                    <a:pt x="122" y="220"/>
                  </a:lnTo>
                  <a:lnTo>
                    <a:pt x="130" y="218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42" y="220"/>
                  </a:lnTo>
                  <a:lnTo>
                    <a:pt x="145" y="218"/>
                  </a:lnTo>
                  <a:lnTo>
                    <a:pt x="149" y="214"/>
                  </a:lnTo>
                  <a:lnTo>
                    <a:pt x="149" y="214"/>
                  </a:lnTo>
                  <a:lnTo>
                    <a:pt x="155" y="213"/>
                  </a:lnTo>
                  <a:lnTo>
                    <a:pt x="158" y="213"/>
                  </a:lnTo>
                  <a:lnTo>
                    <a:pt x="160" y="210"/>
                  </a:lnTo>
                  <a:lnTo>
                    <a:pt x="160" y="210"/>
                  </a:lnTo>
                  <a:lnTo>
                    <a:pt x="163" y="203"/>
                  </a:lnTo>
                  <a:lnTo>
                    <a:pt x="163" y="200"/>
                  </a:lnTo>
                  <a:lnTo>
                    <a:pt x="160" y="198"/>
                  </a:lnTo>
                  <a:lnTo>
                    <a:pt x="160" y="198"/>
                  </a:lnTo>
                  <a:lnTo>
                    <a:pt x="150" y="200"/>
                  </a:lnTo>
                  <a:lnTo>
                    <a:pt x="148" y="198"/>
                  </a:lnTo>
                  <a:lnTo>
                    <a:pt x="148" y="198"/>
                  </a:lnTo>
                  <a:lnTo>
                    <a:pt x="148" y="197"/>
                  </a:lnTo>
                  <a:lnTo>
                    <a:pt x="148" y="197"/>
                  </a:lnTo>
                  <a:lnTo>
                    <a:pt x="152" y="193"/>
                  </a:lnTo>
                  <a:lnTo>
                    <a:pt x="156" y="190"/>
                  </a:lnTo>
                  <a:lnTo>
                    <a:pt x="156" y="190"/>
                  </a:lnTo>
                  <a:lnTo>
                    <a:pt x="160" y="187"/>
                  </a:lnTo>
                  <a:lnTo>
                    <a:pt x="163" y="184"/>
                  </a:lnTo>
                  <a:lnTo>
                    <a:pt x="163" y="184"/>
                  </a:lnTo>
                  <a:lnTo>
                    <a:pt x="168" y="181"/>
                  </a:lnTo>
                  <a:lnTo>
                    <a:pt x="170" y="178"/>
                  </a:lnTo>
                  <a:lnTo>
                    <a:pt x="170" y="178"/>
                  </a:lnTo>
                  <a:lnTo>
                    <a:pt x="172" y="168"/>
                  </a:lnTo>
                  <a:lnTo>
                    <a:pt x="173" y="163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0" y="157"/>
                  </a:lnTo>
                  <a:lnTo>
                    <a:pt x="168" y="155"/>
                  </a:lnTo>
                  <a:lnTo>
                    <a:pt x="165" y="154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55" y="155"/>
                  </a:lnTo>
                  <a:lnTo>
                    <a:pt x="149" y="155"/>
                  </a:lnTo>
                  <a:lnTo>
                    <a:pt x="145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2" y="157"/>
                  </a:lnTo>
                  <a:lnTo>
                    <a:pt x="142" y="161"/>
                  </a:lnTo>
                  <a:lnTo>
                    <a:pt x="142" y="161"/>
                  </a:lnTo>
                  <a:lnTo>
                    <a:pt x="142" y="164"/>
                  </a:lnTo>
                  <a:lnTo>
                    <a:pt x="139" y="168"/>
                  </a:lnTo>
                  <a:lnTo>
                    <a:pt x="138" y="171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6" y="170"/>
                  </a:lnTo>
                  <a:lnTo>
                    <a:pt x="135" y="165"/>
                  </a:lnTo>
                  <a:lnTo>
                    <a:pt x="135" y="163"/>
                  </a:lnTo>
                  <a:lnTo>
                    <a:pt x="136" y="160"/>
                  </a:lnTo>
                  <a:lnTo>
                    <a:pt x="136" y="160"/>
                  </a:lnTo>
                  <a:lnTo>
                    <a:pt x="140" y="154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2" y="148"/>
                  </a:lnTo>
                  <a:lnTo>
                    <a:pt x="139" y="147"/>
                  </a:lnTo>
                  <a:lnTo>
                    <a:pt x="135" y="144"/>
                  </a:lnTo>
                  <a:lnTo>
                    <a:pt x="133" y="140"/>
                  </a:lnTo>
                  <a:lnTo>
                    <a:pt x="133" y="140"/>
                  </a:lnTo>
                  <a:lnTo>
                    <a:pt x="133" y="132"/>
                  </a:lnTo>
                  <a:lnTo>
                    <a:pt x="132" y="125"/>
                  </a:lnTo>
                  <a:lnTo>
                    <a:pt x="132" y="125"/>
                  </a:lnTo>
                  <a:lnTo>
                    <a:pt x="130" y="120"/>
                  </a:lnTo>
                  <a:lnTo>
                    <a:pt x="128" y="117"/>
                  </a:lnTo>
                  <a:lnTo>
                    <a:pt x="125" y="112"/>
                  </a:lnTo>
                  <a:lnTo>
                    <a:pt x="120" y="111"/>
                  </a:lnTo>
                  <a:lnTo>
                    <a:pt x="120" y="111"/>
                  </a:lnTo>
                  <a:lnTo>
                    <a:pt x="116" y="110"/>
                  </a:lnTo>
                  <a:lnTo>
                    <a:pt x="112" y="108"/>
                  </a:lnTo>
                  <a:lnTo>
                    <a:pt x="110" y="107"/>
                  </a:lnTo>
                  <a:lnTo>
                    <a:pt x="109" y="104"/>
                  </a:lnTo>
                  <a:lnTo>
                    <a:pt x="109" y="104"/>
                  </a:lnTo>
                  <a:lnTo>
                    <a:pt x="106" y="94"/>
                  </a:lnTo>
                  <a:lnTo>
                    <a:pt x="105" y="85"/>
                  </a:lnTo>
                  <a:lnTo>
                    <a:pt x="102" y="81"/>
                  </a:lnTo>
                  <a:lnTo>
                    <a:pt x="102" y="81"/>
                  </a:lnTo>
                  <a:lnTo>
                    <a:pt x="93" y="75"/>
                  </a:lnTo>
                  <a:lnTo>
                    <a:pt x="86" y="71"/>
                  </a:lnTo>
                  <a:lnTo>
                    <a:pt x="86" y="71"/>
                  </a:lnTo>
                  <a:lnTo>
                    <a:pt x="82" y="70"/>
                  </a:lnTo>
                  <a:lnTo>
                    <a:pt x="79" y="70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69" y="72"/>
                  </a:lnTo>
                  <a:lnTo>
                    <a:pt x="66" y="72"/>
                  </a:lnTo>
                  <a:lnTo>
                    <a:pt x="66" y="71"/>
                  </a:lnTo>
                  <a:lnTo>
                    <a:pt x="66" y="71"/>
                  </a:lnTo>
                  <a:lnTo>
                    <a:pt x="66" y="70"/>
                  </a:lnTo>
                  <a:lnTo>
                    <a:pt x="69" y="68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6" y="67"/>
                  </a:lnTo>
                  <a:lnTo>
                    <a:pt x="79" y="67"/>
                  </a:lnTo>
                  <a:lnTo>
                    <a:pt x="82" y="67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5" y="57"/>
                  </a:lnTo>
                  <a:lnTo>
                    <a:pt x="86" y="55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90" y="51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9" y="45"/>
                  </a:lnTo>
                  <a:lnTo>
                    <a:pt x="102" y="42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6" y="35"/>
                  </a:lnTo>
                  <a:lnTo>
                    <a:pt x="105" y="34"/>
                  </a:lnTo>
                  <a:lnTo>
                    <a:pt x="105" y="31"/>
                  </a:lnTo>
                  <a:lnTo>
                    <a:pt x="105" y="28"/>
                  </a:lnTo>
                  <a:lnTo>
                    <a:pt x="105" y="28"/>
                  </a:lnTo>
                  <a:lnTo>
                    <a:pt x="103" y="27"/>
                  </a:lnTo>
                  <a:lnTo>
                    <a:pt x="102" y="24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0" y="25"/>
                  </a:lnTo>
                  <a:lnTo>
                    <a:pt x="85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3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5" y="27"/>
                  </a:lnTo>
                  <a:lnTo>
                    <a:pt x="62" y="28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5" y="25"/>
                  </a:lnTo>
                  <a:lnTo>
                    <a:pt x="56" y="22"/>
                  </a:lnTo>
                  <a:lnTo>
                    <a:pt x="59" y="20"/>
                  </a:lnTo>
                  <a:lnTo>
                    <a:pt x="63" y="17"/>
                  </a:lnTo>
                  <a:lnTo>
                    <a:pt x="72" y="11"/>
                  </a:lnTo>
                  <a:lnTo>
                    <a:pt x="75" y="8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9" y="2"/>
                  </a:lnTo>
                  <a:lnTo>
                    <a:pt x="76" y="0"/>
                  </a:lnTo>
                  <a:lnTo>
                    <a:pt x="7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0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45" y="1"/>
                  </a:lnTo>
                  <a:lnTo>
                    <a:pt x="42" y="2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3" y="10"/>
                  </a:lnTo>
                  <a:lnTo>
                    <a:pt x="32" y="12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20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3" y="21"/>
                  </a:lnTo>
                  <a:lnTo>
                    <a:pt x="20" y="22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8" y="27"/>
                  </a:lnTo>
                  <a:lnTo>
                    <a:pt x="18" y="31"/>
                  </a:lnTo>
                  <a:lnTo>
                    <a:pt x="18" y="34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3" y="37"/>
                  </a:lnTo>
                  <a:lnTo>
                    <a:pt x="13" y="34"/>
                  </a:lnTo>
                  <a:lnTo>
                    <a:pt x="13" y="31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9" y="27"/>
                  </a:lnTo>
                  <a:lnTo>
                    <a:pt x="6" y="27"/>
                  </a:lnTo>
                  <a:lnTo>
                    <a:pt x="5" y="28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4"/>
                  </a:lnTo>
                  <a:lnTo>
                    <a:pt x="5" y="37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15" y="47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0" y="51"/>
                  </a:lnTo>
                  <a:lnTo>
                    <a:pt x="9" y="52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0" y="77"/>
                  </a:lnTo>
                  <a:lnTo>
                    <a:pt x="2" y="80"/>
                  </a:lnTo>
                  <a:lnTo>
                    <a:pt x="3" y="81"/>
                  </a:lnTo>
                  <a:lnTo>
                    <a:pt x="6" y="81"/>
                  </a:lnTo>
                  <a:lnTo>
                    <a:pt x="6" y="8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44" name="Freeform 135"/>
            <p:cNvSpPr>
              <a:spLocks/>
            </p:cNvSpPr>
            <p:nvPr/>
          </p:nvSpPr>
          <p:spPr bwMode="auto">
            <a:xfrm>
              <a:off x="3883025" y="2525713"/>
              <a:ext cx="17463" cy="34925"/>
            </a:xfrm>
            <a:custGeom>
              <a:avLst/>
              <a:gdLst>
                <a:gd name="T0" fmla="*/ 17 w 22"/>
                <a:gd name="T1" fmla="*/ 2 h 46"/>
                <a:gd name="T2" fmla="*/ 17 w 22"/>
                <a:gd name="T3" fmla="*/ 2 h 46"/>
                <a:gd name="T4" fmla="*/ 14 w 22"/>
                <a:gd name="T5" fmla="*/ 3 h 46"/>
                <a:gd name="T6" fmla="*/ 11 w 22"/>
                <a:gd name="T7" fmla="*/ 4 h 46"/>
                <a:gd name="T8" fmla="*/ 11 w 22"/>
                <a:gd name="T9" fmla="*/ 4 h 46"/>
                <a:gd name="T10" fmla="*/ 5 w 22"/>
                <a:gd name="T11" fmla="*/ 7 h 46"/>
                <a:gd name="T12" fmla="*/ 2 w 22"/>
                <a:gd name="T13" fmla="*/ 10 h 46"/>
                <a:gd name="T14" fmla="*/ 1 w 22"/>
                <a:gd name="T15" fmla="*/ 13 h 46"/>
                <a:gd name="T16" fmla="*/ 1 w 22"/>
                <a:gd name="T17" fmla="*/ 13 h 46"/>
                <a:gd name="T18" fmla="*/ 0 w 22"/>
                <a:gd name="T19" fmla="*/ 19 h 46"/>
                <a:gd name="T20" fmla="*/ 0 w 22"/>
                <a:gd name="T21" fmla="*/ 23 h 46"/>
                <a:gd name="T22" fmla="*/ 0 w 22"/>
                <a:gd name="T23" fmla="*/ 23 h 46"/>
                <a:gd name="T24" fmla="*/ 2 w 22"/>
                <a:gd name="T25" fmla="*/ 29 h 46"/>
                <a:gd name="T26" fmla="*/ 2 w 22"/>
                <a:gd name="T27" fmla="*/ 29 h 46"/>
                <a:gd name="T28" fmla="*/ 2 w 22"/>
                <a:gd name="T29" fmla="*/ 32 h 46"/>
                <a:gd name="T30" fmla="*/ 4 w 22"/>
                <a:gd name="T31" fmla="*/ 33 h 46"/>
                <a:gd name="T32" fmla="*/ 4 w 22"/>
                <a:gd name="T33" fmla="*/ 33 h 46"/>
                <a:gd name="T34" fmla="*/ 5 w 22"/>
                <a:gd name="T35" fmla="*/ 36 h 46"/>
                <a:gd name="T36" fmla="*/ 8 w 22"/>
                <a:gd name="T37" fmla="*/ 40 h 46"/>
                <a:gd name="T38" fmla="*/ 10 w 22"/>
                <a:gd name="T39" fmla="*/ 43 h 46"/>
                <a:gd name="T40" fmla="*/ 12 w 22"/>
                <a:gd name="T41" fmla="*/ 46 h 46"/>
                <a:gd name="T42" fmla="*/ 12 w 22"/>
                <a:gd name="T43" fmla="*/ 46 h 46"/>
                <a:gd name="T44" fmla="*/ 14 w 22"/>
                <a:gd name="T45" fmla="*/ 46 h 46"/>
                <a:gd name="T46" fmla="*/ 15 w 22"/>
                <a:gd name="T47" fmla="*/ 45 h 46"/>
                <a:gd name="T48" fmla="*/ 17 w 22"/>
                <a:gd name="T49" fmla="*/ 40 h 46"/>
                <a:gd name="T50" fmla="*/ 17 w 22"/>
                <a:gd name="T51" fmla="*/ 40 h 46"/>
                <a:gd name="T52" fmla="*/ 18 w 22"/>
                <a:gd name="T53" fmla="*/ 37 h 46"/>
                <a:gd name="T54" fmla="*/ 20 w 22"/>
                <a:gd name="T55" fmla="*/ 33 h 46"/>
                <a:gd name="T56" fmla="*/ 20 w 22"/>
                <a:gd name="T57" fmla="*/ 33 h 46"/>
                <a:gd name="T58" fmla="*/ 20 w 22"/>
                <a:gd name="T59" fmla="*/ 30 h 46"/>
                <a:gd name="T60" fmla="*/ 20 w 22"/>
                <a:gd name="T61" fmla="*/ 30 h 46"/>
                <a:gd name="T62" fmla="*/ 21 w 22"/>
                <a:gd name="T63" fmla="*/ 26 h 46"/>
                <a:gd name="T64" fmla="*/ 21 w 22"/>
                <a:gd name="T65" fmla="*/ 26 h 46"/>
                <a:gd name="T66" fmla="*/ 22 w 22"/>
                <a:gd name="T67" fmla="*/ 22 h 46"/>
                <a:gd name="T68" fmla="*/ 22 w 22"/>
                <a:gd name="T69" fmla="*/ 17 h 46"/>
                <a:gd name="T70" fmla="*/ 22 w 22"/>
                <a:gd name="T71" fmla="*/ 17 h 46"/>
                <a:gd name="T72" fmla="*/ 22 w 22"/>
                <a:gd name="T73" fmla="*/ 12 h 46"/>
                <a:gd name="T74" fmla="*/ 21 w 22"/>
                <a:gd name="T75" fmla="*/ 7 h 46"/>
                <a:gd name="T76" fmla="*/ 21 w 22"/>
                <a:gd name="T77" fmla="*/ 7 h 46"/>
                <a:gd name="T78" fmla="*/ 20 w 22"/>
                <a:gd name="T79" fmla="*/ 6 h 46"/>
                <a:gd name="T80" fmla="*/ 20 w 22"/>
                <a:gd name="T81" fmla="*/ 4 h 46"/>
                <a:gd name="T82" fmla="*/ 20 w 22"/>
                <a:gd name="T83" fmla="*/ 4 h 46"/>
                <a:gd name="T84" fmla="*/ 21 w 22"/>
                <a:gd name="T85" fmla="*/ 2 h 46"/>
                <a:gd name="T86" fmla="*/ 21 w 22"/>
                <a:gd name="T87" fmla="*/ 0 h 46"/>
                <a:gd name="T88" fmla="*/ 21 w 22"/>
                <a:gd name="T89" fmla="*/ 0 h 46"/>
                <a:gd name="T90" fmla="*/ 18 w 22"/>
                <a:gd name="T91" fmla="*/ 0 h 46"/>
                <a:gd name="T92" fmla="*/ 17 w 22"/>
                <a:gd name="T93" fmla="*/ 2 h 46"/>
                <a:gd name="T94" fmla="*/ 17 w 22"/>
                <a:gd name="T95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" h="46">
                  <a:moveTo>
                    <a:pt x="17" y="2"/>
                  </a:moveTo>
                  <a:lnTo>
                    <a:pt x="17" y="2"/>
                  </a:lnTo>
                  <a:lnTo>
                    <a:pt x="14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5" y="7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2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5" y="36"/>
                  </a:lnTo>
                  <a:lnTo>
                    <a:pt x="8" y="40"/>
                  </a:lnTo>
                  <a:lnTo>
                    <a:pt x="10" y="43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5" y="45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8" y="37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2" y="22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2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7" y="2"/>
                  </a:lnTo>
                  <a:lnTo>
                    <a:pt x="17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45" name="Freeform 136"/>
            <p:cNvSpPr>
              <a:spLocks/>
            </p:cNvSpPr>
            <p:nvPr/>
          </p:nvSpPr>
          <p:spPr bwMode="auto">
            <a:xfrm>
              <a:off x="3957638" y="2632075"/>
              <a:ext cx="58738" cy="36512"/>
            </a:xfrm>
            <a:custGeom>
              <a:avLst/>
              <a:gdLst>
                <a:gd name="T0" fmla="*/ 66 w 74"/>
                <a:gd name="T1" fmla="*/ 1 h 47"/>
                <a:gd name="T2" fmla="*/ 56 w 74"/>
                <a:gd name="T3" fmla="*/ 4 h 47"/>
                <a:gd name="T4" fmla="*/ 51 w 74"/>
                <a:gd name="T5" fmla="*/ 7 h 47"/>
                <a:gd name="T6" fmla="*/ 34 w 74"/>
                <a:gd name="T7" fmla="*/ 8 h 47"/>
                <a:gd name="T8" fmla="*/ 28 w 74"/>
                <a:gd name="T9" fmla="*/ 7 h 47"/>
                <a:gd name="T10" fmla="*/ 24 w 74"/>
                <a:gd name="T11" fmla="*/ 5 h 47"/>
                <a:gd name="T12" fmla="*/ 18 w 74"/>
                <a:gd name="T13" fmla="*/ 4 h 47"/>
                <a:gd name="T14" fmla="*/ 14 w 74"/>
                <a:gd name="T15" fmla="*/ 7 h 47"/>
                <a:gd name="T16" fmla="*/ 8 w 74"/>
                <a:gd name="T17" fmla="*/ 5 h 47"/>
                <a:gd name="T18" fmla="*/ 3 w 74"/>
                <a:gd name="T19" fmla="*/ 5 h 47"/>
                <a:gd name="T20" fmla="*/ 1 w 74"/>
                <a:gd name="T21" fmla="*/ 8 h 47"/>
                <a:gd name="T22" fmla="*/ 0 w 74"/>
                <a:gd name="T23" fmla="*/ 14 h 47"/>
                <a:gd name="T24" fmla="*/ 1 w 74"/>
                <a:gd name="T25" fmla="*/ 17 h 47"/>
                <a:gd name="T26" fmla="*/ 7 w 74"/>
                <a:gd name="T27" fmla="*/ 20 h 47"/>
                <a:gd name="T28" fmla="*/ 14 w 74"/>
                <a:gd name="T29" fmla="*/ 21 h 47"/>
                <a:gd name="T30" fmla="*/ 20 w 74"/>
                <a:gd name="T31" fmla="*/ 25 h 47"/>
                <a:gd name="T32" fmla="*/ 24 w 74"/>
                <a:gd name="T33" fmla="*/ 28 h 47"/>
                <a:gd name="T34" fmla="*/ 31 w 74"/>
                <a:gd name="T35" fmla="*/ 34 h 47"/>
                <a:gd name="T36" fmla="*/ 33 w 74"/>
                <a:gd name="T37" fmla="*/ 35 h 47"/>
                <a:gd name="T38" fmla="*/ 41 w 74"/>
                <a:gd name="T39" fmla="*/ 35 h 47"/>
                <a:gd name="T40" fmla="*/ 43 w 74"/>
                <a:gd name="T41" fmla="*/ 37 h 47"/>
                <a:gd name="T42" fmla="*/ 48 w 74"/>
                <a:gd name="T43" fmla="*/ 42 h 47"/>
                <a:gd name="T44" fmla="*/ 53 w 74"/>
                <a:gd name="T45" fmla="*/ 47 h 47"/>
                <a:gd name="T46" fmla="*/ 60 w 74"/>
                <a:gd name="T47" fmla="*/ 45 h 47"/>
                <a:gd name="T48" fmla="*/ 66 w 74"/>
                <a:gd name="T49" fmla="*/ 41 h 47"/>
                <a:gd name="T50" fmla="*/ 67 w 74"/>
                <a:gd name="T51" fmla="*/ 35 h 47"/>
                <a:gd name="T52" fmla="*/ 66 w 74"/>
                <a:gd name="T53" fmla="*/ 30 h 47"/>
                <a:gd name="T54" fmla="*/ 63 w 74"/>
                <a:gd name="T55" fmla="*/ 22 h 47"/>
                <a:gd name="T56" fmla="*/ 64 w 74"/>
                <a:gd name="T57" fmla="*/ 20 h 47"/>
                <a:gd name="T58" fmla="*/ 67 w 74"/>
                <a:gd name="T59" fmla="*/ 11 h 47"/>
                <a:gd name="T60" fmla="*/ 68 w 74"/>
                <a:gd name="T61" fmla="*/ 8 h 47"/>
                <a:gd name="T62" fmla="*/ 74 w 74"/>
                <a:gd name="T63" fmla="*/ 2 h 47"/>
                <a:gd name="T64" fmla="*/ 74 w 74"/>
                <a:gd name="T65" fmla="*/ 0 h 47"/>
                <a:gd name="T66" fmla="*/ 66 w 74"/>
                <a:gd name="T67" fmla="*/ 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4" h="47">
                  <a:moveTo>
                    <a:pt x="66" y="1"/>
                  </a:moveTo>
                  <a:lnTo>
                    <a:pt x="66" y="1"/>
                  </a:lnTo>
                  <a:lnTo>
                    <a:pt x="61" y="1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1" y="7"/>
                  </a:lnTo>
                  <a:lnTo>
                    <a:pt x="46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28" y="7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1" y="4"/>
                  </a:lnTo>
                  <a:lnTo>
                    <a:pt x="18" y="4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1" y="7"/>
                  </a:lnTo>
                  <a:lnTo>
                    <a:pt x="8" y="5"/>
                  </a:lnTo>
                  <a:lnTo>
                    <a:pt x="6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1" y="8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4" y="18"/>
                  </a:lnTo>
                  <a:lnTo>
                    <a:pt x="7" y="20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31"/>
                  </a:lnTo>
                  <a:lnTo>
                    <a:pt x="31" y="34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8" y="35"/>
                  </a:lnTo>
                  <a:lnTo>
                    <a:pt x="41" y="35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7" y="47"/>
                  </a:lnTo>
                  <a:lnTo>
                    <a:pt x="60" y="45"/>
                  </a:lnTo>
                  <a:lnTo>
                    <a:pt x="64" y="44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7" y="35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4" y="25"/>
                  </a:lnTo>
                  <a:lnTo>
                    <a:pt x="63" y="22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6" y="14"/>
                  </a:lnTo>
                  <a:lnTo>
                    <a:pt x="67" y="11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3" y="4"/>
                  </a:lnTo>
                  <a:lnTo>
                    <a:pt x="74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0" y="0"/>
                  </a:lnTo>
                  <a:lnTo>
                    <a:pt x="66" y="1"/>
                  </a:lnTo>
                  <a:lnTo>
                    <a:pt x="6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46" name="Freeform 137"/>
            <p:cNvSpPr>
              <a:spLocks/>
            </p:cNvSpPr>
            <p:nvPr/>
          </p:nvSpPr>
          <p:spPr bwMode="auto">
            <a:xfrm>
              <a:off x="3873500" y="2565400"/>
              <a:ext cx="30163" cy="52387"/>
            </a:xfrm>
            <a:custGeom>
              <a:avLst/>
              <a:gdLst>
                <a:gd name="T0" fmla="*/ 39 w 39"/>
                <a:gd name="T1" fmla="*/ 20 h 66"/>
                <a:gd name="T2" fmla="*/ 39 w 39"/>
                <a:gd name="T3" fmla="*/ 13 h 66"/>
                <a:gd name="T4" fmla="*/ 37 w 39"/>
                <a:gd name="T5" fmla="*/ 10 h 66"/>
                <a:gd name="T6" fmla="*/ 34 w 39"/>
                <a:gd name="T7" fmla="*/ 7 h 66"/>
                <a:gd name="T8" fmla="*/ 30 w 39"/>
                <a:gd name="T9" fmla="*/ 0 h 66"/>
                <a:gd name="T10" fmla="*/ 29 w 39"/>
                <a:gd name="T11" fmla="*/ 0 h 66"/>
                <a:gd name="T12" fmla="*/ 23 w 39"/>
                <a:gd name="T13" fmla="*/ 2 h 66"/>
                <a:gd name="T14" fmla="*/ 17 w 39"/>
                <a:gd name="T15" fmla="*/ 6 h 66"/>
                <a:gd name="T16" fmla="*/ 14 w 39"/>
                <a:gd name="T17" fmla="*/ 9 h 66"/>
                <a:gd name="T18" fmla="*/ 12 w 39"/>
                <a:gd name="T19" fmla="*/ 10 h 66"/>
                <a:gd name="T20" fmla="*/ 7 w 39"/>
                <a:gd name="T21" fmla="*/ 9 h 66"/>
                <a:gd name="T22" fmla="*/ 2 w 39"/>
                <a:gd name="T23" fmla="*/ 10 h 66"/>
                <a:gd name="T24" fmla="*/ 0 w 39"/>
                <a:gd name="T25" fmla="*/ 13 h 66"/>
                <a:gd name="T26" fmla="*/ 3 w 39"/>
                <a:gd name="T27" fmla="*/ 19 h 66"/>
                <a:gd name="T28" fmla="*/ 6 w 39"/>
                <a:gd name="T29" fmla="*/ 22 h 66"/>
                <a:gd name="T30" fmla="*/ 7 w 39"/>
                <a:gd name="T31" fmla="*/ 25 h 66"/>
                <a:gd name="T32" fmla="*/ 7 w 39"/>
                <a:gd name="T33" fmla="*/ 26 h 66"/>
                <a:gd name="T34" fmla="*/ 7 w 39"/>
                <a:gd name="T35" fmla="*/ 29 h 66"/>
                <a:gd name="T36" fmla="*/ 6 w 39"/>
                <a:gd name="T37" fmla="*/ 32 h 66"/>
                <a:gd name="T38" fmla="*/ 7 w 39"/>
                <a:gd name="T39" fmla="*/ 39 h 66"/>
                <a:gd name="T40" fmla="*/ 10 w 39"/>
                <a:gd name="T41" fmla="*/ 42 h 66"/>
                <a:gd name="T42" fmla="*/ 10 w 39"/>
                <a:gd name="T43" fmla="*/ 45 h 66"/>
                <a:gd name="T44" fmla="*/ 7 w 39"/>
                <a:gd name="T45" fmla="*/ 49 h 66"/>
                <a:gd name="T46" fmla="*/ 7 w 39"/>
                <a:gd name="T47" fmla="*/ 52 h 66"/>
                <a:gd name="T48" fmla="*/ 4 w 39"/>
                <a:gd name="T49" fmla="*/ 57 h 66"/>
                <a:gd name="T50" fmla="*/ 6 w 39"/>
                <a:gd name="T51" fmla="*/ 62 h 66"/>
                <a:gd name="T52" fmla="*/ 9 w 39"/>
                <a:gd name="T53" fmla="*/ 65 h 66"/>
                <a:gd name="T54" fmla="*/ 17 w 39"/>
                <a:gd name="T55" fmla="*/ 66 h 66"/>
                <a:gd name="T56" fmla="*/ 19 w 39"/>
                <a:gd name="T57" fmla="*/ 66 h 66"/>
                <a:gd name="T58" fmla="*/ 22 w 39"/>
                <a:gd name="T59" fmla="*/ 60 h 66"/>
                <a:gd name="T60" fmla="*/ 23 w 39"/>
                <a:gd name="T61" fmla="*/ 57 h 66"/>
                <a:gd name="T62" fmla="*/ 27 w 39"/>
                <a:gd name="T63" fmla="*/ 57 h 66"/>
                <a:gd name="T64" fmla="*/ 32 w 39"/>
                <a:gd name="T65" fmla="*/ 59 h 66"/>
                <a:gd name="T66" fmla="*/ 34 w 39"/>
                <a:gd name="T67" fmla="*/ 57 h 66"/>
                <a:gd name="T68" fmla="*/ 36 w 39"/>
                <a:gd name="T69" fmla="*/ 53 h 66"/>
                <a:gd name="T70" fmla="*/ 37 w 39"/>
                <a:gd name="T71" fmla="*/ 42 h 66"/>
                <a:gd name="T72" fmla="*/ 39 w 39"/>
                <a:gd name="T73" fmla="*/ 37 h 66"/>
                <a:gd name="T74" fmla="*/ 39 w 39"/>
                <a:gd name="T75" fmla="*/ 35 h 66"/>
                <a:gd name="T76" fmla="*/ 37 w 39"/>
                <a:gd name="T77" fmla="*/ 27 h 66"/>
                <a:gd name="T78" fmla="*/ 39 w 39"/>
                <a:gd name="T79" fmla="*/ 2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" h="66">
                  <a:moveTo>
                    <a:pt x="39" y="20"/>
                  </a:moveTo>
                  <a:lnTo>
                    <a:pt x="39" y="20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2"/>
                  </a:lnTo>
                  <a:lnTo>
                    <a:pt x="37" y="10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3" y="5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2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3" y="9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6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9" y="27"/>
                  </a:lnTo>
                  <a:lnTo>
                    <a:pt x="7" y="29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6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10" y="42"/>
                  </a:lnTo>
                  <a:lnTo>
                    <a:pt x="10" y="43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6" y="62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13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20" y="65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3" y="57"/>
                  </a:lnTo>
                  <a:lnTo>
                    <a:pt x="24" y="56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32" y="59"/>
                  </a:lnTo>
                  <a:lnTo>
                    <a:pt x="33" y="59"/>
                  </a:lnTo>
                  <a:lnTo>
                    <a:pt x="34" y="57"/>
                  </a:lnTo>
                  <a:lnTo>
                    <a:pt x="34" y="57"/>
                  </a:lnTo>
                  <a:lnTo>
                    <a:pt x="36" y="53"/>
                  </a:lnTo>
                  <a:lnTo>
                    <a:pt x="36" y="49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9" y="37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3"/>
                  </a:lnTo>
                  <a:lnTo>
                    <a:pt x="39" y="20"/>
                  </a:lnTo>
                  <a:lnTo>
                    <a:pt x="39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47" name="Freeform 138"/>
            <p:cNvSpPr>
              <a:spLocks/>
            </p:cNvSpPr>
            <p:nvPr/>
          </p:nvSpPr>
          <p:spPr bwMode="auto">
            <a:xfrm>
              <a:off x="4170363" y="2693988"/>
              <a:ext cx="55563" cy="17462"/>
            </a:xfrm>
            <a:custGeom>
              <a:avLst/>
              <a:gdLst>
                <a:gd name="T0" fmla="*/ 54 w 72"/>
                <a:gd name="T1" fmla="*/ 7 h 22"/>
                <a:gd name="T2" fmla="*/ 54 w 72"/>
                <a:gd name="T3" fmla="*/ 7 h 22"/>
                <a:gd name="T4" fmla="*/ 43 w 72"/>
                <a:gd name="T5" fmla="*/ 7 h 22"/>
                <a:gd name="T6" fmla="*/ 33 w 72"/>
                <a:gd name="T7" fmla="*/ 6 h 22"/>
                <a:gd name="T8" fmla="*/ 33 w 72"/>
                <a:gd name="T9" fmla="*/ 6 h 22"/>
                <a:gd name="T10" fmla="*/ 24 w 72"/>
                <a:gd name="T11" fmla="*/ 6 h 22"/>
                <a:gd name="T12" fmla="*/ 24 w 72"/>
                <a:gd name="T13" fmla="*/ 6 h 22"/>
                <a:gd name="T14" fmla="*/ 20 w 72"/>
                <a:gd name="T15" fmla="*/ 3 h 22"/>
                <a:gd name="T16" fmla="*/ 14 w 72"/>
                <a:gd name="T17" fmla="*/ 2 h 22"/>
                <a:gd name="T18" fmla="*/ 14 w 72"/>
                <a:gd name="T19" fmla="*/ 2 h 22"/>
                <a:gd name="T20" fmla="*/ 12 w 72"/>
                <a:gd name="T21" fmla="*/ 0 h 22"/>
                <a:gd name="T22" fmla="*/ 9 w 72"/>
                <a:gd name="T23" fmla="*/ 0 h 22"/>
                <a:gd name="T24" fmla="*/ 4 w 72"/>
                <a:gd name="T25" fmla="*/ 2 h 22"/>
                <a:gd name="T26" fmla="*/ 4 w 72"/>
                <a:gd name="T27" fmla="*/ 2 h 22"/>
                <a:gd name="T28" fmla="*/ 2 w 72"/>
                <a:gd name="T29" fmla="*/ 2 h 22"/>
                <a:gd name="T30" fmla="*/ 0 w 72"/>
                <a:gd name="T31" fmla="*/ 2 h 22"/>
                <a:gd name="T32" fmla="*/ 0 w 72"/>
                <a:gd name="T33" fmla="*/ 3 h 22"/>
                <a:gd name="T34" fmla="*/ 0 w 72"/>
                <a:gd name="T35" fmla="*/ 3 h 22"/>
                <a:gd name="T36" fmla="*/ 0 w 72"/>
                <a:gd name="T37" fmla="*/ 6 h 22"/>
                <a:gd name="T38" fmla="*/ 3 w 72"/>
                <a:gd name="T39" fmla="*/ 7 h 22"/>
                <a:gd name="T40" fmla="*/ 3 w 72"/>
                <a:gd name="T41" fmla="*/ 7 h 22"/>
                <a:gd name="T42" fmla="*/ 3 w 72"/>
                <a:gd name="T43" fmla="*/ 10 h 22"/>
                <a:gd name="T44" fmla="*/ 4 w 72"/>
                <a:gd name="T45" fmla="*/ 13 h 22"/>
                <a:gd name="T46" fmla="*/ 9 w 72"/>
                <a:gd name="T47" fmla="*/ 15 h 22"/>
                <a:gd name="T48" fmla="*/ 20 w 72"/>
                <a:gd name="T49" fmla="*/ 15 h 22"/>
                <a:gd name="T50" fmla="*/ 20 w 72"/>
                <a:gd name="T51" fmla="*/ 15 h 22"/>
                <a:gd name="T52" fmla="*/ 24 w 72"/>
                <a:gd name="T53" fmla="*/ 16 h 22"/>
                <a:gd name="T54" fmla="*/ 29 w 72"/>
                <a:gd name="T55" fmla="*/ 17 h 22"/>
                <a:gd name="T56" fmla="*/ 32 w 72"/>
                <a:gd name="T57" fmla="*/ 20 h 22"/>
                <a:gd name="T58" fmla="*/ 36 w 72"/>
                <a:gd name="T59" fmla="*/ 22 h 22"/>
                <a:gd name="T60" fmla="*/ 36 w 72"/>
                <a:gd name="T61" fmla="*/ 22 h 22"/>
                <a:gd name="T62" fmla="*/ 40 w 72"/>
                <a:gd name="T63" fmla="*/ 22 h 22"/>
                <a:gd name="T64" fmla="*/ 44 w 72"/>
                <a:gd name="T65" fmla="*/ 20 h 22"/>
                <a:gd name="T66" fmla="*/ 44 w 72"/>
                <a:gd name="T67" fmla="*/ 20 h 22"/>
                <a:gd name="T68" fmla="*/ 54 w 72"/>
                <a:gd name="T69" fmla="*/ 20 h 22"/>
                <a:gd name="T70" fmla="*/ 54 w 72"/>
                <a:gd name="T71" fmla="*/ 20 h 22"/>
                <a:gd name="T72" fmla="*/ 64 w 72"/>
                <a:gd name="T73" fmla="*/ 19 h 22"/>
                <a:gd name="T74" fmla="*/ 70 w 72"/>
                <a:gd name="T75" fmla="*/ 17 h 22"/>
                <a:gd name="T76" fmla="*/ 72 w 72"/>
                <a:gd name="T77" fmla="*/ 16 h 22"/>
                <a:gd name="T78" fmla="*/ 72 w 72"/>
                <a:gd name="T79" fmla="*/ 15 h 22"/>
                <a:gd name="T80" fmla="*/ 72 w 72"/>
                <a:gd name="T81" fmla="*/ 15 h 22"/>
                <a:gd name="T82" fmla="*/ 67 w 72"/>
                <a:gd name="T83" fmla="*/ 13 h 22"/>
                <a:gd name="T84" fmla="*/ 64 w 72"/>
                <a:gd name="T85" fmla="*/ 13 h 22"/>
                <a:gd name="T86" fmla="*/ 64 w 72"/>
                <a:gd name="T87" fmla="*/ 13 h 22"/>
                <a:gd name="T88" fmla="*/ 59 w 72"/>
                <a:gd name="T89" fmla="*/ 9 h 22"/>
                <a:gd name="T90" fmla="*/ 57 w 72"/>
                <a:gd name="T91" fmla="*/ 9 h 22"/>
                <a:gd name="T92" fmla="*/ 54 w 72"/>
                <a:gd name="T93" fmla="*/ 7 h 22"/>
                <a:gd name="T94" fmla="*/ 54 w 72"/>
                <a:gd name="T95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2" h="22">
                  <a:moveTo>
                    <a:pt x="54" y="7"/>
                  </a:moveTo>
                  <a:lnTo>
                    <a:pt x="54" y="7"/>
                  </a:lnTo>
                  <a:lnTo>
                    <a:pt x="43" y="7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0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9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10"/>
                  </a:lnTo>
                  <a:lnTo>
                    <a:pt x="4" y="13"/>
                  </a:lnTo>
                  <a:lnTo>
                    <a:pt x="9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4" y="16"/>
                  </a:lnTo>
                  <a:lnTo>
                    <a:pt x="29" y="17"/>
                  </a:lnTo>
                  <a:lnTo>
                    <a:pt x="32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40" y="22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64" y="19"/>
                  </a:lnTo>
                  <a:lnTo>
                    <a:pt x="70" y="17"/>
                  </a:lnTo>
                  <a:lnTo>
                    <a:pt x="72" y="16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67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59" y="9"/>
                  </a:lnTo>
                  <a:lnTo>
                    <a:pt x="57" y="9"/>
                  </a:lnTo>
                  <a:lnTo>
                    <a:pt x="54" y="7"/>
                  </a:lnTo>
                  <a:lnTo>
                    <a:pt x="54" y="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48" name="Freeform 139"/>
            <p:cNvSpPr>
              <a:spLocks/>
            </p:cNvSpPr>
            <p:nvPr/>
          </p:nvSpPr>
          <p:spPr bwMode="auto">
            <a:xfrm>
              <a:off x="4344988" y="2693988"/>
              <a:ext cx="34925" cy="23812"/>
            </a:xfrm>
            <a:custGeom>
              <a:avLst/>
              <a:gdLst>
                <a:gd name="T0" fmla="*/ 39 w 46"/>
                <a:gd name="T1" fmla="*/ 3 h 30"/>
                <a:gd name="T2" fmla="*/ 39 w 46"/>
                <a:gd name="T3" fmla="*/ 3 h 30"/>
                <a:gd name="T4" fmla="*/ 36 w 46"/>
                <a:gd name="T5" fmla="*/ 6 h 30"/>
                <a:gd name="T6" fmla="*/ 33 w 46"/>
                <a:gd name="T7" fmla="*/ 7 h 30"/>
                <a:gd name="T8" fmla="*/ 33 w 46"/>
                <a:gd name="T9" fmla="*/ 7 h 30"/>
                <a:gd name="T10" fmla="*/ 30 w 46"/>
                <a:gd name="T11" fmla="*/ 7 h 30"/>
                <a:gd name="T12" fmla="*/ 26 w 46"/>
                <a:gd name="T13" fmla="*/ 7 h 30"/>
                <a:gd name="T14" fmla="*/ 20 w 46"/>
                <a:gd name="T15" fmla="*/ 6 h 30"/>
                <a:gd name="T16" fmla="*/ 20 w 46"/>
                <a:gd name="T17" fmla="*/ 6 h 30"/>
                <a:gd name="T18" fmla="*/ 17 w 46"/>
                <a:gd name="T19" fmla="*/ 7 h 30"/>
                <a:gd name="T20" fmla="*/ 16 w 46"/>
                <a:gd name="T21" fmla="*/ 9 h 30"/>
                <a:gd name="T22" fmla="*/ 14 w 46"/>
                <a:gd name="T23" fmla="*/ 12 h 30"/>
                <a:gd name="T24" fmla="*/ 12 w 46"/>
                <a:gd name="T25" fmla="*/ 13 h 30"/>
                <a:gd name="T26" fmla="*/ 12 w 46"/>
                <a:gd name="T27" fmla="*/ 13 h 30"/>
                <a:gd name="T28" fmla="*/ 7 w 46"/>
                <a:gd name="T29" fmla="*/ 13 h 30"/>
                <a:gd name="T30" fmla="*/ 3 w 46"/>
                <a:gd name="T31" fmla="*/ 15 h 30"/>
                <a:gd name="T32" fmla="*/ 3 w 46"/>
                <a:gd name="T33" fmla="*/ 15 h 30"/>
                <a:gd name="T34" fmla="*/ 2 w 46"/>
                <a:gd name="T35" fmla="*/ 16 h 30"/>
                <a:gd name="T36" fmla="*/ 0 w 46"/>
                <a:gd name="T37" fmla="*/ 20 h 30"/>
                <a:gd name="T38" fmla="*/ 0 w 46"/>
                <a:gd name="T39" fmla="*/ 20 h 30"/>
                <a:gd name="T40" fmla="*/ 2 w 46"/>
                <a:gd name="T41" fmla="*/ 25 h 30"/>
                <a:gd name="T42" fmla="*/ 3 w 46"/>
                <a:gd name="T43" fmla="*/ 26 h 30"/>
                <a:gd name="T44" fmla="*/ 6 w 46"/>
                <a:gd name="T45" fmla="*/ 27 h 30"/>
                <a:gd name="T46" fmla="*/ 6 w 46"/>
                <a:gd name="T47" fmla="*/ 27 h 30"/>
                <a:gd name="T48" fmla="*/ 10 w 46"/>
                <a:gd name="T49" fmla="*/ 29 h 30"/>
                <a:gd name="T50" fmla="*/ 14 w 46"/>
                <a:gd name="T51" fmla="*/ 30 h 30"/>
                <a:gd name="T52" fmla="*/ 14 w 46"/>
                <a:gd name="T53" fmla="*/ 30 h 30"/>
                <a:gd name="T54" fmla="*/ 17 w 46"/>
                <a:gd name="T55" fmla="*/ 30 h 30"/>
                <a:gd name="T56" fmla="*/ 19 w 46"/>
                <a:gd name="T57" fmla="*/ 29 h 30"/>
                <a:gd name="T58" fmla="*/ 22 w 46"/>
                <a:gd name="T59" fmla="*/ 26 h 30"/>
                <a:gd name="T60" fmla="*/ 22 w 46"/>
                <a:gd name="T61" fmla="*/ 26 h 30"/>
                <a:gd name="T62" fmla="*/ 24 w 46"/>
                <a:gd name="T63" fmla="*/ 26 h 30"/>
                <a:gd name="T64" fmla="*/ 29 w 46"/>
                <a:gd name="T65" fmla="*/ 25 h 30"/>
                <a:gd name="T66" fmla="*/ 29 w 46"/>
                <a:gd name="T67" fmla="*/ 25 h 30"/>
                <a:gd name="T68" fmla="*/ 32 w 46"/>
                <a:gd name="T69" fmla="*/ 22 h 30"/>
                <a:gd name="T70" fmla="*/ 32 w 46"/>
                <a:gd name="T71" fmla="*/ 22 h 30"/>
                <a:gd name="T72" fmla="*/ 34 w 46"/>
                <a:gd name="T73" fmla="*/ 20 h 30"/>
                <a:gd name="T74" fmla="*/ 37 w 46"/>
                <a:gd name="T75" fmla="*/ 20 h 30"/>
                <a:gd name="T76" fmla="*/ 37 w 46"/>
                <a:gd name="T77" fmla="*/ 20 h 30"/>
                <a:gd name="T78" fmla="*/ 40 w 46"/>
                <a:gd name="T79" fmla="*/ 20 h 30"/>
                <a:gd name="T80" fmla="*/ 42 w 46"/>
                <a:gd name="T81" fmla="*/ 17 h 30"/>
                <a:gd name="T82" fmla="*/ 42 w 46"/>
                <a:gd name="T83" fmla="*/ 17 h 30"/>
                <a:gd name="T84" fmla="*/ 42 w 46"/>
                <a:gd name="T85" fmla="*/ 16 h 30"/>
                <a:gd name="T86" fmla="*/ 40 w 46"/>
                <a:gd name="T87" fmla="*/ 15 h 30"/>
                <a:gd name="T88" fmla="*/ 39 w 46"/>
                <a:gd name="T89" fmla="*/ 12 h 30"/>
                <a:gd name="T90" fmla="*/ 37 w 46"/>
                <a:gd name="T91" fmla="*/ 10 h 30"/>
                <a:gd name="T92" fmla="*/ 37 w 46"/>
                <a:gd name="T93" fmla="*/ 10 h 30"/>
                <a:gd name="T94" fmla="*/ 40 w 46"/>
                <a:gd name="T95" fmla="*/ 7 h 30"/>
                <a:gd name="T96" fmla="*/ 43 w 46"/>
                <a:gd name="T97" fmla="*/ 6 h 30"/>
                <a:gd name="T98" fmla="*/ 46 w 46"/>
                <a:gd name="T99" fmla="*/ 3 h 30"/>
                <a:gd name="T100" fmla="*/ 46 w 46"/>
                <a:gd name="T101" fmla="*/ 2 h 30"/>
                <a:gd name="T102" fmla="*/ 46 w 46"/>
                <a:gd name="T103" fmla="*/ 0 h 30"/>
                <a:gd name="T104" fmla="*/ 46 w 46"/>
                <a:gd name="T105" fmla="*/ 0 h 30"/>
                <a:gd name="T106" fmla="*/ 43 w 46"/>
                <a:gd name="T107" fmla="*/ 0 h 30"/>
                <a:gd name="T108" fmla="*/ 39 w 46"/>
                <a:gd name="T109" fmla="*/ 3 h 30"/>
                <a:gd name="T110" fmla="*/ 39 w 46"/>
                <a:gd name="T111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6" h="30">
                  <a:moveTo>
                    <a:pt x="39" y="3"/>
                  </a:moveTo>
                  <a:lnTo>
                    <a:pt x="39" y="3"/>
                  </a:lnTo>
                  <a:lnTo>
                    <a:pt x="36" y="6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0" y="7"/>
                  </a:lnTo>
                  <a:lnTo>
                    <a:pt x="26" y="7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7" y="7"/>
                  </a:lnTo>
                  <a:lnTo>
                    <a:pt x="16" y="9"/>
                  </a:lnTo>
                  <a:lnTo>
                    <a:pt x="14" y="12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7" y="13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6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5"/>
                  </a:lnTo>
                  <a:lnTo>
                    <a:pt x="3" y="26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7" y="30"/>
                  </a:lnTo>
                  <a:lnTo>
                    <a:pt x="19" y="29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4" y="26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4" y="20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40" y="20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6"/>
                  </a:lnTo>
                  <a:lnTo>
                    <a:pt x="40" y="15"/>
                  </a:lnTo>
                  <a:lnTo>
                    <a:pt x="39" y="12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40" y="7"/>
                  </a:lnTo>
                  <a:lnTo>
                    <a:pt x="43" y="6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3" y="0"/>
                  </a:lnTo>
                  <a:lnTo>
                    <a:pt x="39" y="3"/>
                  </a:lnTo>
                  <a:lnTo>
                    <a:pt x="39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49" name="Freeform 140"/>
            <p:cNvSpPr>
              <a:spLocks/>
            </p:cNvSpPr>
            <p:nvPr/>
          </p:nvSpPr>
          <p:spPr bwMode="auto">
            <a:xfrm>
              <a:off x="4354513" y="1738313"/>
              <a:ext cx="77788" cy="17462"/>
            </a:xfrm>
            <a:custGeom>
              <a:avLst/>
              <a:gdLst>
                <a:gd name="T0" fmla="*/ 16 w 97"/>
                <a:gd name="T1" fmla="*/ 17 h 22"/>
                <a:gd name="T2" fmla="*/ 16 w 97"/>
                <a:gd name="T3" fmla="*/ 17 h 22"/>
                <a:gd name="T4" fmla="*/ 21 w 97"/>
                <a:gd name="T5" fmla="*/ 16 h 22"/>
                <a:gd name="T6" fmla="*/ 26 w 97"/>
                <a:gd name="T7" fmla="*/ 16 h 22"/>
                <a:gd name="T8" fmla="*/ 26 w 97"/>
                <a:gd name="T9" fmla="*/ 16 h 22"/>
                <a:gd name="T10" fmla="*/ 30 w 97"/>
                <a:gd name="T11" fmla="*/ 19 h 22"/>
                <a:gd name="T12" fmla="*/ 34 w 97"/>
                <a:gd name="T13" fmla="*/ 20 h 22"/>
                <a:gd name="T14" fmla="*/ 34 w 97"/>
                <a:gd name="T15" fmla="*/ 20 h 22"/>
                <a:gd name="T16" fmla="*/ 41 w 97"/>
                <a:gd name="T17" fmla="*/ 22 h 22"/>
                <a:gd name="T18" fmla="*/ 49 w 97"/>
                <a:gd name="T19" fmla="*/ 22 h 22"/>
                <a:gd name="T20" fmla="*/ 49 w 97"/>
                <a:gd name="T21" fmla="*/ 22 h 22"/>
                <a:gd name="T22" fmla="*/ 56 w 97"/>
                <a:gd name="T23" fmla="*/ 22 h 22"/>
                <a:gd name="T24" fmla="*/ 64 w 97"/>
                <a:gd name="T25" fmla="*/ 22 h 22"/>
                <a:gd name="T26" fmla="*/ 64 w 97"/>
                <a:gd name="T27" fmla="*/ 22 h 22"/>
                <a:gd name="T28" fmla="*/ 70 w 97"/>
                <a:gd name="T29" fmla="*/ 19 h 22"/>
                <a:gd name="T30" fmla="*/ 76 w 97"/>
                <a:gd name="T31" fmla="*/ 17 h 22"/>
                <a:gd name="T32" fmla="*/ 76 w 97"/>
                <a:gd name="T33" fmla="*/ 17 h 22"/>
                <a:gd name="T34" fmla="*/ 89 w 97"/>
                <a:gd name="T35" fmla="*/ 16 h 22"/>
                <a:gd name="T36" fmla="*/ 94 w 97"/>
                <a:gd name="T37" fmla="*/ 15 h 22"/>
                <a:gd name="T38" fmla="*/ 96 w 97"/>
                <a:gd name="T39" fmla="*/ 13 h 22"/>
                <a:gd name="T40" fmla="*/ 97 w 97"/>
                <a:gd name="T41" fmla="*/ 10 h 22"/>
                <a:gd name="T42" fmla="*/ 97 w 97"/>
                <a:gd name="T43" fmla="*/ 10 h 22"/>
                <a:gd name="T44" fmla="*/ 90 w 97"/>
                <a:gd name="T45" fmla="*/ 10 h 22"/>
                <a:gd name="T46" fmla="*/ 87 w 97"/>
                <a:gd name="T47" fmla="*/ 9 h 22"/>
                <a:gd name="T48" fmla="*/ 86 w 97"/>
                <a:gd name="T49" fmla="*/ 6 h 22"/>
                <a:gd name="T50" fmla="*/ 86 w 97"/>
                <a:gd name="T51" fmla="*/ 6 h 22"/>
                <a:gd name="T52" fmla="*/ 81 w 97"/>
                <a:gd name="T53" fmla="*/ 2 h 22"/>
                <a:gd name="T54" fmla="*/ 79 w 97"/>
                <a:gd name="T55" fmla="*/ 0 h 22"/>
                <a:gd name="T56" fmla="*/ 74 w 97"/>
                <a:gd name="T57" fmla="*/ 2 h 22"/>
                <a:gd name="T58" fmla="*/ 74 w 97"/>
                <a:gd name="T59" fmla="*/ 2 h 22"/>
                <a:gd name="T60" fmla="*/ 70 w 97"/>
                <a:gd name="T61" fmla="*/ 5 h 22"/>
                <a:gd name="T62" fmla="*/ 64 w 97"/>
                <a:gd name="T63" fmla="*/ 9 h 22"/>
                <a:gd name="T64" fmla="*/ 64 w 97"/>
                <a:gd name="T65" fmla="*/ 9 h 22"/>
                <a:gd name="T66" fmla="*/ 61 w 97"/>
                <a:gd name="T67" fmla="*/ 10 h 22"/>
                <a:gd name="T68" fmla="*/ 59 w 97"/>
                <a:gd name="T69" fmla="*/ 10 h 22"/>
                <a:gd name="T70" fmla="*/ 53 w 97"/>
                <a:gd name="T71" fmla="*/ 9 h 22"/>
                <a:gd name="T72" fmla="*/ 53 w 97"/>
                <a:gd name="T73" fmla="*/ 9 h 22"/>
                <a:gd name="T74" fmla="*/ 47 w 97"/>
                <a:gd name="T75" fmla="*/ 7 h 22"/>
                <a:gd name="T76" fmla="*/ 40 w 97"/>
                <a:gd name="T77" fmla="*/ 7 h 22"/>
                <a:gd name="T78" fmla="*/ 27 w 97"/>
                <a:gd name="T79" fmla="*/ 7 h 22"/>
                <a:gd name="T80" fmla="*/ 27 w 97"/>
                <a:gd name="T81" fmla="*/ 7 h 22"/>
                <a:gd name="T82" fmla="*/ 20 w 97"/>
                <a:gd name="T83" fmla="*/ 9 h 22"/>
                <a:gd name="T84" fmla="*/ 14 w 97"/>
                <a:gd name="T85" fmla="*/ 10 h 22"/>
                <a:gd name="T86" fmla="*/ 14 w 97"/>
                <a:gd name="T87" fmla="*/ 10 h 22"/>
                <a:gd name="T88" fmla="*/ 7 w 97"/>
                <a:gd name="T89" fmla="*/ 10 h 22"/>
                <a:gd name="T90" fmla="*/ 1 w 97"/>
                <a:gd name="T91" fmla="*/ 9 h 22"/>
                <a:gd name="T92" fmla="*/ 1 w 97"/>
                <a:gd name="T93" fmla="*/ 9 h 22"/>
                <a:gd name="T94" fmla="*/ 0 w 97"/>
                <a:gd name="T95" fmla="*/ 10 h 22"/>
                <a:gd name="T96" fmla="*/ 1 w 97"/>
                <a:gd name="T97" fmla="*/ 12 h 22"/>
                <a:gd name="T98" fmla="*/ 1 w 97"/>
                <a:gd name="T99" fmla="*/ 12 h 22"/>
                <a:gd name="T100" fmla="*/ 4 w 97"/>
                <a:gd name="T101" fmla="*/ 15 h 22"/>
                <a:gd name="T102" fmla="*/ 7 w 97"/>
                <a:gd name="T103" fmla="*/ 16 h 22"/>
                <a:gd name="T104" fmla="*/ 16 w 97"/>
                <a:gd name="T105" fmla="*/ 17 h 22"/>
                <a:gd name="T106" fmla="*/ 16 w 97"/>
                <a:gd name="T107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7" h="22">
                  <a:moveTo>
                    <a:pt x="16" y="17"/>
                  </a:moveTo>
                  <a:lnTo>
                    <a:pt x="16" y="17"/>
                  </a:lnTo>
                  <a:lnTo>
                    <a:pt x="21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30" y="19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41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6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70" y="19"/>
                  </a:lnTo>
                  <a:lnTo>
                    <a:pt x="76" y="17"/>
                  </a:lnTo>
                  <a:lnTo>
                    <a:pt x="76" y="17"/>
                  </a:lnTo>
                  <a:lnTo>
                    <a:pt x="89" y="16"/>
                  </a:lnTo>
                  <a:lnTo>
                    <a:pt x="94" y="15"/>
                  </a:lnTo>
                  <a:lnTo>
                    <a:pt x="96" y="13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0" y="10"/>
                  </a:lnTo>
                  <a:lnTo>
                    <a:pt x="87" y="9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1" y="2"/>
                  </a:lnTo>
                  <a:lnTo>
                    <a:pt x="79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0" y="5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1" y="10"/>
                  </a:lnTo>
                  <a:lnTo>
                    <a:pt x="59" y="10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47" y="7"/>
                  </a:lnTo>
                  <a:lnTo>
                    <a:pt x="40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0" y="9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7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4" y="15"/>
                  </a:lnTo>
                  <a:lnTo>
                    <a:pt x="7" y="16"/>
                  </a:lnTo>
                  <a:lnTo>
                    <a:pt x="16" y="17"/>
                  </a:lnTo>
                  <a:lnTo>
                    <a:pt x="16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50" name="Freeform 141"/>
            <p:cNvSpPr>
              <a:spLocks/>
            </p:cNvSpPr>
            <p:nvPr/>
          </p:nvSpPr>
          <p:spPr bwMode="auto">
            <a:xfrm>
              <a:off x="4448175" y="1728788"/>
              <a:ext cx="115888" cy="26987"/>
            </a:xfrm>
            <a:custGeom>
              <a:avLst/>
              <a:gdLst>
                <a:gd name="T0" fmla="*/ 16 w 147"/>
                <a:gd name="T1" fmla="*/ 35 h 35"/>
                <a:gd name="T2" fmla="*/ 23 w 147"/>
                <a:gd name="T3" fmla="*/ 33 h 35"/>
                <a:gd name="T4" fmla="*/ 27 w 147"/>
                <a:gd name="T5" fmla="*/ 30 h 35"/>
                <a:gd name="T6" fmla="*/ 32 w 147"/>
                <a:gd name="T7" fmla="*/ 29 h 35"/>
                <a:gd name="T8" fmla="*/ 42 w 147"/>
                <a:gd name="T9" fmla="*/ 29 h 35"/>
                <a:gd name="T10" fmla="*/ 50 w 147"/>
                <a:gd name="T11" fmla="*/ 30 h 35"/>
                <a:gd name="T12" fmla="*/ 53 w 147"/>
                <a:gd name="T13" fmla="*/ 30 h 35"/>
                <a:gd name="T14" fmla="*/ 56 w 147"/>
                <a:gd name="T15" fmla="*/ 30 h 35"/>
                <a:gd name="T16" fmla="*/ 63 w 147"/>
                <a:gd name="T17" fmla="*/ 33 h 35"/>
                <a:gd name="T18" fmla="*/ 67 w 147"/>
                <a:gd name="T19" fmla="*/ 33 h 35"/>
                <a:gd name="T20" fmla="*/ 77 w 147"/>
                <a:gd name="T21" fmla="*/ 33 h 35"/>
                <a:gd name="T22" fmla="*/ 82 w 147"/>
                <a:gd name="T23" fmla="*/ 33 h 35"/>
                <a:gd name="T24" fmla="*/ 93 w 147"/>
                <a:gd name="T25" fmla="*/ 35 h 35"/>
                <a:gd name="T26" fmla="*/ 103 w 147"/>
                <a:gd name="T27" fmla="*/ 30 h 35"/>
                <a:gd name="T28" fmla="*/ 105 w 147"/>
                <a:gd name="T29" fmla="*/ 29 h 35"/>
                <a:gd name="T30" fmla="*/ 107 w 147"/>
                <a:gd name="T31" fmla="*/ 29 h 35"/>
                <a:gd name="T32" fmla="*/ 115 w 147"/>
                <a:gd name="T33" fmla="*/ 28 h 35"/>
                <a:gd name="T34" fmla="*/ 132 w 147"/>
                <a:gd name="T35" fmla="*/ 29 h 35"/>
                <a:gd name="T36" fmla="*/ 140 w 147"/>
                <a:gd name="T37" fmla="*/ 29 h 35"/>
                <a:gd name="T38" fmla="*/ 147 w 147"/>
                <a:gd name="T39" fmla="*/ 26 h 35"/>
                <a:gd name="T40" fmla="*/ 147 w 147"/>
                <a:gd name="T41" fmla="*/ 23 h 35"/>
                <a:gd name="T42" fmla="*/ 143 w 147"/>
                <a:gd name="T43" fmla="*/ 19 h 35"/>
                <a:gd name="T44" fmla="*/ 136 w 147"/>
                <a:gd name="T45" fmla="*/ 18 h 35"/>
                <a:gd name="T46" fmla="*/ 129 w 147"/>
                <a:gd name="T47" fmla="*/ 15 h 35"/>
                <a:gd name="T48" fmla="*/ 120 w 147"/>
                <a:gd name="T49" fmla="*/ 15 h 35"/>
                <a:gd name="T50" fmla="*/ 116 w 147"/>
                <a:gd name="T51" fmla="*/ 15 h 35"/>
                <a:gd name="T52" fmla="*/ 107 w 147"/>
                <a:gd name="T53" fmla="*/ 12 h 35"/>
                <a:gd name="T54" fmla="*/ 102 w 147"/>
                <a:gd name="T55" fmla="*/ 12 h 35"/>
                <a:gd name="T56" fmla="*/ 83 w 147"/>
                <a:gd name="T57" fmla="*/ 12 h 35"/>
                <a:gd name="T58" fmla="*/ 90 w 147"/>
                <a:gd name="T59" fmla="*/ 6 h 35"/>
                <a:gd name="T60" fmla="*/ 92 w 147"/>
                <a:gd name="T61" fmla="*/ 2 h 35"/>
                <a:gd name="T62" fmla="*/ 90 w 147"/>
                <a:gd name="T63" fmla="*/ 0 h 35"/>
                <a:gd name="T64" fmla="*/ 83 w 147"/>
                <a:gd name="T65" fmla="*/ 0 h 35"/>
                <a:gd name="T66" fmla="*/ 76 w 147"/>
                <a:gd name="T67" fmla="*/ 3 h 35"/>
                <a:gd name="T68" fmla="*/ 59 w 147"/>
                <a:gd name="T69" fmla="*/ 8 h 35"/>
                <a:gd name="T70" fmla="*/ 40 w 147"/>
                <a:gd name="T71" fmla="*/ 12 h 35"/>
                <a:gd name="T72" fmla="*/ 32 w 147"/>
                <a:gd name="T73" fmla="*/ 16 h 35"/>
                <a:gd name="T74" fmla="*/ 25 w 147"/>
                <a:gd name="T75" fmla="*/ 22 h 35"/>
                <a:gd name="T76" fmla="*/ 22 w 147"/>
                <a:gd name="T77" fmla="*/ 25 h 35"/>
                <a:gd name="T78" fmla="*/ 12 w 147"/>
                <a:gd name="T79" fmla="*/ 28 h 35"/>
                <a:gd name="T80" fmla="*/ 2 w 147"/>
                <a:gd name="T81" fmla="*/ 32 h 35"/>
                <a:gd name="T82" fmla="*/ 0 w 147"/>
                <a:gd name="T83" fmla="*/ 35 h 35"/>
                <a:gd name="T84" fmla="*/ 7 w 147"/>
                <a:gd name="T85" fmla="*/ 35 h 35"/>
                <a:gd name="T86" fmla="*/ 16 w 147"/>
                <a:gd name="T8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7" h="35">
                  <a:moveTo>
                    <a:pt x="16" y="35"/>
                  </a:moveTo>
                  <a:lnTo>
                    <a:pt x="16" y="35"/>
                  </a:lnTo>
                  <a:lnTo>
                    <a:pt x="20" y="35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7" y="30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7" y="28"/>
                  </a:lnTo>
                  <a:lnTo>
                    <a:pt x="42" y="29"/>
                  </a:lnTo>
                  <a:lnTo>
                    <a:pt x="46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3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60" y="32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7" y="33"/>
                  </a:lnTo>
                  <a:lnTo>
                    <a:pt x="72" y="33"/>
                  </a:lnTo>
                  <a:lnTo>
                    <a:pt x="77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7" y="35"/>
                  </a:lnTo>
                  <a:lnTo>
                    <a:pt x="93" y="35"/>
                  </a:lnTo>
                  <a:lnTo>
                    <a:pt x="97" y="33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5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25" y="29"/>
                  </a:lnTo>
                  <a:lnTo>
                    <a:pt x="132" y="29"/>
                  </a:lnTo>
                  <a:lnTo>
                    <a:pt x="132" y="29"/>
                  </a:lnTo>
                  <a:lnTo>
                    <a:pt x="140" y="29"/>
                  </a:lnTo>
                  <a:lnTo>
                    <a:pt x="140" y="29"/>
                  </a:lnTo>
                  <a:lnTo>
                    <a:pt x="147" y="26"/>
                  </a:lnTo>
                  <a:lnTo>
                    <a:pt x="147" y="26"/>
                  </a:lnTo>
                  <a:lnTo>
                    <a:pt x="147" y="23"/>
                  </a:lnTo>
                  <a:lnTo>
                    <a:pt x="147" y="22"/>
                  </a:lnTo>
                  <a:lnTo>
                    <a:pt x="143" y="19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29" y="15"/>
                  </a:lnTo>
                  <a:lnTo>
                    <a:pt x="129" y="15"/>
                  </a:lnTo>
                  <a:lnTo>
                    <a:pt x="125" y="15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16" y="15"/>
                  </a:lnTo>
                  <a:lnTo>
                    <a:pt x="112" y="13"/>
                  </a:lnTo>
                  <a:lnTo>
                    <a:pt x="107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6" y="9"/>
                  </a:lnTo>
                  <a:lnTo>
                    <a:pt x="90" y="6"/>
                  </a:lnTo>
                  <a:lnTo>
                    <a:pt x="93" y="3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0" y="10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2" y="16"/>
                  </a:lnTo>
                  <a:lnTo>
                    <a:pt x="27" y="18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2" y="25"/>
                  </a:lnTo>
                  <a:lnTo>
                    <a:pt x="19" y="26"/>
                  </a:lnTo>
                  <a:lnTo>
                    <a:pt x="12" y="28"/>
                  </a:lnTo>
                  <a:lnTo>
                    <a:pt x="5" y="30"/>
                  </a:lnTo>
                  <a:lnTo>
                    <a:pt x="2" y="32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3" y="35"/>
                  </a:lnTo>
                  <a:lnTo>
                    <a:pt x="7" y="35"/>
                  </a:lnTo>
                  <a:lnTo>
                    <a:pt x="16" y="35"/>
                  </a:lnTo>
                  <a:lnTo>
                    <a:pt x="16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51" name="Freeform 142"/>
            <p:cNvSpPr>
              <a:spLocks noEditPoints="1"/>
            </p:cNvSpPr>
            <p:nvPr/>
          </p:nvSpPr>
          <p:spPr bwMode="auto">
            <a:xfrm>
              <a:off x="4506913" y="1808163"/>
              <a:ext cx="198438" cy="119062"/>
            </a:xfrm>
            <a:custGeom>
              <a:avLst/>
              <a:gdLst>
                <a:gd name="T0" fmla="*/ 56 w 249"/>
                <a:gd name="T1" fmla="*/ 37 h 149"/>
                <a:gd name="T2" fmla="*/ 49 w 249"/>
                <a:gd name="T3" fmla="*/ 40 h 149"/>
                <a:gd name="T4" fmla="*/ 54 w 249"/>
                <a:gd name="T5" fmla="*/ 44 h 149"/>
                <a:gd name="T6" fmla="*/ 57 w 249"/>
                <a:gd name="T7" fmla="*/ 51 h 149"/>
                <a:gd name="T8" fmla="*/ 51 w 249"/>
                <a:gd name="T9" fmla="*/ 59 h 149"/>
                <a:gd name="T10" fmla="*/ 49 w 249"/>
                <a:gd name="T11" fmla="*/ 64 h 149"/>
                <a:gd name="T12" fmla="*/ 40 w 249"/>
                <a:gd name="T13" fmla="*/ 64 h 149"/>
                <a:gd name="T14" fmla="*/ 31 w 249"/>
                <a:gd name="T15" fmla="*/ 70 h 149"/>
                <a:gd name="T16" fmla="*/ 26 w 249"/>
                <a:gd name="T17" fmla="*/ 73 h 149"/>
                <a:gd name="T18" fmla="*/ 40 w 249"/>
                <a:gd name="T19" fmla="*/ 79 h 149"/>
                <a:gd name="T20" fmla="*/ 31 w 249"/>
                <a:gd name="T21" fmla="*/ 81 h 149"/>
                <a:gd name="T22" fmla="*/ 23 w 249"/>
                <a:gd name="T23" fmla="*/ 87 h 149"/>
                <a:gd name="T24" fmla="*/ 21 w 249"/>
                <a:gd name="T25" fmla="*/ 93 h 149"/>
                <a:gd name="T26" fmla="*/ 11 w 249"/>
                <a:gd name="T27" fmla="*/ 94 h 149"/>
                <a:gd name="T28" fmla="*/ 19 w 249"/>
                <a:gd name="T29" fmla="*/ 104 h 149"/>
                <a:gd name="T30" fmla="*/ 7 w 249"/>
                <a:gd name="T31" fmla="*/ 110 h 149"/>
                <a:gd name="T32" fmla="*/ 0 w 249"/>
                <a:gd name="T33" fmla="*/ 114 h 149"/>
                <a:gd name="T34" fmla="*/ 7 w 249"/>
                <a:gd name="T35" fmla="*/ 126 h 149"/>
                <a:gd name="T36" fmla="*/ 33 w 249"/>
                <a:gd name="T37" fmla="*/ 126 h 149"/>
                <a:gd name="T38" fmla="*/ 46 w 249"/>
                <a:gd name="T39" fmla="*/ 130 h 149"/>
                <a:gd name="T40" fmla="*/ 50 w 249"/>
                <a:gd name="T41" fmla="*/ 142 h 149"/>
                <a:gd name="T42" fmla="*/ 86 w 249"/>
                <a:gd name="T43" fmla="*/ 149 h 149"/>
                <a:gd name="T44" fmla="*/ 117 w 249"/>
                <a:gd name="T45" fmla="*/ 149 h 149"/>
                <a:gd name="T46" fmla="*/ 119 w 249"/>
                <a:gd name="T47" fmla="*/ 143 h 149"/>
                <a:gd name="T48" fmla="*/ 97 w 249"/>
                <a:gd name="T49" fmla="*/ 136 h 149"/>
                <a:gd name="T50" fmla="*/ 81 w 249"/>
                <a:gd name="T51" fmla="*/ 124 h 149"/>
                <a:gd name="T52" fmla="*/ 69 w 249"/>
                <a:gd name="T53" fmla="*/ 106 h 149"/>
                <a:gd name="T54" fmla="*/ 73 w 249"/>
                <a:gd name="T55" fmla="*/ 93 h 149"/>
                <a:gd name="T56" fmla="*/ 74 w 249"/>
                <a:gd name="T57" fmla="*/ 86 h 149"/>
                <a:gd name="T58" fmla="*/ 84 w 249"/>
                <a:gd name="T59" fmla="*/ 84 h 149"/>
                <a:gd name="T60" fmla="*/ 84 w 249"/>
                <a:gd name="T61" fmla="*/ 80 h 149"/>
                <a:gd name="T62" fmla="*/ 84 w 249"/>
                <a:gd name="T63" fmla="*/ 74 h 149"/>
                <a:gd name="T64" fmla="*/ 97 w 249"/>
                <a:gd name="T65" fmla="*/ 69 h 149"/>
                <a:gd name="T66" fmla="*/ 101 w 249"/>
                <a:gd name="T67" fmla="*/ 63 h 149"/>
                <a:gd name="T68" fmla="*/ 104 w 249"/>
                <a:gd name="T69" fmla="*/ 56 h 149"/>
                <a:gd name="T70" fmla="*/ 119 w 249"/>
                <a:gd name="T71" fmla="*/ 51 h 149"/>
                <a:gd name="T72" fmla="*/ 130 w 249"/>
                <a:gd name="T73" fmla="*/ 43 h 149"/>
                <a:gd name="T74" fmla="*/ 147 w 249"/>
                <a:gd name="T75" fmla="*/ 36 h 149"/>
                <a:gd name="T76" fmla="*/ 163 w 249"/>
                <a:gd name="T77" fmla="*/ 30 h 149"/>
                <a:gd name="T78" fmla="*/ 196 w 249"/>
                <a:gd name="T79" fmla="*/ 24 h 149"/>
                <a:gd name="T80" fmla="*/ 211 w 249"/>
                <a:gd name="T81" fmla="*/ 23 h 149"/>
                <a:gd name="T82" fmla="*/ 241 w 249"/>
                <a:gd name="T83" fmla="*/ 14 h 149"/>
                <a:gd name="T84" fmla="*/ 247 w 249"/>
                <a:gd name="T85" fmla="*/ 6 h 149"/>
                <a:gd name="T86" fmla="*/ 231 w 249"/>
                <a:gd name="T87" fmla="*/ 0 h 149"/>
                <a:gd name="T88" fmla="*/ 211 w 249"/>
                <a:gd name="T89" fmla="*/ 1 h 149"/>
                <a:gd name="T90" fmla="*/ 199 w 249"/>
                <a:gd name="T91" fmla="*/ 9 h 149"/>
                <a:gd name="T92" fmla="*/ 164 w 249"/>
                <a:gd name="T93" fmla="*/ 16 h 149"/>
                <a:gd name="T94" fmla="*/ 129 w 249"/>
                <a:gd name="T95" fmla="*/ 16 h 149"/>
                <a:gd name="T96" fmla="*/ 114 w 249"/>
                <a:gd name="T97" fmla="*/ 20 h 149"/>
                <a:gd name="T98" fmla="*/ 104 w 249"/>
                <a:gd name="T99" fmla="*/ 20 h 149"/>
                <a:gd name="T100" fmla="*/ 91 w 249"/>
                <a:gd name="T101" fmla="*/ 26 h 149"/>
                <a:gd name="T102" fmla="*/ 84 w 249"/>
                <a:gd name="T103" fmla="*/ 26 h 149"/>
                <a:gd name="T104" fmla="*/ 71 w 249"/>
                <a:gd name="T105" fmla="*/ 36 h 149"/>
                <a:gd name="T106" fmla="*/ 64 w 249"/>
                <a:gd name="T107" fmla="*/ 36 h 149"/>
                <a:gd name="T108" fmla="*/ 66 w 249"/>
                <a:gd name="T109" fmla="*/ 8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9" h="149">
                  <a:moveTo>
                    <a:pt x="64" y="36"/>
                  </a:moveTo>
                  <a:lnTo>
                    <a:pt x="64" y="36"/>
                  </a:lnTo>
                  <a:lnTo>
                    <a:pt x="60" y="36"/>
                  </a:lnTo>
                  <a:lnTo>
                    <a:pt x="56" y="37"/>
                  </a:lnTo>
                  <a:lnTo>
                    <a:pt x="56" y="37"/>
                  </a:lnTo>
                  <a:lnTo>
                    <a:pt x="51" y="39"/>
                  </a:lnTo>
                  <a:lnTo>
                    <a:pt x="50" y="39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50" y="43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9" y="47"/>
                  </a:lnTo>
                  <a:lnTo>
                    <a:pt x="59" y="49"/>
                  </a:lnTo>
                  <a:lnTo>
                    <a:pt x="57" y="51"/>
                  </a:lnTo>
                  <a:lnTo>
                    <a:pt x="57" y="51"/>
                  </a:lnTo>
                  <a:lnTo>
                    <a:pt x="53" y="54"/>
                  </a:lnTo>
                  <a:lnTo>
                    <a:pt x="53" y="56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3" y="63"/>
                  </a:lnTo>
                  <a:lnTo>
                    <a:pt x="51" y="63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6" y="64"/>
                  </a:lnTo>
                  <a:lnTo>
                    <a:pt x="43" y="64"/>
                  </a:lnTo>
                  <a:lnTo>
                    <a:pt x="40" y="64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6" y="69"/>
                  </a:lnTo>
                  <a:lnTo>
                    <a:pt x="31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1"/>
                  </a:lnTo>
                  <a:lnTo>
                    <a:pt x="26" y="73"/>
                  </a:lnTo>
                  <a:lnTo>
                    <a:pt x="30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0" y="79"/>
                  </a:lnTo>
                  <a:lnTo>
                    <a:pt x="36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31" y="81"/>
                  </a:lnTo>
                  <a:lnTo>
                    <a:pt x="27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7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1" y="93"/>
                  </a:lnTo>
                  <a:lnTo>
                    <a:pt x="21" y="93"/>
                  </a:lnTo>
                  <a:lnTo>
                    <a:pt x="20" y="94"/>
                  </a:lnTo>
                  <a:lnTo>
                    <a:pt x="17" y="94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13" y="97"/>
                  </a:lnTo>
                  <a:lnTo>
                    <a:pt x="14" y="99"/>
                  </a:lnTo>
                  <a:lnTo>
                    <a:pt x="17" y="101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7" y="109"/>
                  </a:lnTo>
                  <a:lnTo>
                    <a:pt x="14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3" y="110"/>
                  </a:lnTo>
                  <a:lnTo>
                    <a:pt x="1" y="113"/>
                  </a:lnTo>
                  <a:lnTo>
                    <a:pt x="0" y="114"/>
                  </a:lnTo>
                  <a:lnTo>
                    <a:pt x="0" y="117"/>
                  </a:lnTo>
                  <a:lnTo>
                    <a:pt x="1" y="122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13" y="127"/>
                  </a:lnTo>
                  <a:lnTo>
                    <a:pt x="20" y="127"/>
                  </a:lnTo>
                  <a:lnTo>
                    <a:pt x="26" y="126"/>
                  </a:lnTo>
                  <a:lnTo>
                    <a:pt x="33" y="126"/>
                  </a:lnTo>
                  <a:lnTo>
                    <a:pt x="33" y="126"/>
                  </a:lnTo>
                  <a:lnTo>
                    <a:pt x="40" y="127"/>
                  </a:lnTo>
                  <a:lnTo>
                    <a:pt x="46" y="130"/>
                  </a:lnTo>
                  <a:lnTo>
                    <a:pt x="46" y="130"/>
                  </a:lnTo>
                  <a:lnTo>
                    <a:pt x="49" y="133"/>
                  </a:lnTo>
                  <a:lnTo>
                    <a:pt x="50" y="134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61" y="144"/>
                  </a:lnTo>
                  <a:lnTo>
                    <a:pt x="73" y="149"/>
                  </a:lnTo>
                  <a:lnTo>
                    <a:pt x="73" y="149"/>
                  </a:lnTo>
                  <a:lnTo>
                    <a:pt x="86" y="149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117" y="149"/>
                  </a:lnTo>
                  <a:lnTo>
                    <a:pt x="117" y="149"/>
                  </a:lnTo>
                  <a:lnTo>
                    <a:pt x="121" y="149"/>
                  </a:lnTo>
                  <a:lnTo>
                    <a:pt x="121" y="147"/>
                  </a:lnTo>
                  <a:lnTo>
                    <a:pt x="121" y="146"/>
                  </a:lnTo>
                  <a:lnTo>
                    <a:pt x="119" y="143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06" y="139"/>
                  </a:lnTo>
                  <a:lnTo>
                    <a:pt x="97" y="136"/>
                  </a:lnTo>
                  <a:lnTo>
                    <a:pt x="97" y="136"/>
                  </a:lnTo>
                  <a:lnTo>
                    <a:pt x="89" y="132"/>
                  </a:lnTo>
                  <a:lnTo>
                    <a:pt x="81" y="124"/>
                  </a:lnTo>
                  <a:lnTo>
                    <a:pt x="81" y="124"/>
                  </a:lnTo>
                  <a:lnTo>
                    <a:pt x="76" y="117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69" y="106"/>
                  </a:lnTo>
                  <a:lnTo>
                    <a:pt x="69" y="101"/>
                  </a:lnTo>
                  <a:lnTo>
                    <a:pt x="70" y="97"/>
                  </a:lnTo>
                  <a:lnTo>
                    <a:pt x="73" y="93"/>
                  </a:lnTo>
                  <a:lnTo>
                    <a:pt x="73" y="93"/>
                  </a:lnTo>
                  <a:lnTo>
                    <a:pt x="74" y="89"/>
                  </a:lnTo>
                  <a:lnTo>
                    <a:pt x="74" y="87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80" y="87"/>
                  </a:lnTo>
                  <a:lnTo>
                    <a:pt x="83" y="86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6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0"/>
                  </a:lnTo>
                  <a:lnTo>
                    <a:pt x="87" y="69"/>
                  </a:lnTo>
                  <a:lnTo>
                    <a:pt x="97" y="69"/>
                  </a:lnTo>
                  <a:lnTo>
                    <a:pt x="97" y="69"/>
                  </a:lnTo>
                  <a:lnTo>
                    <a:pt x="97" y="66"/>
                  </a:lnTo>
                  <a:lnTo>
                    <a:pt x="99" y="66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3" y="60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7" y="53"/>
                  </a:lnTo>
                  <a:lnTo>
                    <a:pt x="110" y="53"/>
                  </a:lnTo>
                  <a:lnTo>
                    <a:pt x="114" y="53"/>
                  </a:lnTo>
                  <a:lnTo>
                    <a:pt x="119" y="51"/>
                  </a:lnTo>
                  <a:lnTo>
                    <a:pt x="119" y="51"/>
                  </a:lnTo>
                  <a:lnTo>
                    <a:pt x="121" y="50"/>
                  </a:lnTo>
                  <a:lnTo>
                    <a:pt x="124" y="49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7" y="39"/>
                  </a:lnTo>
                  <a:lnTo>
                    <a:pt x="141" y="37"/>
                  </a:lnTo>
                  <a:lnTo>
                    <a:pt x="147" y="36"/>
                  </a:lnTo>
                  <a:lnTo>
                    <a:pt x="147" y="36"/>
                  </a:lnTo>
                  <a:lnTo>
                    <a:pt x="154" y="33"/>
                  </a:lnTo>
                  <a:lnTo>
                    <a:pt x="163" y="30"/>
                  </a:lnTo>
                  <a:lnTo>
                    <a:pt x="163" y="30"/>
                  </a:lnTo>
                  <a:lnTo>
                    <a:pt x="181" y="29"/>
                  </a:lnTo>
                  <a:lnTo>
                    <a:pt x="181" y="29"/>
                  </a:lnTo>
                  <a:lnTo>
                    <a:pt x="189" y="26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203" y="24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29" y="19"/>
                  </a:lnTo>
                  <a:lnTo>
                    <a:pt x="229" y="19"/>
                  </a:lnTo>
                  <a:lnTo>
                    <a:pt x="234" y="17"/>
                  </a:lnTo>
                  <a:lnTo>
                    <a:pt x="241" y="14"/>
                  </a:lnTo>
                  <a:lnTo>
                    <a:pt x="241" y="14"/>
                  </a:lnTo>
                  <a:lnTo>
                    <a:pt x="247" y="11"/>
                  </a:lnTo>
                  <a:lnTo>
                    <a:pt x="249" y="9"/>
                  </a:lnTo>
                  <a:lnTo>
                    <a:pt x="247" y="6"/>
                  </a:lnTo>
                  <a:lnTo>
                    <a:pt x="247" y="6"/>
                  </a:lnTo>
                  <a:lnTo>
                    <a:pt x="244" y="3"/>
                  </a:lnTo>
                  <a:lnTo>
                    <a:pt x="240" y="1"/>
                  </a:lnTo>
                  <a:lnTo>
                    <a:pt x="231" y="0"/>
                  </a:lnTo>
                  <a:lnTo>
                    <a:pt x="231" y="0"/>
                  </a:lnTo>
                  <a:lnTo>
                    <a:pt x="221" y="0"/>
                  </a:lnTo>
                  <a:lnTo>
                    <a:pt x="216" y="0"/>
                  </a:lnTo>
                  <a:lnTo>
                    <a:pt x="211" y="1"/>
                  </a:lnTo>
                  <a:lnTo>
                    <a:pt x="211" y="1"/>
                  </a:lnTo>
                  <a:lnTo>
                    <a:pt x="204" y="4"/>
                  </a:lnTo>
                  <a:lnTo>
                    <a:pt x="199" y="9"/>
                  </a:lnTo>
                  <a:lnTo>
                    <a:pt x="199" y="9"/>
                  </a:lnTo>
                  <a:lnTo>
                    <a:pt x="190" y="13"/>
                  </a:lnTo>
                  <a:lnTo>
                    <a:pt x="181" y="14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54" y="17"/>
                  </a:lnTo>
                  <a:lnTo>
                    <a:pt x="146" y="17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4" y="16"/>
                  </a:lnTo>
                  <a:lnTo>
                    <a:pt x="121" y="17"/>
                  </a:lnTo>
                  <a:lnTo>
                    <a:pt x="119" y="19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0" y="20"/>
                  </a:lnTo>
                  <a:lnTo>
                    <a:pt x="107" y="20"/>
                  </a:lnTo>
                  <a:lnTo>
                    <a:pt x="104" y="20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96" y="24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87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1" y="27"/>
                  </a:lnTo>
                  <a:lnTo>
                    <a:pt x="79" y="30"/>
                  </a:lnTo>
                  <a:lnTo>
                    <a:pt x="76" y="33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69" y="36"/>
                  </a:lnTo>
                  <a:lnTo>
                    <a:pt x="64" y="36"/>
                  </a:lnTo>
                  <a:lnTo>
                    <a:pt x="64" y="36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6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52" name="Freeform 143"/>
            <p:cNvSpPr>
              <a:spLocks/>
            </p:cNvSpPr>
            <p:nvPr/>
          </p:nvSpPr>
          <p:spPr bwMode="auto">
            <a:xfrm>
              <a:off x="4953000" y="1739900"/>
              <a:ext cx="123825" cy="39687"/>
            </a:xfrm>
            <a:custGeom>
              <a:avLst/>
              <a:gdLst>
                <a:gd name="T0" fmla="*/ 7 w 155"/>
                <a:gd name="T1" fmla="*/ 14 h 50"/>
                <a:gd name="T2" fmla="*/ 8 w 155"/>
                <a:gd name="T3" fmla="*/ 18 h 50"/>
                <a:gd name="T4" fmla="*/ 14 w 155"/>
                <a:gd name="T5" fmla="*/ 20 h 50"/>
                <a:gd name="T6" fmla="*/ 17 w 155"/>
                <a:gd name="T7" fmla="*/ 21 h 50"/>
                <a:gd name="T8" fmla="*/ 20 w 155"/>
                <a:gd name="T9" fmla="*/ 23 h 50"/>
                <a:gd name="T10" fmla="*/ 22 w 155"/>
                <a:gd name="T11" fmla="*/ 28 h 50"/>
                <a:gd name="T12" fmla="*/ 24 w 155"/>
                <a:gd name="T13" fmla="*/ 30 h 50"/>
                <a:gd name="T14" fmla="*/ 27 w 155"/>
                <a:gd name="T15" fmla="*/ 31 h 50"/>
                <a:gd name="T16" fmla="*/ 28 w 155"/>
                <a:gd name="T17" fmla="*/ 37 h 50"/>
                <a:gd name="T18" fmla="*/ 31 w 155"/>
                <a:gd name="T19" fmla="*/ 38 h 50"/>
                <a:gd name="T20" fmla="*/ 35 w 155"/>
                <a:gd name="T21" fmla="*/ 38 h 50"/>
                <a:gd name="T22" fmla="*/ 37 w 155"/>
                <a:gd name="T23" fmla="*/ 37 h 50"/>
                <a:gd name="T24" fmla="*/ 45 w 155"/>
                <a:gd name="T25" fmla="*/ 33 h 50"/>
                <a:gd name="T26" fmla="*/ 51 w 155"/>
                <a:gd name="T27" fmla="*/ 33 h 50"/>
                <a:gd name="T28" fmla="*/ 55 w 155"/>
                <a:gd name="T29" fmla="*/ 35 h 50"/>
                <a:gd name="T30" fmla="*/ 71 w 155"/>
                <a:gd name="T31" fmla="*/ 41 h 50"/>
                <a:gd name="T32" fmla="*/ 80 w 155"/>
                <a:gd name="T33" fmla="*/ 43 h 50"/>
                <a:gd name="T34" fmla="*/ 90 w 155"/>
                <a:gd name="T35" fmla="*/ 46 h 50"/>
                <a:gd name="T36" fmla="*/ 105 w 155"/>
                <a:gd name="T37" fmla="*/ 46 h 50"/>
                <a:gd name="T38" fmla="*/ 114 w 155"/>
                <a:gd name="T39" fmla="*/ 46 h 50"/>
                <a:gd name="T40" fmla="*/ 138 w 155"/>
                <a:gd name="T41" fmla="*/ 48 h 50"/>
                <a:gd name="T42" fmla="*/ 147 w 155"/>
                <a:gd name="T43" fmla="*/ 50 h 50"/>
                <a:gd name="T44" fmla="*/ 155 w 155"/>
                <a:gd name="T45" fmla="*/ 47 h 50"/>
                <a:gd name="T46" fmla="*/ 155 w 155"/>
                <a:gd name="T47" fmla="*/ 46 h 50"/>
                <a:gd name="T48" fmla="*/ 153 w 155"/>
                <a:gd name="T49" fmla="*/ 43 h 50"/>
                <a:gd name="T50" fmla="*/ 145 w 155"/>
                <a:gd name="T51" fmla="*/ 38 h 50"/>
                <a:gd name="T52" fmla="*/ 143 w 155"/>
                <a:gd name="T53" fmla="*/ 34 h 50"/>
                <a:gd name="T54" fmla="*/ 143 w 155"/>
                <a:gd name="T55" fmla="*/ 31 h 50"/>
                <a:gd name="T56" fmla="*/ 141 w 155"/>
                <a:gd name="T57" fmla="*/ 28 h 50"/>
                <a:gd name="T58" fmla="*/ 135 w 155"/>
                <a:gd name="T59" fmla="*/ 24 h 50"/>
                <a:gd name="T60" fmla="*/ 127 w 155"/>
                <a:gd name="T61" fmla="*/ 21 h 50"/>
                <a:gd name="T62" fmla="*/ 114 w 155"/>
                <a:gd name="T63" fmla="*/ 23 h 50"/>
                <a:gd name="T64" fmla="*/ 111 w 155"/>
                <a:gd name="T65" fmla="*/ 24 h 50"/>
                <a:gd name="T66" fmla="*/ 107 w 155"/>
                <a:gd name="T67" fmla="*/ 27 h 50"/>
                <a:gd name="T68" fmla="*/ 104 w 155"/>
                <a:gd name="T69" fmla="*/ 27 h 50"/>
                <a:gd name="T70" fmla="*/ 101 w 155"/>
                <a:gd name="T71" fmla="*/ 25 h 50"/>
                <a:gd name="T72" fmla="*/ 100 w 155"/>
                <a:gd name="T73" fmla="*/ 23 h 50"/>
                <a:gd name="T74" fmla="*/ 94 w 155"/>
                <a:gd name="T75" fmla="*/ 21 h 50"/>
                <a:gd name="T76" fmla="*/ 87 w 155"/>
                <a:gd name="T77" fmla="*/ 21 h 50"/>
                <a:gd name="T78" fmla="*/ 80 w 155"/>
                <a:gd name="T79" fmla="*/ 18 h 50"/>
                <a:gd name="T80" fmla="*/ 78 w 155"/>
                <a:gd name="T81" fmla="*/ 15 h 50"/>
                <a:gd name="T82" fmla="*/ 78 w 155"/>
                <a:gd name="T83" fmla="*/ 8 h 50"/>
                <a:gd name="T84" fmla="*/ 77 w 155"/>
                <a:gd name="T85" fmla="*/ 5 h 50"/>
                <a:gd name="T86" fmla="*/ 67 w 155"/>
                <a:gd name="T87" fmla="*/ 4 h 50"/>
                <a:gd name="T88" fmla="*/ 60 w 155"/>
                <a:gd name="T89" fmla="*/ 4 h 50"/>
                <a:gd name="T90" fmla="*/ 52 w 155"/>
                <a:gd name="T91" fmla="*/ 3 h 50"/>
                <a:gd name="T92" fmla="*/ 40 w 155"/>
                <a:gd name="T93" fmla="*/ 0 h 50"/>
                <a:gd name="T94" fmla="*/ 32 w 155"/>
                <a:gd name="T95" fmla="*/ 0 h 50"/>
                <a:gd name="T96" fmla="*/ 27 w 155"/>
                <a:gd name="T97" fmla="*/ 1 h 50"/>
                <a:gd name="T98" fmla="*/ 18 w 155"/>
                <a:gd name="T99" fmla="*/ 1 h 50"/>
                <a:gd name="T100" fmla="*/ 15 w 155"/>
                <a:gd name="T101" fmla="*/ 1 h 50"/>
                <a:gd name="T102" fmla="*/ 10 w 155"/>
                <a:gd name="T103" fmla="*/ 4 h 50"/>
                <a:gd name="T104" fmla="*/ 7 w 155"/>
                <a:gd name="T105" fmla="*/ 4 h 50"/>
                <a:gd name="T106" fmla="*/ 2 w 155"/>
                <a:gd name="T107" fmla="*/ 3 h 50"/>
                <a:gd name="T108" fmla="*/ 0 w 155"/>
                <a:gd name="T109" fmla="*/ 7 h 50"/>
                <a:gd name="T110" fmla="*/ 2 w 155"/>
                <a:gd name="T111" fmla="*/ 11 h 50"/>
                <a:gd name="T112" fmla="*/ 4 w 155"/>
                <a:gd name="T113" fmla="*/ 13 h 50"/>
                <a:gd name="T114" fmla="*/ 7 w 155"/>
                <a:gd name="T115" fmla="*/ 1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5" h="50">
                  <a:moveTo>
                    <a:pt x="7" y="14"/>
                  </a:moveTo>
                  <a:lnTo>
                    <a:pt x="7" y="14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7" y="21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5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4" y="30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8" y="34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31" y="38"/>
                  </a:lnTo>
                  <a:lnTo>
                    <a:pt x="32" y="40"/>
                  </a:lnTo>
                  <a:lnTo>
                    <a:pt x="35" y="38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41" y="34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51" y="33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62" y="38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80" y="43"/>
                  </a:lnTo>
                  <a:lnTo>
                    <a:pt x="90" y="46"/>
                  </a:lnTo>
                  <a:lnTo>
                    <a:pt x="90" y="46"/>
                  </a:lnTo>
                  <a:lnTo>
                    <a:pt x="97" y="46"/>
                  </a:lnTo>
                  <a:lnTo>
                    <a:pt x="105" y="46"/>
                  </a:lnTo>
                  <a:lnTo>
                    <a:pt x="105" y="46"/>
                  </a:lnTo>
                  <a:lnTo>
                    <a:pt x="114" y="46"/>
                  </a:lnTo>
                  <a:lnTo>
                    <a:pt x="123" y="47"/>
                  </a:lnTo>
                  <a:lnTo>
                    <a:pt x="138" y="48"/>
                  </a:lnTo>
                  <a:lnTo>
                    <a:pt x="138" y="48"/>
                  </a:lnTo>
                  <a:lnTo>
                    <a:pt x="147" y="50"/>
                  </a:lnTo>
                  <a:lnTo>
                    <a:pt x="153" y="50"/>
                  </a:lnTo>
                  <a:lnTo>
                    <a:pt x="155" y="47"/>
                  </a:lnTo>
                  <a:lnTo>
                    <a:pt x="155" y="47"/>
                  </a:lnTo>
                  <a:lnTo>
                    <a:pt x="155" y="46"/>
                  </a:lnTo>
                  <a:lnTo>
                    <a:pt x="155" y="44"/>
                  </a:lnTo>
                  <a:lnTo>
                    <a:pt x="153" y="43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43" y="37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3" y="31"/>
                  </a:lnTo>
                  <a:lnTo>
                    <a:pt x="141" y="28"/>
                  </a:lnTo>
                  <a:lnTo>
                    <a:pt x="141" y="28"/>
                  </a:lnTo>
                  <a:lnTo>
                    <a:pt x="138" y="27"/>
                  </a:lnTo>
                  <a:lnTo>
                    <a:pt x="135" y="24"/>
                  </a:lnTo>
                  <a:lnTo>
                    <a:pt x="127" y="21"/>
                  </a:lnTo>
                  <a:lnTo>
                    <a:pt x="127" y="21"/>
                  </a:lnTo>
                  <a:lnTo>
                    <a:pt x="120" y="21"/>
                  </a:lnTo>
                  <a:lnTo>
                    <a:pt x="114" y="23"/>
                  </a:lnTo>
                  <a:lnTo>
                    <a:pt x="114" y="23"/>
                  </a:lnTo>
                  <a:lnTo>
                    <a:pt x="111" y="24"/>
                  </a:lnTo>
                  <a:lnTo>
                    <a:pt x="110" y="25"/>
                  </a:lnTo>
                  <a:lnTo>
                    <a:pt x="107" y="27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3" y="27"/>
                  </a:lnTo>
                  <a:lnTo>
                    <a:pt x="101" y="25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97" y="21"/>
                  </a:lnTo>
                  <a:lnTo>
                    <a:pt x="94" y="21"/>
                  </a:lnTo>
                  <a:lnTo>
                    <a:pt x="94" y="21"/>
                  </a:lnTo>
                  <a:lnTo>
                    <a:pt x="87" y="21"/>
                  </a:lnTo>
                  <a:lnTo>
                    <a:pt x="83" y="20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78" y="15"/>
                  </a:lnTo>
                  <a:lnTo>
                    <a:pt x="78" y="13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7" y="5"/>
                  </a:lnTo>
                  <a:lnTo>
                    <a:pt x="74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0" y="4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1" y="1"/>
                  </a:lnTo>
                  <a:lnTo>
                    <a:pt x="18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7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7" y="14"/>
                  </a:lnTo>
                  <a:lnTo>
                    <a:pt x="7" y="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53" name="Freeform 144"/>
            <p:cNvSpPr>
              <a:spLocks/>
            </p:cNvSpPr>
            <p:nvPr/>
          </p:nvSpPr>
          <p:spPr bwMode="auto">
            <a:xfrm>
              <a:off x="5091113" y="1768475"/>
              <a:ext cx="69850" cy="23812"/>
            </a:xfrm>
            <a:custGeom>
              <a:avLst/>
              <a:gdLst>
                <a:gd name="T0" fmla="*/ 0 w 88"/>
                <a:gd name="T1" fmla="*/ 26 h 30"/>
                <a:gd name="T2" fmla="*/ 5 w 88"/>
                <a:gd name="T3" fmla="*/ 30 h 30"/>
                <a:gd name="T4" fmla="*/ 12 w 88"/>
                <a:gd name="T5" fmla="*/ 29 h 30"/>
                <a:gd name="T6" fmla="*/ 18 w 88"/>
                <a:gd name="T7" fmla="*/ 27 h 30"/>
                <a:gd name="T8" fmla="*/ 24 w 88"/>
                <a:gd name="T9" fmla="*/ 26 h 30"/>
                <a:gd name="T10" fmla="*/ 38 w 88"/>
                <a:gd name="T11" fmla="*/ 24 h 30"/>
                <a:gd name="T12" fmla="*/ 45 w 88"/>
                <a:gd name="T13" fmla="*/ 24 h 30"/>
                <a:gd name="T14" fmla="*/ 54 w 88"/>
                <a:gd name="T15" fmla="*/ 24 h 30"/>
                <a:gd name="T16" fmla="*/ 65 w 88"/>
                <a:gd name="T17" fmla="*/ 21 h 30"/>
                <a:gd name="T18" fmla="*/ 82 w 88"/>
                <a:gd name="T19" fmla="*/ 21 h 30"/>
                <a:gd name="T20" fmla="*/ 85 w 88"/>
                <a:gd name="T21" fmla="*/ 20 h 30"/>
                <a:gd name="T22" fmla="*/ 88 w 88"/>
                <a:gd name="T23" fmla="*/ 17 h 30"/>
                <a:gd name="T24" fmla="*/ 87 w 88"/>
                <a:gd name="T25" fmla="*/ 14 h 30"/>
                <a:gd name="T26" fmla="*/ 81 w 88"/>
                <a:gd name="T27" fmla="*/ 11 h 30"/>
                <a:gd name="T28" fmla="*/ 75 w 88"/>
                <a:gd name="T29" fmla="*/ 10 h 30"/>
                <a:gd name="T30" fmla="*/ 64 w 88"/>
                <a:gd name="T31" fmla="*/ 9 h 30"/>
                <a:gd name="T32" fmla="*/ 50 w 88"/>
                <a:gd name="T33" fmla="*/ 3 h 30"/>
                <a:gd name="T34" fmla="*/ 47 w 88"/>
                <a:gd name="T35" fmla="*/ 1 h 30"/>
                <a:gd name="T36" fmla="*/ 37 w 88"/>
                <a:gd name="T37" fmla="*/ 6 h 30"/>
                <a:gd name="T38" fmla="*/ 32 w 88"/>
                <a:gd name="T39" fmla="*/ 7 h 30"/>
                <a:gd name="T40" fmla="*/ 30 w 88"/>
                <a:gd name="T41" fmla="*/ 3 h 30"/>
                <a:gd name="T42" fmla="*/ 30 w 88"/>
                <a:gd name="T43" fmla="*/ 0 h 30"/>
                <a:gd name="T44" fmla="*/ 20 w 88"/>
                <a:gd name="T45" fmla="*/ 1 h 30"/>
                <a:gd name="T46" fmla="*/ 15 w 88"/>
                <a:gd name="T47" fmla="*/ 1 h 30"/>
                <a:gd name="T48" fmla="*/ 10 w 88"/>
                <a:gd name="T49" fmla="*/ 1 h 30"/>
                <a:gd name="T50" fmla="*/ 4 w 88"/>
                <a:gd name="T51" fmla="*/ 1 h 30"/>
                <a:gd name="T52" fmla="*/ 4 w 88"/>
                <a:gd name="T53" fmla="*/ 11 h 30"/>
                <a:gd name="T54" fmla="*/ 1 w 88"/>
                <a:gd name="T55" fmla="*/ 11 h 30"/>
                <a:gd name="T56" fmla="*/ 1 w 88"/>
                <a:gd name="T57" fmla="*/ 19 h 30"/>
                <a:gd name="T58" fmla="*/ 1 w 88"/>
                <a:gd name="T59" fmla="*/ 20 h 30"/>
                <a:gd name="T60" fmla="*/ 1 w 88"/>
                <a:gd name="T61" fmla="*/ 21 h 30"/>
                <a:gd name="T62" fmla="*/ 0 w 88"/>
                <a:gd name="T63" fmla="*/ 24 h 30"/>
                <a:gd name="T64" fmla="*/ 0 w 88"/>
                <a:gd name="T65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8" h="30">
                  <a:moveTo>
                    <a:pt x="0" y="26"/>
                  </a:moveTo>
                  <a:lnTo>
                    <a:pt x="0" y="26"/>
                  </a:lnTo>
                  <a:lnTo>
                    <a:pt x="1" y="29"/>
                  </a:lnTo>
                  <a:lnTo>
                    <a:pt x="5" y="30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5" y="29"/>
                  </a:lnTo>
                  <a:lnTo>
                    <a:pt x="18" y="27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45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5" y="20"/>
                  </a:lnTo>
                  <a:lnTo>
                    <a:pt x="87" y="19"/>
                  </a:lnTo>
                  <a:lnTo>
                    <a:pt x="88" y="17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5" y="11"/>
                  </a:lnTo>
                  <a:lnTo>
                    <a:pt x="81" y="11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57" y="6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47" y="1"/>
                  </a:lnTo>
                  <a:lnTo>
                    <a:pt x="42" y="1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2" y="7"/>
                  </a:lnTo>
                  <a:lnTo>
                    <a:pt x="31" y="6"/>
                  </a:lnTo>
                  <a:lnTo>
                    <a:pt x="30" y="3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5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2" y="3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1" y="11"/>
                  </a:lnTo>
                  <a:lnTo>
                    <a:pt x="0" y="13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20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56" name="Freeform 147"/>
            <p:cNvSpPr>
              <a:spLocks noEditPoints="1"/>
            </p:cNvSpPr>
            <p:nvPr/>
          </p:nvSpPr>
          <p:spPr bwMode="auto">
            <a:xfrm>
              <a:off x="3538538" y="1795463"/>
              <a:ext cx="3167063" cy="1435100"/>
            </a:xfrm>
            <a:custGeom>
              <a:avLst/>
              <a:gdLst>
                <a:gd name="T0" fmla="*/ 3500 w 3990"/>
                <a:gd name="T1" fmla="*/ 180 h 1807"/>
                <a:gd name="T2" fmla="*/ 3137 w 3990"/>
                <a:gd name="T3" fmla="*/ 156 h 1807"/>
                <a:gd name="T4" fmla="*/ 2841 w 3990"/>
                <a:gd name="T5" fmla="*/ 143 h 1807"/>
                <a:gd name="T6" fmla="*/ 2591 w 3990"/>
                <a:gd name="T7" fmla="*/ 101 h 1807"/>
                <a:gd name="T8" fmla="*/ 2250 w 3990"/>
                <a:gd name="T9" fmla="*/ 94 h 1807"/>
                <a:gd name="T10" fmla="*/ 2115 w 3990"/>
                <a:gd name="T11" fmla="*/ 26 h 1807"/>
                <a:gd name="T12" fmla="*/ 1894 w 3990"/>
                <a:gd name="T13" fmla="*/ 44 h 1807"/>
                <a:gd name="T14" fmla="*/ 1692 w 3990"/>
                <a:gd name="T15" fmla="*/ 130 h 1807"/>
                <a:gd name="T16" fmla="*/ 1762 w 3990"/>
                <a:gd name="T17" fmla="*/ 220 h 1807"/>
                <a:gd name="T18" fmla="*/ 1671 w 3990"/>
                <a:gd name="T19" fmla="*/ 224 h 1807"/>
                <a:gd name="T20" fmla="*/ 1554 w 3990"/>
                <a:gd name="T21" fmla="*/ 190 h 1807"/>
                <a:gd name="T22" fmla="*/ 1406 w 3990"/>
                <a:gd name="T23" fmla="*/ 221 h 1807"/>
                <a:gd name="T24" fmla="*/ 1163 w 3990"/>
                <a:gd name="T25" fmla="*/ 256 h 1807"/>
                <a:gd name="T26" fmla="*/ 1069 w 3990"/>
                <a:gd name="T27" fmla="*/ 279 h 1807"/>
                <a:gd name="T28" fmla="*/ 923 w 3990"/>
                <a:gd name="T29" fmla="*/ 274 h 1807"/>
                <a:gd name="T30" fmla="*/ 960 w 3990"/>
                <a:gd name="T31" fmla="*/ 201 h 1807"/>
                <a:gd name="T32" fmla="*/ 772 w 3990"/>
                <a:gd name="T33" fmla="*/ 156 h 1807"/>
                <a:gd name="T34" fmla="*/ 629 w 3990"/>
                <a:gd name="T35" fmla="*/ 176 h 1807"/>
                <a:gd name="T36" fmla="*/ 549 w 3990"/>
                <a:gd name="T37" fmla="*/ 251 h 1807"/>
                <a:gd name="T38" fmla="*/ 397 w 3990"/>
                <a:gd name="T39" fmla="*/ 364 h 1807"/>
                <a:gd name="T40" fmla="*/ 483 w 3990"/>
                <a:gd name="T41" fmla="*/ 450 h 1807"/>
                <a:gd name="T42" fmla="*/ 527 w 3990"/>
                <a:gd name="T43" fmla="*/ 559 h 1807"/>
                <a:gd name="T44" fmla="*/ 676 w 3990"/>
                <a:gd name="T45" fmla="*/ 339 h 1807"/>
                <a:gd name="T46" fmla="*/ 788 w 3990"/>
                <a:gd name="T47" fmla="*/ 430 h 1807"/>
                <a:gd name="T48" fmla="*/ 773 w 3990"/>
                <a:gd name="T49" fmla="*/ 492 h 1807"/>
                <a:gd name="T50" fmla="*/ 465 w 3990"/>
                <a:gd name="T51" fmla="*/ 577 h 1807"/>
                <a:gd name="T52" fmla="*/ 297 w 3990"/>
                <a:gd name="T53" fmla="*/ 686 h 1807"/>
                <a:gd name="T54" fmla="*/ 196 w 3990"/>
                <a:gd name="T55" fmla="*/ 795 h 1807"/>
                <a:gd name="T56" fmla="*/ 10 w 3990"/>
                <a:gd name="T57" fmla="*/ 1089 h 1807"/>
                <a:gd name="T58" fmla="*/ 229 w 3990"/>
                <a:gd name="T59" fmla="*/ 1036 h 1807"/>
                <a:gd name="T60" fmla="*/ 472 w 3990"/>
                <a:gd name="T61" fmla="*/ 888 h 1807"/>
                <a:gd name="T62" fmla="*/ 627 w 3990"/>
                <a:gd name="T63" fmla="*/ 998 h 1807"/>
                <a:gd name="T64" fmla="*/ 550 w 3990"/>
                <a:gd name="T65" fmla="*/ 853 h 1807"/>
                <a:gd name="T66" fmla="*/ 716 w 3990"/>
                <a:gd name="T67" fmla="*/ 1038 h 1807"/>
                <a:gd name="T68" fmla="*/ 776 w 3990"/>
                <a:gd name="T69" fmla="*/ 1059 h 1807"/>
                <a:gd name="T70" fmla="*/ 892 w 3990"/>
                <a:gd name="T71" fmla="*/ 1086 h 1807"/>
                <a:gd name="T72" fmla="*/ 1078 w 3990"/>
                <a:gd name="T73" fmla="*/ 1275 h 1807"/>
                <a:gd name="T74" fmla="*/ 1472 w 3990"/>
                <a:gd name="T75" fmla="*/ 1754 h 1807"/>
                <a:gd name="T76" fmla="*/ 1585 w 3990"/>
                <a:gd name="T77" fmla="*/ 1471 h 1807"/>
                <a:gd name="T78" fmla="*/ 1446 w 3990"/>
                <a:gd name="T79" fmla="*/ 1292 h 1807"/>
                <a:gd name="T80" fmla="*/ 1791 w 3990"/>
                <a:gd name="T81" fmla="*/ 1394 h 1807"/>
                <a:gd name="T82" fmla="*/ 2034 w 3990"/>
                <a:gd name="T83" fmla="*/ 1081 h 1807"/>
                <a:gd name="T84" fmla="*/ 2105 w 3990"/>
                <a:gd name="T85" fmla="*/ 958 h 1807"/>
                <a:gd name="T86" fmla="*/ 2197 w 3990"/>
                <a:gd name="T87" fmla="*/ 798 h 1807"/>
                <a:gd name="T88" fmla="*/ 2360 w 3990"/>
                <a:gd name="T89" fmla="*/ 699 h 1807"/>
                <a:gd name="T90" fmla="*/ 2690 w 3990"/>
                <a:gd name="T91" fmla="*/ 730 h 1807"/>
                <a:gd name="T92" fmla="*/ 2907 w 3990"/>
                <a:gd name="T93" fmla="*/ 622 h 1807"/>
                <a:gd name="T94" fmla="*/ 3304 w 3990"/>
                <a:gd name="T95" fmla="*/ 851 h 1807"/>
                <a:gd name="T96" fmla="*/ 3384 w 3990"/>
                <a:gd name="T97" fmla="*/ 678 h 1807"/>
                <a:gd name="T98" fmla="*/ 3227 w 3990"/>
                <a:gd name="T99" fmla="*/ 586 h 1807"/>
                <a:gd name="T100" fmla="*/ 3377 w 3990"/>
                <a:gd name="T101" fmla="*/ 442 h 1807"/>
                <a:gd name="T102" fmla="*/ 3497 w 3990"/>
                <a:gd name="T103" fmla="*/ 392 h 1807"/>
                <a:gd name="T104" fmla="*/ 3600 w 3990"/>
                <a:gd name="T105" fmla="*/ 374 h 1807"/>
                <a:gd name="T106" fmla="*/ 3744 w 3990"/>
                <a:gd name="T107" fmla="*/ 683 h 1807"/>
                <a:gd name="T108" fmla="*/ 3653 w 3990"/>
                <a:gd name="T109" fmla="*/ 447 h 1807"/>
                <a:gd name="T110" fmla="*/ 3853 w 3990"/>
                <a:gd name="T111" fmla="*/ 349 h 1807"/>
                <a:gd name="T112" fmla="*/ 3984 w 3990"/>
                <a:gd name="T113" fmla="*/ 314 h 1807"/>
                <a:gd name="T114" fmla="*/ 965 w 3990"/>
                <a:gd name="T115" fmla="*/ 811 h 1807"/>
                <a:gd name="T116" fmla="*/ 1035 w 3990"/>
                <a:gd name="T117" fmla="*/ 868 h 1807"/>
                <a:gd name="T118" fmla="*/ 1351 w 3990"/>
                <a:gd name="T119" fmla="*/ 913 h 1807"/>
                <a:gd name="T120" fmla="*/ 1442 w 3990"/>
                <a:gd name="T121" fmla="*/ 912 h 1807"/>
                <a:gd name="T122" fmla="*/ 1641 w 3990"/>
                <a:gd name="T123" fmla="*/ 823 h 1807"/>
                <a:gd name="T124" fmla="*/ 2614 w 3990"/>
                <a:gd name="T125" fmla="*/ 602 h 1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90" h="1807">
                  <a:moveTo>
                    <a:pt x="3984" y="314"/>
                  </a:moveTo>
                  <a:lnTo>
                    <a:pt x="3984" y="314"/>
                  </a:lnTo>
                  <a:lnTo>
                    <a:pt x="3979" y="307"/>
                  </a:lnTo>
                  <a:lnTo>
                    <a:pt x="3973" y="304"/>
                  </a:lnTo>
                  <a:lnTo>
                    <a:pt x="3973" y="304"/>
                  </a:lnTo>
                  <a:lnTo>
                    <a:pt x="3964" y="299"/>
                  </a:lnTo>
                  <a:lnTo>
                    <a:pt x="3962" y="297"/>
                  </a:lnTo>
                  <a:lnTo>
                    <a:pt x="3960" y="294"/>
                  </a:lnTo>
                  <a:lnTo>
                    <a:pt x="3960" y="294"/>
                  </a:lnTo>
                  <a:lnTo>
                    <a:pt x="3962" y="294"/>
                  </a:lnTo>
                  <a:lnTo>
                    <a:pt x="3967" y="296"/>
                  </a:lnTo>
                  <a:lnTo>
                    <a:pt x="3972" y="296"/>
                  </a:lnTo>
                  <a:lnTo>
                    <a:pt x="3974" y="294"/>
                  </a:lnTo>
                  <a:lnTo>
                    <a:pt x="3974" y="294"/>
                  </a:lnTo>
                  <a:lnTo>
                    <a:pt x="3977" y="293"/>
                  </a:lnTo>
                  <a:lnTo>
                    <a:pt x="3980" y="291"/>
                  </a:lnTo>
                  <a:lnTo>
                    <a:pt x="3980" y="291"/>
                  </a:lnTo>
                  <a:lnTo>
                    <a:pt x="3983" y="287"/>
                  </a:lnTo>
                  <a:lnTo>
                    <a:pt x="3983" y="286"/>
                  </a:lnTo>
                  <a:lnTo>
                    <a:pt x="3983" y="283"/>
                  </a:lnTo>
                  <a:lnTo>
                    <a:pt x="3983" y="283"/>
                  </a:lnTo>
                  <a:lnTo>
                    <a:pt x="3976" y="279"/>
                  </a:lnTo>
                  <a:lnTo>
                    <a:pt x="3972" y="276"/>
                  </a:lnTo>
                  <a:lnTo>
                    <a:pt x="3969" y="274"/>
                  </a:lnTo>
                  <a:lnTo>
                    <a:pt x="3969" y="274"/>
                  </a:lnTo>
                  <a:lnTo>
                    <a:pt x="3959" y="274"/>
                  </a:lnTo>
                  <a:lnTo>
                    <a:pt x="3954" y="273"/>
                  </a:lnTo>
                  <a:lnTo>
                    <a:pt x="3952" y="271"/>
                  </a:lnTo>
                  <a:lnTo>
                    <a:pt x="3952" y="271"/>
                  </a:lnTo>
                  <a:lnTo>
                    <a:pt x="3947" y="270"/>
                  </a:lnTo>
                  <a:lnTo>
                    <a:pt x="3942" y="269"/>
                  </a:lnTo>
                  <a:lnTo>
                    <a:pt x="3934" y="267"/>
                  </a:lnTo>
                  <a:lnTo>
                    <a:pt x="3929" y="264"/>
                  </a:lnTo>
                  <a:lnTo>
                    <a:pt x="3929" y="264"/>
                  </a:lnTo>
                  <a:lnTo>
                    <a:pt x="3922" y="260"/>
                  </a:lnTo>
                  <a:lnTo>
                    <a:pt x="3914" y="257"/>
                  </a:lnTo>
                  <a:lnTo>
                    <a:pt x="3914" y="257"/>
                  </a:lnTo>
                  <a:lnTo>
                    <a:pt x="3907" y="254"/>
                  </a:lnTo>
                  <a:lnTo>
                    <a:pt x="3896" y="254"/>
                  </a:lnTo>
                  <a:lnTo>
                    <a:pt x="3886" y="254"/>
                  </a:lnTo>
                  <a:lnTo>
                    <a:pt x="3882" y="254"/>
                  </a:lnTo>
                  <a:lnTo>
                    <a:pt x="3882" y="254"/>
                  </a:lnTo>
                  <a:lnTo>
                    <a:pt x="3880" y="256"/>
                  </a:lnTo>
                  <a:lnTo>
                    <a:pt x="3876" y="257"/>
                  </a:lnTo>
                  <a:lnTo>
                    <a:pt x="3874" y="259"/>
                  </a:lnTo>
                  <a:lnTo>
                    <a:pt x="3874" y="260"/>
                  </a:lnTo>
                  <a:lnTo>
                    <a:pt x="3874" y="260"/>
                  </a:lnTo>
                  <a:lnTo>
                    <a:pt x="3874" y="260"/>
                  </a:lnTo>
                  <a:lnTo>
                    <a:pt x="3880" y="263"/>
                  </a:lnTo>
                  <a:lnTo>
                    <a:pt x="3883" y="264"/>
                  </a:lnTo>
                  <a:lnTo>
                    <a:pt x="3886" y="266"/>
                  </a:lnTo>
                  <a:lnTo>
                    <a:pt x="3886" y="266"/>
                  </a:lnTo>
                  <a:lnTo>
                    <a:pt x="3892" y="270"/>
                  </a:lnTo>
                  <a:lnTo>
                    <a:pt x="3893" y="271"/>
                  </a:lnTo>
                  <a:lnTo>
                    <a:pt x="3893" y="273"/>
                  </a:lnTo>
                  <a:lnTo>
                    <a:pt x="3893" y="273"/>
                  </a:lnTo>
                  <a:lnTo>
                    <a:pt x="3889" y="274"/>
                  </a:lnTo>
                  <a:lnTo>
                    <a:pt x="3884" y="274"/>
                  </a:lnTo>
                  <a:lnTo>
                    <a:pt x="3884" y="274"/>
                  </a:lnTo>
                  <a:lnTo>
                    <a:pt x="3873" y="271"/>
                  </a:lnTo>
                  <a:lnTo>
                    <a:pt x="3873" y="271"/>
                  </a:lnTo>
                  <a:lnTo>
                    <a:pt x="3866" y="269"/>
                  </a:lnTo>
                  <a:lnTo>
                    <a:pt x="3857" y="264"/>
                  </a:lnTo>
                  <a:lnTo>
                    <a:pt x="3857" y="264"/>
                  </a:lnTo>
                  <a:lnTo>
                    <a:pt x="3856" y="263"/>
                  </a:lnTo>
                  <a:lnTo>
                    <a:pt x="3856" y="261"/>
                  </a:lnTo>
                  <a:lnTo>
                    <a:pt x="3854" y="260"/>
                  </a:lnTo>
                  <a:lnTo>
                    <a:pt x="3852" y="257"/>
                  </a:lnTo>
                  <a:lnTo>
                    <a:pt x="3852" y="257"/>
                  </a:lnTo>
                  <a:lnTo>
                    <a:pt x="3843" y="253"/>
                  </a:lnTo>
                  <a:lnTo>
                    <a:pt x="3833" y="247"/>
                  </a:lnTo>
                  <a:lnTo>
                    <a:pt x="3822" y="241"/>
                  </a:lnTo>
                  <a:lnTo>
                    <a:pt x="3810" y="236"/>
                  </a:lnTo>
                  <a:lnTo>
                    <a:pt x="3810" y="236"/>
                  </a:lnTo>
                  <a:lnTo>
                    <a:pt x="3799" y="233"/>
                  </a:lnTo>
                  <a:lnTo>
                    <a:pt x="3784" y="231"/>
                  </a:lnTo>
                  <a:lnTo>
                    <a:pt x="3769" y="229"/>
                  </a:lnTo>
                  <a:lnTo>
                    <a:pt x="3756" y="224"/>
                  </a:lnTo>
                  <a:lnTo>
                    <a:pt x="3756" y="224"/>
                  </a:lnTo>
                  <a:lnTo>
                    <a:pt x="3743" y="220"/>
                  </a:lnTo>
                  <a:lnTo>
                    <a:pt x="3730" y="217"/>
                  </a:lnTo>
                  <a:lnTo>
                    <a:pt x="3712" y="213"/>
                  </a:lnTo>
                  <a:lnTo>
                    <a:pt x="3712" y="213"/>
                  </a:lnTo>
                  <a:lnTo>
                    <a:pt x="3676" y="204"/>
                  </a:lnTo>
                  <a:lnTo>
                    <a:pt x="3639" y="196"/>
                  </a:lnTo>
                  <a:lnTo>
                    <a:pt x="3639" y="196"/>
                  </a:lnTo>
                  <a:lnTo>
                    <a:pt x="3617" y="189"/>
                  </a:lnTo>
                  <a:lnTo>
                    <a:pt x="3604" y="187"/>
                  </a:lnTo>
                  <a:lnTo>
                    <a:pt x="3593" y="187"/>
                  </a:lnTo>
                  <a:lnTo>
                    <a:pt x="3593" y="187"/>
                  </a:lnTo>
                  <a:lnTo>
                    <a:pt x="3583" y="187"/>
                  </a:lnTo>
                  <a:lnTo>
                    <a:pt x="3576" y="184"/>
                  </a:lnTo>
                  <a:lnTo>
                    <a:pt x="3571" y="183"/>
                  </a:lnTo>
                  <a:lnTo>
                    <a:pt x="3567" y="181"/>
                  </a:lnTo>
                  <a:lnTo>
                    <a:pt x="3567" y="181"/>
                  </a:lnTo>
                  <a:lnTo>
                    <a:pt x="3560" y="181"/>
                  </a:lnTo>
                  <a:lnTo>
                    <a:pt x="3553" y="181"/>
                  </a:lnTo>
                  <a:lnTo>
                    <a:pt x="3553" y="181"/>
                  </a:lnTo>
                  <a:lnTo>
                    <a:pt x="3544" y="183"/>
                  </a:lnTo>
                  <a:lnTo>
                    <a:pt x="3530" y="184"/>
                  </a:lnTo>
                  <a:lnTo>
                    <a:pt x="3516" y="186"/>
                  </a:lnTo>
                  <a:lnTo>
                    <a:pt x="3511" y="184"/>
                  </a:lnTo>
                  <a:lnTo>
                    <a:pt x="3507" y="183"/>
                  </a:lnTo>
                  <a:lnTo>
                    <a:pt x="3507" y="183"/>
                  </a:lnTo>
                  <a:lnTo>
                    <a:pt x="3504" y="181"/>
                  </a:lnTo>
                  <a:lnTo>
                    <a:pt x="3500" y="180"/>
                  </a:lnTo>
                  <a:lnTo>
                    <a:pt x="3490" y="179"/>
                  </a:lnTo>
                  <a:lnTo>
                    <a:pt x="3479" y="179"/>
                  </a:lnTo>
                  <a:lnTo>
                    <a:pt x="3469" y="177"/>
                  </a:lnTo>
                  <a:lnTo>
                    <a:pt x="3469" y="177"/>
                  </a:lnTo>
                  <a:lnTo>
                    <a:pt x="3456" y="174"/>
                  </a:lnTo>
                  <a:lnTo>
                    <a:pt x="3453" y="174"/>
                  </a:lnTo>
                  <a:lnTo>
                    <a:pt x="3456" y="177"/>
                  </a:lnTo>
                  <a:lnTo>
                    <a:pt x="3456" y="177"/>
                  </a:lnTo>
                  <a:lnTo>
                    <a:pt x="3463" y="181"/>
                  </a:lnTo>
                  <a:lnTo>
                    <a:pt x="3467" y="184"/>
                  </a:lnTo>
                  <a:lnTo>
                    <a:pt x="3470" y="187"/>
                  </a:lnTo>
                  <a:lnTo>
                    <a:pt x="3470" y="187"/>
                  </a:lnTo>
                  <a:lnTo>
                    <a:pt x="3473" y="189"/>
                  </a:lnTo>
                  <a:lnTo>
                    <a:pt x="3476" y="190"/>
                  </a:lnTo>
                  <a:lnTo>
                    <a:pt x="3484" y="191"/>
                  </a:lnTo>
                  <a:lnTo>
                    <a:pt x="3493" y="194"/>
                  </a:lnTo>
                  <a:lnTo>
                    <a:pt x="3496" y="196"/>
                  </a:lnTo>
                  <a:lnTo>
                    <a:pt x="3499" y="197"/>
                  </a:lnTo>
                  <a:lnTo>
                    <a:pt x="3499" y="197"/>
                  </a:lnTo>
                  <a:lnTo>
                    <a:pt x="3504" y="203"/>
                  </a:lnTo>
                  <a:lnTo>
                    <a:pt x="3507" y="204"/>
                  </a:lnTo>
                  <a:lnTo>
                    <a:pt x="3506" y="207"/>
                  </a:lnTo>
                  <a:lnTo>
                    <a:pt x="3506" y="207"/>
                  </a:lnTo>
                  <a:lnTo>
                    <a:pt x="3504" y="209"/>
                  </a:lnTo>
                  <a:lnTo>
                    <a:pt x="3499" y="209"/>
                  </a:lnTo>
                  <a:lnTo>
                    <a:pt x="3486" y="209"/>
                  </a:lnTo>
                  <a:lnTo>
                    <a:pt x="3486" y="209"/>
                  </a:lnTo>
                  <a:lnTo>
                    <a:pt x="3481" y="209"/>
                  </a:lnTo>
                  <a:lnTo>
                    <a:pt x="3480" y="207"/>
                  </a:lnTo>
                  <a:lnTo>
                    <a:pt x="3474" y="203"/>
                  </a:lnTo>
                  <a:lnTo>
                    <a:pt x="3474" y="203"/>
                  </a:lnTo>
                  <a:lnTo>
                    <a:pt x="3467" y="201"/>
                  </a:lnTo>
                  <a:lnTo>
                    <a:pt x="3457" y="199"/>
                  </a:lnTo>
                  <a:lnTo>
                    <a:pt x="3447" y="197"/>
                  </a:lnTo>
                  <a:lnTo>
                    <a:pt x="3441" y="196"/>
                  </a:lnTo>
                  <a:lnTo>
                    <a:pt x="3441" y="196"/>
                  </a:lnTo>
                  <a:lnTo>
                    <a:pt x="3441" y="194"/>
                  </a:lnTo>
                  <a:lnTo>
                    <a:pt x="3441" y="193"/>
                  </a:lnTo>
                  <a:lnTo>
                    <a:pt x="3446" y="191"/>
                  </a:lnTo>
                  <a:lnTo>
                    <a:pt x="3446" y="191"/>
                  </a:lnTo>
                  <a:lnTo>
                    <a:pt x="3450" y="190"/>
                  </a:lnTo>
                  <a:lnTo>
                    <a:pt x="3451" y="189"/>
                  </a:lnTo>
                  <a:lnTo>
                    <a:pt x="3451" y="186"/>
                  </a:lnTo>
                  <a:lnTo>
                    <a:pt x="3450" y="184"/>
                  </a:lnTo>
                  <a:lnTo>
                    <a:pt x="3450" y="184"/>
                  </a:lnTo>
                  <a:lnTo>
                    <a:pt x="3446" y="183"/>
                  </a:lnTo>
                  <a:lnTo>
                    <a:pt x="3440" y="181"/>
                  </a:lnTo>
                  <a:lnTo>
                    <a:pt x="3430" y="179"/>
                  </a:lnTo>
                  <a:lnTo>
                    <a:pt x="3430" y="179"/>
                  </a:lnTo>
                  <a:lnTo>
                    <a:pt x="3426" y="177"/>
                  </a:lnTo>
                  <a:lnTo>
                    <a:pt x="3421" y="174"/>
                  </a:lnTo>
                  <a:lnTo>
                    <a:pt x="3419" y="171"/>
                  </a:lnTo>
                  <a:lnTo>
                    <a:pt x="3417" y="173"/>
                  </a:lnTo>
                  <a:lnTo>
                    <a:pt x="3416" y="174"/>
                  </a:lnTo>
                  <a:lnTo>
                    <a:pt x="3416" y="174"/>
                  </a:lnTo>
                  <a:lnTo>
                    <a:pt x="3416" y="177"/>
                  </a:lnTo>
                  <a:lnTo>
                    <a:pt x="3417" y="180"/>
                  </a:lnTo>
                  <a:lnTo>
                    <a:pt x="3417" y="183"/>
                  </a:lnTo>
                  <a:lnTo>
                    <a:pt x="3416" y="187"/>
                  </a:lnTo>
                  <a:lnTo>
                    <a:pt x="3416" y="187"/>
                  </a:lnTo>
                  <a:lnTo>
                    <a:pt x="3413" y="190"/>
                  </a:lnTo>
                  <a:lnTo>
                    <a:pt x="3409" y="191"/>
                  </a:lnTo>
                  <a:lnTo>
                    <a:pt x="3399" y="193"/>
                  </a:lnTo>
                  <a:lnTo>
                    <a:pt x="3389" y="193"/>
                  </a:lnTo>
                  <a:lnTo>
                    <a:pt x="3381" y="191"/>
                  </a:lnTo>
                  <a:lnTo>
                    <a:pt x="3381" y="191"/>
                  </a:lnTo>
                  <a:lnTo>
                    <a:pt x="3374" y="190"/>
                  </a:lnTo>
                  <a:lnTo>
                    <a:pt x="3364" y="189"/>
                  </a:lnTo>
                  <a:lnTo>
                    <a:pt x="3354" y="187"/>
                  </a:lnTo>
                  <a:lnTo>
                    <a:pt x="3347" y="189"/>
                  </a:lnTo>
                  <a:lnTo>
                    <a:pt x="3347" y="189"/>
                  </a:lnTo>
                  <a:lnTo>
                    <a:pt x="3340" y="189"/>
                  </a:lnTo>
                  <a:lnTo>
                    <a:pt x="3329" y="189"/>
                  </a:lnTo>
                  <a:lnTo>
                    <a:pt x="3311" y="187"/>
                  </a:lnTo>
                  <a:lnTo>
                    <a:pt x="3311" y="187"/>
                  </a:lnTo>
                  <a:lnTo>
                    <a:pt x="3310" y="189"/>
                  </a:lnTo>
                  <a:lnTo>
                    <a:pt x="3310" y="190"/>
                  </a:lnTo>
                  <a:lnTo>
                    <a:pt x="3316" y="194"/>
                  </a:lnTo>
                  <a:lnTo>
                    <a:pt x="3321" y="200"/>
                  </a:lnTo>
                  <a:lnTo>
                    <a:pt x="3326" y="204"/>
                  </a:lnTo>
                  <a:lnTo>
                    <a:pt x="3326" y="204"/>
                  </a:lnTo>
                  <a:lnTo>
                    <a:pt x="3327" y="206"/>
                  </a:lnTo>
                  <a:lnTo>
                    <a:pt x="3324" y="204"/>
                  </a:lnTo>
                  <a:lnTo>
                    <a:pt x="3317" y="200"/>
                  </a:lnTo>
                  <a:lnTo>
                    <a:pt x="3309" y="193"/>
                  </a:lnTo>
                  <a:lnTo>
                    <a:pt x="3301" y="189"/>
                  </a:lnTo>
                  <a:lnTo>
                    <a:pt x="3301" y="189"/>
                  </a:lnTo>
                  <a:lnTo>
                    <a:pt x="3294" y="189"/>
                  </a:lnTo>
                  <a:lnTo>
                    <a:pt x="3284" y="187"/>
                  </a:lnTo>
                  <a:lnTo>
                    <a:pt x="3274" y="186"/>
                  </a:lnTo>
                  <a:lnTo>
                    <a:pt x="3270" y="186"/>
                  </a:lnTo>
                  <a:lnTo>
                    <a:pt x="3267" y="183"/>
                  </a:lnTo>
                  <a:lnTo>
                    <a:pt x="3267" y="183"/>
                  </a:lnTo>
                  <a:lnTo>
                    <a:pt x="3250" y="167"/>
                  </a:lnTo>
                  <a:lnTo>
                    <a:pt x="3250" y="167"/>
                  </a:lnTo>
                  <a:lnTo>
                    <a:pt x="3247" y="167"/>
                  </a:lnTo>
                  <a:lnTo>
                    <a:pt x="3243" y="166"/>
                  </a:lnTo>
                  <a:lnTo>
                    <a:pt x="3227" y="163"/>
                  </a:lnTo>
                  <a:lnTo>
                    <a:pt x="3211" y="160"/>
                  </a:lnTo>
                  <a:lnTo>
                    <a:pt x="3204" y="159"/>
                  </a:lnTo>
                  <a:lnTo>
                    <a:pt x="3200" y="156"/>
                  </a:lnTo>
                  <a:lnTo>
                    <a:pt x="3200" y="156"/>
                  </a:lnTo>
                  <a:lnTo>
                    <a:pt x="3193" y="154"/>
                  </a:lnTo>
                  <a:lnTo>
                    <a:pt x="3183" y="153"/>
                  </a:lnTo>
                  <a:lnTo>
                    <a:pt x="3160" y="154"/>
                  </a:lnTo>
                  <a:lnTo>
                    <a:pt x="3137" y="156"/>
                  </a:lnTo>
                  <a:lnTo>
                    <a:pt x="3126" y="159"/>
                  </a:lnTo>
                  <a:lnTo>
                    <a:pt x="3126" y="159"/>
                  </a:lnTo>
                  <a:lnTo>
                    <a:pt x="3117" y="160"/>
                  </a:lnTo>
                  <a:lnTo>
                    <a:pt x="3103" y="160"/>
                  </a:lnTo>
                  <a:lnTo>
                    <a:pt x="3090" y="160"/>
                  </a:lnTo>
                  <a:lnTo>
                    <a:pt x="3086" y="159"/>
                  </a:lnTo>
                  <a:lnTo>
                    <a:pt x="3083" y="157"/>
                  </a:lnTo>
                  <a:lnTo>
                    <a:pt x="3083" y="157"/>
                  </a:lnTo>
                  <a:lnTo>
                    <a:pt x="3081" y="156"/>
                  </a:lnTo>
                  <a:lnTo>
                    <a:pt x="3078" y="154"/>
                  </a:lnTo>
                  <a:lnTo>
                    <a:pt x="3068" y="151"/>
                  </a:lnTo>
                  <a:lnTo>
                    <a:pt x="3057" y="149"/>
                  </a:lnTo>
                  <a:lnTo>
                    <a:pt x="3044" y="147"/>
                  </a:lnTo>
                  <a:lnTo>
                    <a:pt x="3044" y="147"/>
                  </a:lnTo>
                  <a:lnTo>
                    <a:pt x="3037" y="147"/>
                  </a:lnTo>
                  <a:lnTo>
                    <a:pt x="3033" y="146"/>
                  </a:lnTo>
                  <a:lnTo>
                    <a:pt x="3031" y="143"/>
                  </a:lnTo>
                  <a:lnTo>
                    <a:pt x="3028" y="141"/>
                  </a:lnTo>
                  <a:lnTo>
                    <a:pt x="3028" y="141"/>
                  </a:lnTo>
                  <a:lnTo>
                    <a:pt x="3023" y="140"/>
                  </a:lnTo>
                  <a:lnTo>
                    <a:pt x="3014" y="139"/>
                  </a:lnTo>
                  <a:lnTo>
                    <a:pt x="3007" y="139"/>
                  </a:lnTo>
                  <a:lnTo>
                    <a:pt x="3004" y="137"/>
                  </a:lnTo>
                  <a:lnTo>
                    <a:pt x="3004" y="137"/>
                  </a:lnTo>
                  <a:lnTo>
                    <a:pt x="3003" y="131"/>
                  </a:lnTo>
                  <a:lnTo>
                    <a:pt x="3001" y="128"/>
                  </a:lnTo>
                  <a:lnTo>
                    <a:pt x="2998" y="127"/>
                  </a:lnTo>
                  <a:lnTo>
                    <a:pt x="2998" y="127"/>
                  </a:lnTo>
                  <a:lnTo>
                    <a:pt x="2977" y="123"/>
                  </a:lnTo>
                  <a:lnTo>
                    <a:pt x="2964" y="120"/>
                  </a:lnTo>
                  <a:lnTo>
                    <a:pt x="2957" y="120"/>
                  </a:lnTo>
                  <a:lnTo>
                    <a:pt x="2957" y="120"/>
                  </a:lnTo>
                  <a:lnTo>
                    <a:pt x="2956" y="123"/>
                  </a:lnTo>
                  <a:lnTo>
                    <a:pt x="2953" y="128"/>
                  </a:lnTo>
                  <a:lnTo>
                    <a:pt x="2951" y="133"/>
                  </a:lnTo>
                  <a:lnTo>
                    <a:pt x="2948" y="134"/>
                  </a:lnTo>
                  <a:lnTo>
                    <a:pt x="2946" y="136"/>
                  </a:lnTo>
                  <a:lnTo>
                    <a:pt x="2946" y="136"/>
                  </a:lnTo>
                  <a:lnTo>
                    <a:pt x="2936" y="140"/>
                  </a:lnTo>
                  <a:lnTo>
                    <a:pt x="2933" y="140"/>
                  </a:lnTo>
                  <a:lnTo>
                    <a:pt x="2931" y="137"/>
                  </a:lnTo>
                  <a:lnTo>
                    <a:pt x="2931" y="137"/>
                  </a:lnTo>
                  <a:lnTo>
                    <a:pt x="2928" y="134"/>
                  </a:lnTo>
                  <a:lnTo>
                    <a:pt x="2931" y="131"/>
                  </a:lnTo>
                  <a:lnTo>
                    <a:pt x="2931" y="131"/>
                  </a:lnTo>
                  <a:lnTo>
                    <a:pt x="2931" y="130"/>
                  </a:lnTo>
                  <a:lnTo>
                    <a:pt x="2930" y="126"/>
                  </a:lnTo>
                  <a:lnTo>
                    <a:pt x="2927" y="123"/>
                  </a:lnTo>
                  <a:lnTo>
                    <a:pt x="2924" y="123"/>
                  </a:lnTo>
                  <a:lnTo>
                    <a:pt x="2924" y="123"/>
                  </a:lnTo>
                  <a:lnTo>
                    <a:pt x="2917" y="126"/>
                  </a:lnTo>
                  <a:lnTo>
                    <a:pt x="2913" y="127"/>
                  </a:lnTo>
                  <a:lnTo>
                    <a:pt x="2908" y="128"/>
                  </a:lnTo>
                  <a:lnTo>
                    <a:pt x="2908" y="128"/>
                  </a:lnTo>
                  <a:lnTo>
                    <a:pt x="2905" y="127"/>
                  </a:lnTo>
                  <a:lnTo>
                    <a:pt x="2904" y="126"/>
                  </a:lnTo>
                  <a:lnTo>
                    <a:pt x="2904" y="124"/>
                  </a:lnTo>
                  <a:lnTo>
                    <a:pt x="2904" y="123"/>
                  </a:lnTo>
                  <a:lnTo>
                    <a:pt x="2904" y="123"/>
                  </a:lnTo>
                  <a:lnTo>
                    <a:pt x="2907" y="121"/>
                  </a:lnTo>
                  <a:lnTo>
                    <a:pt x="2910" y="121"/>
                  </a:lnTo>
                  <a:lnTo>
                    <a:pt x="2911" y="120"/>
                  </a:lnTo>
                  <a:lnTo>
                    <a:pt x="2911" y="117"/>
                  </a:lnTo>
                  <a:lnTo>
                    <a:pt x="2911" y="117"/>
                  </a:lnTo>
                  <a:lnTo>
                    <a:pt x="2908" y="117"/>
                  </a:lnTo>
                  <a:lnTo>
                    <a:pt x="2901" y="116"/>
                  </a:lnTo>
                  <a:lnTo>
                    <a:pt x="2877" y="117"/>
                  </a:lnTo>
                  <a:lnTo>
                    <a:pt x="2853" y="117"/>
                  </a:lnTo>
                  <a:lnTo>
                    <a:pt x="2843" y="116"/>
                  </a:lnTo>
                  <a:lnTo>
                    <a:pt x="2838" y="116"/>
                  </a:lnTo>
                  <a:lnTo>
                    <a:pt x="2838" y="116"/>
                  </a:lnTo>
                  <a:lnTo>
                    <a:pt x="2833" y="111"/>
                  </a:lnTo>
                  <a:lnTo>
                    <a:pt x="2827" y="110"/>
                  </a:lnTo>
                  <a:lnTo>
                    <a:pt x="2821" y="108"/>
                  </a:lnTo>
                  <a:lnTo>
                    <a:pt x="2818" y="108"/>
                  </a:lnTo>
                  <a:lnTo>
                    <a:pt x="2818" y="108"/>
                  </a:lnTo>
                  <a:lnTo>
                    <a:pt x="2818" y="110"/>
                  </a:lnTo>
                  <a:lnTo>
                    <a:pt x="2821" y="111"/>
                  </a:lnTo>
                  <a:lnTo>
                    <a:pt x="2827" y="114"/>
                  </a:lnTo>
                  <a:lnTo>
                    <a:pt x="2827" y="114"/>
                  </a:lnTo>
                  <a:lnTo>
                    <a:pt x="2827" y="116"/>
                  </a:lnTo>
                  <a:lnTo>
                    <a:pt x="2825" y="117"/>
                  </a:lnTo>
                  <a:lnTo>
                    <a:pt x="2818" y="117"/>
                  </a:lnTo>
                  <a:lnTo>
                    <a:pt x="2811" y="118"/>
                  </a:lnTo>
                  <a:lnTo>
                    <a:pt x="2808" y="120"/>
                  </a:lnTo>
                  <a:lnTo>
                    <a:pt x="2808" y="120"/>
                  </a:lnTo>
                  <a:lnTo>
                    <a:pt x="2807" y="124"/>
                  </a:lnTo>
                  <a:lnTo>
                    <a:pt x="2808" y="126"/>
                  </a:lnTo>
                  <a:lnTo>
                    <a:pt x="2813" y="128"/>
                  </a:lnTo>
                  <a:lnTo>
                    <a:pt x="2813" y="128"/>
                  </a:lnTo>
                  <a:lnTo>
                    <a:pt x="2817" y="128"/>
                  </a:lnTo>
                  <a:lnTo>
                    <a:pt x="2820" y="126"/>
                  </a:lnTo>
                  <a:lnTo>
                    <a:pt x="2824" y="124"/>
                  </a:lnTo>
                  <a:lnTo>
                    <a:pt x="2825" y="124"/>
                  </a:lnTo>
                  <a:lnTo>
                    <a:pt x="2825" y="124"/>
                  </a:lnTo>
                  <a:lnTo>
                    <a:pt x="2827" y="126"/>
                  </a:lnTo>
                  <a:lnTo>
                    <a:pt x="2825" y="128"/>
                  </a:lnTo>
                  <a:lnTo>
                    <a:pt x="2825" y="130"/>
                  </a:lnTo>
                  <a:lnTo>
                    <a:pt x="2827" y="134"/>
                  </a:lnTo>
                  <a:lnTo>
                    <a:pt x="2827" y="134"/>
                  </a:lnTo>
                  <a:lnTo>
                    <a:pt x="2831" y="137"/>
                  </a:lnTo>
                  <a:lnTo>
                    <a:pt x="2837" y="139"/>
                  </a:lnTo>
                  <a:lnTo>
                    <a:pt x="2841" y="140"/>
                  </a:lnTo>
                  <a:lnTo>
                    <a:pt x="2841" y="141"/>
                  </a:lnTo>
                  <a:lnTo>
                    <a:pt x="2841" y="143"/>
                  </a:lnTo>
                  <a:lnTo>
                    <a:pt x="2841" y="143"/>
                  </a:lnTo>
                  <a:lnTo>
                    <a:pt x="2838" y="144"/>
                  </a:lnTo>
                  <a:lnTo>
                    <a:pt x="2837" y="144"/>
                  </a:lnTo>
                  <a:lnTo>
                    <a:pt x="2825" y="141"/>
                  </a:lnTo>
                  <a:lnTo>
                    <a:pt x="2825" y="141"/>
                  </a:lnTo>
                  <a:lnTo>
                    <a:pt x="2818" y="140"/>
                  </a:lnTo>
                  <a:lnTo>
                    <a:pt x="2813" y="140"/>
                  </a:lnTo>
                  <a:lnTo>
                    <a:pt x="2810" y="140"/>
                  </a:lnTo>
                  <a:lnTo>
                    <a:pt x="2811" y="141"/>
                  </a:lnTo>
                  <a:lnTo>
                    <a:pt x="2811" y="141"/>
                  </a:lnTo>
                  <a:lnTo>
                    <a:pt x="2817" y="147"/>
                  </a:lnTo>
                  <a:lnTo>
                    <a:pt x="2820" y="150"/>
                  </a:lnTo>
                  <a:lnTo>
                    <a:pt x="2820" y="151"/>
                  </a:lnTo>
                  <a:lnTo>
                    <a:pt x="2818" y="151"/>
                  </a:lnTo>
                  <a:lnTo>
                    <a:pt x="2818" y="151"/>
                  </a:lnTo>
                  <a:lnTo>
                    <a:pt x="2815" y="151"/>
                  </a:lnTo>
                  <a:lnTo>
                    <a:pt x="2811" y="150"/>
                  </a:lnTo>
                  <a:lnTo>
                    <a:pt x="2807" y="149"/>
                  </a:lnTo>
                  <a:lnTo>
                    <a:pt x="2800" y="146"/>
                  </a:lnTo>
                  <a:lnTo>
                    <a:pt x="2800" y="146"/>
                  </a:lnTo>
                  <a:lnTo>
                    <a:pt x="2785" y="143"/>
                  </a:lnTo>
                  <a:lnTo>
                    <a:pt x="2777" y="141"/>
                  </a:lnTo>
                  <a:lnTo>
                    <a:pt x="2777" y="141"/>
                  </a:lnTo>
                  <a:lnTo>
                    <a:pt x="2770" y="139"/>
                  </a:lnTo>
                  <a:lnTo>
                    <a:pt x="2764" y="139"/>
                  </a:lnTo>
                  <a:lnTo>
                    <a:pt x="2761" y="141"/>
                  </a:lnTo>
                  <a:lnTo>
                    <a:pt x="2761" y="141"/>
                  </a:lnTo>
                  <a:lnTo>
                    <a:pt x="2758" y="146"/>
                  </a:lnTo>
                  <a:lnTo>
                    <a:pt x="2757" y="147"/>
                  </a:lnTo>
                  <a:lnTo>
                    <a:pt x="2755" y="149"/>
                  </a:lnTo>
                  <a:lnTo>
                    <a:pt x="2755" y="149"/>
                  </a:lnTo>
                  <a:lnTo>
                    <a:pt x="2747" y="147"/>
                  </a:lnTo>
                  <a:lnTo>
                    <a:pt x="2731" y="144"/>
                  </a:lnTo>
                  <a:lnTo>
                    <a:pt x="2715" y="140"/>
                  </a:lnTo>
                  <a:lnTo>
                    <a:pt x="2710" y="137"/>
                  </a:lnTo>
                  <a:lnTo>
                    <a:pt x="2705" y="134"/>
                  </a:lnTo>
                  <a:lnTo>
                    <a:pt x="2705" y="134"/>
                  </a:lnTo>
                  <a:lnTo>
                    <a:pt x="2701" y="131"/>
                  </a:lnTo>
                  <a:lnTo>
                    <a:pt x="2701" y="131"/>
                  </a:lnTo>
                  <a:lnTo>
                    <a:pt x="2700" y="131"/>
                  </a:lnTo>
                  <a:lnTo>
                    <a:pt x="2700" y="136"/>
                  </a:lnTo>
                  <a:lnTo>
                    <a:pt x="2701" y="140"/>
                  </a:lnTo>
                  <a:lnTo>
                    <a:pt x="2701" y="140"/>
                  </a:lnTo>
                  <a:lnTo>
                    <a:pt x="2705" y="150"/>
                  </a:lnTo>
                  <a:lnTo>
                    <a:pt x="2708" y="156"/>
                  </a:lnTo>
                  <a:lnTo>
                    <a:pt x="2708" y="157"/>
                  </a:lnTo>
                  <a:lnTo>
                    <a:pt x="2707" y="159"/>
                  </a:lnTo>
                  <a:lnTo>
                    <a:pt x="2707" y="159"/>
                  </a:lnTo>
                  <a:lnTo>
                    <a:pt x="2708" y="160"/>
                  </a:lnTo>
                  <a:lnTo>
                    <a:pt x="2708" y="161"/>
                  </a:lnTo>
                  <a:lnTo>
                    <a:pt x="2704" y="161"/>
                  </a:lnTo>
                  <a:lnTo>
                    <a:pt x="2695" y="159"/>
                  </a:lnTo>
                  <a:lnTo>
                    <a:pt x="2695" y="159"/>
                  </a:lnTo>
                  <a:lnTo>
                    <a:pt x="2685" y="156"/>
                  </a:lnTo>
                  <a:lnTo>
                    <a:pt x="2678" y="154"/>
                  </a:lnTo>
                  <a:lnTo>
                    <a:pt x="2673" y="154"/>
                  </a:lnTo>
                  <a:lnTo>
                    <a:pt x="2667" y="151"/>
                  </a:lnTo>
                  <a:lnTo>
                    <a:pt x="2667" y="151"/>
                  </a:lnTo>
                  <a:lnTo>
                    <a:pt x="2657" y="143"/>
                  </a:lnTo>
                  <a:lnTo>
                    <a:pt x="2651" y="141"/>
                  </a:lnTo>
                  <a:lnTo>
                    <a:pt x="2648" y="141"/>
                  </a:lnTo>
                  <a:lnTo>
                    <a:pt x="2645" y="143"/>
                  </a:lnTo>
                  <a:lnTo>
                    <a:pt x="2645" y="143"/>
                  </a:lnTo>
                  <a:lnTo>
                    <a:pt x="2638" y="146"/>
                  </a:lnTo>
                  <a:lnTo>
                    <a:pt x="2637" y="147"/>
                  </a:lnTo>
                  <a:lnTo>
                    <a:pt x="2635" y="147"/>
                  </a:lnTo>
                  <a:lnTo>
                    <a:pt x="2635" y="147"/>
                  </a:lnTo>
                  <a:lnTo>
                    <a:pt x="2630" y="137"/>
                  </a:lnTo>
                  <a:lnTo>
                    <a:pt x="2630" y="137"/>
                  </a:lnTo>
                  <a:lnTo>
                    <a:pt x="2625" y="134"/>
                  </a:lnTo>
                  <a:lnTo>
                    <a:pt x="2621" y="134"/>
                  </a:lnTo>
                  <a:lnTo>
                    <a:pt x="2617" y="133"/>
                  </a:lnTo>
                  <a:lnTo>
                    <a:pt x="2617" y="131"/>
                  </a:lnTo>
                  <a:lnTo>
                    <a:pt x="2617" y="130"/>
                  </a:lnTo>
                  <a:lnTo>
                    <a:pt x="2617" y="130"/>
                  </a:lnTo>
                  <a:lnTo>
                    <a:pt x="2617" y="128"/>
                  </a:lnTo>
                  <a:lnTo>
                    <a:pt x="2618" y="128"/>
                  </a:lnTo>
                  <a:lnTo>
                    <a:pt x="2624" y="130"/>
                  </a:lnTo>
                  <a:lnTo>
                    <a:pt x="2628" y="131"/>
                  </a:lnTo>
                  <a:lnTo>
                    <a:pt x="2631" y="131"/>
                  </a:lnTo>
                  <a:lnTo>
                    <a:pt x="2634" y="130"/>
                  </a:lnTo>
                  <a:lnTo>
                    <a:pt x="2634" y="130"/>
                  </a:lnTo>
                  <a:lnTo>
                    <a:pt x="2635" y="128"/>
                  </a:lnTo>
                  <a:lnTo>
                    <a:pt x="2635" y="127"/>
                  </a:lnTo>
                  <a:lnTo>
                    <a:pt x="2633" y="124"/>
                  </a:lnTo>
                  <a:lnTo>
                    <a:pt x="2628" y="121"/>
                  </a:lnTo>
                  <a:lnTo>
                    <a:pt x="2623" y="120"/>
                  </a:lnTo>
                  <a:lnTo>
                    <a:pt x="2623" y="120"/>
                  </a:lnTo>
                  <a:lnTo>
                    <a:pt x="2615" y="118"/>
                  </a:lnTo>
                  <a:lnTo>
                    <a:pt x="2611" y="118"/>
                  </a:lnTo>
                  <a:lnTo>
                    <a:pt x="2607" y="118"/>
                  </a:lnTo>
                  <a:lnTo>
                    <a:pt x="2605" y="117"/>
                  </a:lnTo>
                  <a:lnTo>
                    <a:pt x="2605" y="117"/>
                  </a:lnTo>
                  <a:lnTo>
                    <a:pt x="2607" y="116"/>
                  </a:lnTo>
                  <a:lnTo>
                    <a:pt x="2610" y="114"/>
                  </a:lnTo>
                  <a:lnTo>
                    <a:pt x="2613" y="114"/>
                  </a:lnTo>
                  <a:lnTo>
                    <a:pt x="2613" y="114"/>
                  </a:lnTo>
                  <a:lnTo>
                    <a:pt x="2613" y="113"/>
                  </a:lnTo>
                  <a:lnTo>
                    <a:pt x="2613" y="113"/>
                  </a:lnTo>
                  <a:lnTo>
                    <a:pt x="2610" y="111"/>
                  </a:lnTo>
                  <a:lnTo>
                    <a:pt x="2604" y="111"/>
                  </a:lnTo>
                  <a:lnTo>
                    <a:pt x="2600" y="110"/>
                  </a:lnTo>
                  <a:lnTo>
                    <a:pt x="2598" y="108"/>
                  </a:lnTo>
                  <a:lnTo>
                    <a:pt x="2598" y="108"/>
                  </a:lnTo>
                  <a:lnTo>
                    <a:pt x="2595" y="104"/>
                  </a:lnTo>
                  <a:lnTo>
                    <a:pt x="2594" y="101"/>
                  </a:lnTo>
                  <a:lnTo>
                    <a:pt x="2591" y="101"/>
                  </a:lnTo>
                  <a:lnTo>
                    <a:pt x="2591" y="101"/>
                  </a:lnTo>
                  <a:lnTo>
                    <a:pt x="2588" y="101"/>
                  </a:lnTo>
                  <a:lnTo>
                    <a:pt x="2585" y="101"/>
                  </a:lnTo>
                  <a:lnTo>
                    <a:pt x="2584" y="101"/>
                  </a:lnTo>
                  <a:lnTo>
                    <a:pt x="2581" y="101"/>
                  </a:lnTo>
                  <a:lnTo>
                    <a:pt x="2581" y="101"/>
                  </a:lnTo>
                  <a:lnTo>
                    <a:pt x="2578" y="98"/>
                  </a:lnTo>
                  <a:lnTo>
                    <a:pt x="2577" y="96"/>
                  </a:lnTo>
                  <a:lnTo>
                    <a:pt x="2574" y="93"/>
                  </a:lnTo>
                  <a:lnTo>
                    <a:pt x="2571" y="91"/>
                  </a:lnTo>
                  <a:lnTo>
                    <a:pt x="2571" y="91"/>
                  </a:lnTo>
                  <a:lnTo>
                    <a:pt x="2562" y="93"/>
                  </a:lnTo>
                  <a:lnTo>
                    <a:pt x="2551" y="97"/>
                  </a:lnTo>
                  <a:lnTo>
                    <a:pt x="2551" y="97"/>
                  </a:lnTo>
                  <a:lnTo>
                    <a:pt x="2547" y="97"/>
                  </a:lnTo>
                  <a:lnTo>
                    <a:pt x="2544" y="97"/>
                  </a:lnTo>
                  <a:lnTo>
                    <a:pt x="2541" y="94"/>
                  </a:lnTo>
                  <a:lnTo>
                    <a:pt x="2538" y="94"/>
                  </a:lnTo>
                  <a:lnTo>
                    <a:pt x="2538" y="94"/>
                  </a:lnTo>
                  <a:lnTo>
                    <a:pt x="2534" y="94"/>
                  </a:lnTo>
                  <a:lnTo>
                    <a:pt x="2530" y="96"/>
                  </a:lnTo>
                  <a:lnTo>
                    <a:pt x="2530" y="96"/>
                  </a:lnTo>
                  <a:lnTo>
                    <a:pt x="2527" y="96"/>
                  </a:lnTo>
                  <a:lnTo>
                    <a:pt x="2524" y="96"/>
                  </a:lnTo>
                  <a:lnTo>
                    <a:pt x="2520" y="94"/>
                  </a:lnTo>
                  <a:lnTo>
                    <a:pt x="2520" y="94"/>
                  </a:lnTo>
                  <a:lnTo>
                    <a:pt x="2517" y="94"/>
                  </a:lnTo>
                  <a:lnTo>
                    <a:pt x="2511" y="91"/>
                  </a:lnTo>
                  <a:lnTo>
                    <a:pt x="2511" y="91"/>
                  </a:lnTo>
                  <a:lnTo>
                    <a:pt x="2498" y="84"/>
                  </a:lnTo>
                  <a:lnTo>
                    <a:pt x="2498" y="84"/>
                  </a:lnTo>
                  <a:lnTo>
                    <a:pt x="2494" y="84"/>
                  </a:lnTo>
                  <a:lnTo>
                    <a:pt x="2492" y="86"/>
                  </a:lnTo>
                  <a:lnTo>
                    <a:pt x="2491" y="90"/>
                  </a:lnTo>
                  <a:lnTo>
                    <a:pt x="2491" y="90"/>
                  </a:lnTo>
                  <a:lnTo>
                    <a:pt x="2491" y="91"/>
                  </a:lnTo>
                  <a:lnTo>
                    <a:pt x="2492" y="94"/>
                  </a:lnTo>
                  <a:lnTo>
                    <a:pt x="2497" y="97"/>
                  </a:lnTo>
                  <a:lnTo>
                    <a:pt x="2500" y="100"/>
                  </a:lnTo>
                  <a:lnTo>
                    <a:pt x="2501" y="103"/>
                  </a:lnTo>
                  <a:lnTo>
                    <a:pt x="2500" y="104"/>
                  </a:lnTo>
                  <a:lnTo>
                    <a:pt x="2500" y="104"/>
                  </a:lnTo>
                  <a:lnTo>
                    <a:pt x="2498" y="106"/>
                  </a:lnTo>
                  <a:lnTo>
                    <a:pt x="2495" y="106"/>
                  </a:lnTo>
                  <a:lnTo>
                    <a:pt x="2488" y="107"/>
                  </a:lnTo>
                  <a:lnTo>
                    <a:pt x="2475" y="107"/>
                  </a:lnTo>
                  <a:lnTo>
                    <a:pt x="2475" y="107"/>
                  </a:lnTo>
                  <a:lnTo>
                    <a:pt x="2441" y="107"/>
                  </a:lnTo>
                  <a:lnTo>
                    <a:pt x="2418" y="106"/>
                  </a:lnTo>
                  <a:lnTo>
                    <a:pt x="2411" y="104"/>
                  </a:lnTo>
                  <a:lnTo>
                    <a:pt x="2408" y="103"/>
                  </a:lnTo>
                  <a:lnTo>
                    <a:pt x="2408" y="103"/>
                  </a:lnTo>
                  <a:lnTo>
                    <a:pt x="2408" y="100"/>
                  </a:lnTo>
                  <a:lnTo>
                    <a:pt x="2408" y="96"/>
                  </a:lnTo>
                  <a:lnTo>
                    <a:pt x="2408" y="96"/>
                  </a:lnTo>
                  <a:lnTo>
                    <a:pt x="2408" y="94"/>
                  </a:lnTo>
                  <a:lnTo>
                    <a:pt x="2405" y="94"/>
                  </a:lnTo>
                  <a:lnTo>
                    <a:pt x="2390" y="94"/>
                  </a:lnTo>
                  <a:lnTo>
                    <a:pt x="2390" y="94"/>
                  </a:lnTo>
                  <a:lnTo>
                    <a:pt x="2375" y="94"/>
                  </a:lnTo>
                  <a:lnTo>
                    <a:pt x="2371" y="94"/>
                  </a:lnTo>
                  <a:lnTo>
                    <a:pt x="2370" y="94"/>
                  </a:lnTo>
                  <a:lnTo>
                    <a:pt x="2370" y="94"/>
                  </a:lnTo>
                  <a:lnTo>
                    <a:pt x="2362" y="91"/>
                  </a:lnTo>
                  <a:lnTo>
                    <a:pt x="2350" y="90"/>
                  </a:lnTo>
                  <a:lnTo>
                    <a:pt x="2337" y="90"/>
                  </a:lnTo>
                  <a:lnTo>
                    <a:pt x="2332" y="90"/>
                  </a:lnTo>
                  <a:lnTo>
                    <a:pt x="2331" y="91"/>
                  </a:lnTo>
                  <a:lnTo>
                    <a:pt x="2331" y="91"/>
                  </a:lnTo>
                  <a:lnTo>
                    <a:pt x="2330" y="93"/>
                  </a:lnTo>
                  <a:lnTo>
                    <a:pt x="2328" y="94"/>
                  </a:lnTo>
                  <a:lnTo>
                    <a:pt x="2325" y="94"/>
                  </a:lnTo>
                  <a:lnTo>
                    <a:pt x="2321" y="94"/>
                  </a:lnTo>
                  <a:lnTo>
                    <a:pt x="2321" y="94"/>
                  </a:lnTo>
                  <a:lnTo>
                    <a:pt x="2320" y="96"/>
                  </a:lnTo>
                  <a:lnTo>
                    <a:pt x="2320" y="96"/>
                  </a:lnTo>
                  <a:lnTo>
                    <a:pt x="2321" y="97"/>
                  </a:lnTo>
                  <a:lnTo>
                    <a:pt x="2322" y="100"/>
                  </a:lnTo>
                  <a:lnTo>
                    <a:pt x="2324" y="101"/>
                  </a:lnTo>
                  <a:lnTo>
                    <a:pt x="2322" y="101"/>
                  </a:lnTo>
                  <a:lnTo>
                    <a:pt x="2322" y="101"/>
                  </a:lnTo>
                  <a:lnTo>
                    <a:pt x="2320" y="101"/>
                  </a:lnTo>
                  <a:lnTo>
                    <a:pt x="2315" y="101"/>
                  </a:lnTo>
                  <a:lnTo>
                    <a:pt x="2311" y="100"/>
                  </a:lnTo>
                  <a:lnTo>
                    <a:pt x="2311" y="98"/>
                  </a:lnTo>
                  <a:lnTo>
                    <a:pt x="2310" y="96"/>
                  </a:lnTo>
                  <a:lnTo>
                    <a:pt x="2310" y="96"/>
                  </a:lnTo>
                  <a:lnTo>
                    <a:pt x="2310" y="94"/>
                  </a:lnTo>
                  <a:lnTo>
                    <a:pt x="2308" y="93"/>
                  </a:lnTo>
                  <a:lnTo>
                    <a:pt x="2305" y="91"/>
                  </a:lnTo>
                  <a:lnTo>
                    <a:pt x="2301" y="90"/>
                  </a:lnTo>
                  <a:lnTo>
                    <a:pt x="2297" y="88"/>
                  </a:lnTo>
                  <a:lnTo>
                    <a:pt x="2297" y="88"/>
                  </a:lnTo>
                  <a:lnTo>
                    <a:pt x="2290" y="87"/>
                  </a:lnTo>
                  <a:lnTo>
                    <a:pt x="2281" y="87"/>
                  </a:lnTo>
                  <a:lnTo>
                    <a:pt x="2272" y="87"/>
                  </a:lnTo>
                  <a:lnTo>
                    <a:pt x="2267" y="86"/>
                  </a:lnTo>
                  <a:lnTo>
                    <a:pt x="2267" y="86"/>
                  </a:lnTo>
                  <a:lnTo>
                    <a:pt x="2262" y="84"/>
                  </a:lnTo>
                  <a:lnTo>
                    <a:pt x="2261" y="86"/>
                  </a:lnTo>
                  <a:lnTo>
                    <a:pt x="2261" y="88"/>
                  </a:lnTo>
                  <a:lnTo>
                    <a:pt x="2261" y="88"/>
                  </a:lnTo>
                  <a:lnTo>
                    <a:pt x="2260" y="90"/>
                  </a:lnTo>
                  <a:lnTo>
                    <a:pt x="2260" y="91"/>
                  </a:lnTo>
                  <a:lnTo>
                    <a:pt x="2255" y="93"/>
                  </a:lnTo>
                  <a:lnTo>
                    <a:pt x="2250" y="94"/>
                  </a:lnTo>
                  <a:lnTo>
                    <a:pt x="2248" y="96"/>
                  </a:lnTo>
                  <a:lnTo>
                    <a:pt x="2247" y="97"/>
                  </a:lnTo>
                  <a:lnTo>
                    <a:pt x="2247" y="97"/>
                  </a:lnTo>
                  <a:lnTo>
                    <a:pt x="2244" y="98"/>
                  </a:lnTo>
                  <a:lnTo>
                    <a:pt x="2241" y="100"/>
                  </a:lnTo>
                  <a:lnTo>
                    <a:pt x="2234" y="103"/>
                  </a:lnTo>
                  <a:lnTo>
                    <a:pt x="2218" y="104"/>
                  </a:lnTo>
                  <a:lnTo>
                    <a:pt x="2218" y="104"/>
                  </a:lnTo>
                  <a:lnTo>
                    <a:pt x="2212" y="104"/>
                  </a:lnTo>
                  <a:lnTo>
                    <a:pt x="2205" y="103"/>
                  </a:lnTo>
                  <a:lnTo>
                    <a:pt x="2199" y="103"/>
                  </a:lnTo>
                  <a:lnTo>
                    <a:pt x="2197" y="103"/>
                  </a:lnTo>
                  <a:lnTo>
                    <a:pt x="2195" y="106"/>
                  </a:lnTo>
                  <a:lnTo>
                    <a:pt x="2195" y="106"/>
                  </a:lnTo>
                  <a:lnTo>
                    <a:pt x="2189" y="113"/>
                  </a:lnTo>
                  <a:lnTo>
                    <a:pt x="2188" y="114"/>
                  </a:lnTo>
                  <a:lnTo>
                    <a:pt x="2185" y="116"/>
                  </a:lnTo>
                  <a:lnTo>
                    <a:pt x="2185" y="116"/>
                  </a:lnTo>
                  <a:lnTo>
                    <a:pt x="2182" y="114"/>
                  </a:lnTo>
                  <a:lnTo>
                    <a:pt x="2182" y="114"/>
                  </a:lnTo>
                  <a:lnTo>
                    <a:pt x="2185" y="110"/>
                  </a:lnTo>
                  <a:lnTo>
                    <a:pt x="2185" y="110"/>
                  </a:lnTo>
                  <a:lnTo>
                    <a:pt x="2185" y="106"/>
                  </a:lnTo>
                  <a:lnTo>
                    <a:pt x="2187" y="103"/>
                  </a:lnTo>
                  <a:lnTo>
                    <a:pt x="2189" y="100"/>
                  </a:lnTo>
                  <a:lnTo>
                    <a:pt x="2189" y="100"/>
                  </a:lnTo>
                  <a:lnTo>
                    <a:pt x="2194" y="98"/>
                  </a:lnTo>
                  <a:lnTo>
                    <a:pt x="2195" y="98"/>
                  </a:lnTo>
                  <a:lnTo>
                    <a:pt x="2197" y="98"/>
                  </a:lnTo>
                  <a:lnTo>
                    <a:pt x="2199" y="97"/>
                  </a:lnTo>
                  <a:lnTo>
                    <a:pt x="2199" y="97"/>
                  </a:lnTo>
                  <a:lnTo>
                    <a:pt x="2201" y="94"/>
                  </a:lnTo>
                  <a:lnTo>
                    <a:pt x="2204" y="93"/>
                  </a:lnTo>
                  <a:lnTo>
                    <a:pt x="2212" y="91"/>
                  </a:lnTo>
                  <a:lnTo>
                    <a:pt x="2212" y="91"/>
                  </a:lnTo>
                  <a:lnTo>
                    <a:pt x="2218" y="90"/>
                  </a:lnTo>
                  <a:lnTo>
                    <a:pt x="2221" y="88"/>
                  </a:lnTo>
                  <a:lnTo>
                    <a:pt x="2222" y="86"/>
                  </a:lnTo>
                  <a:lnTo>
                    <a:pt x="2222" y="86"/>
                  </a:lnTo>
                  <a:lnTo>
                    <a:pt x="2224" y="83"/>
                  </a:lnTo>
                  <a:lnTo>
                    <a:pt x="2227" y="81"/>
                  </a:lnTo>
                  <a:lnTo>
                    <a:pt x="2230" y="81"/>
                  </a:lnTo>
                  <a:lnTo>
                    <a:pt x="2230" y="81"/>
                  </a:lnTo>
                  <a:lnTo>
                    <a:pt x="2231" y="80"/>
                  </a:lnTo>
                  <a:lnTo>
                    <a:pt x="2231" y="78"/>
                  </a:lnTo>
                  <a:lnTo>
                    <a:pt x="2230" y="77"/>
                  </a:lnTo>
                  <a:lnTo>
                    <a:pt x="2230" y="77"/>
                  </a:lnTo>
                  <a:lnTo>
                    <a:pt x="2230" y="76"/>
                  </a:lnTo>
                  <a:lnTo>
                    <a:pt x="2232" y="74"/>
                  </a:lnTo>
                  <a:lnTo>
                    <a:pt x="2238" y="73"/>
                  </a:lnTo>
                  <a:lnTo>
                    <a:pt x="2238" y="73"/>
                  </a:lnTo>
                  <a:lnTo>
                    <a:pt x="2242" y="71"/>
                  </a:lnTo>
                  <a:lnTo>
                    <a:pt x="2245" y="71"/>
                  </a:lnTo>
                  <a:lnTo>
                    <a:pt x="2247" y="70"/>
                  </a:lnTo>
                  <a:lnTo>
                    <a:pt x="2247" y="70"/>
                  </a:lnTo>
                  <a:lnTo>
                    <a:pt x="2250" y="67"/>
                  </a:lnTo>
                  <a:lnTo>
                    <a:pt x="2254" y="67"/>
                  </a:lnTo>
                  <a:lnTo>
                    <a:pt x="2254" y="67"/>
                  </a:lnTo>
                  <a:lnTo>
                    <a:pt x="2257" y="66"/>
                  </a:lnTo>
                  <a:lnTo>
                    <a:pt x="2258" y="64"/>
                  </a:lnTo>
                  <a:lnTo>
                    <a:pt x="2261" y="61"/>
                  </a:lnTo>
                  <a:lnTo>
                    <a:pt x="2262" y="61"/>
                  </a:lnTo>
                  <a:lnTo>
                    <a:pt x="2262" y="61"/>
                  </a:lnTo>
                  <a:lnTo>
                    <a:pt x="2268" y="60"/>
                  </a:lnTo>
                  <a:lnTo>
                    <a:pt x="2270" y="58"/>
                  </a:lnTo>
                  <a:lnTo>
                    <a:pt x="2271" y="56"/>
                  </a:lnTo>
                  <a:lnTo>
                    <a:pt x="2271" y="56"/>
                  </a:lnTo>
                  <a:lnTo>
                    <a:pt x="2270" y="54"/>
                  </a:lnTo>
                  <a:lnTo>
                    <a:pt x="2267" y="53"/>
                  </a:lnTo>
                  <a:lnTo>
                    <a:pt x="2260" y="50"/>
                  </a:lnTo>
                  <a:lnTo>
                    <a:pt x="2251" y="48"/>
                  </a:lnTo>
                  <a:lnTo>
                    <a:pt x="2245" y="46"/>
                  </a:lnTo>
                  <a:lnTo>
                    <a:pt x="2245" y="46"/>
                  </a:lnTo>
                  <a:lnTo>
                    <a:pt x="2244" y="44"/>
                  </a:lnTo>
                  <a:lnTo>
                    <a:pt x="2244" y="44"/>
                  </a:lnTo>
                  <a:lnTo>
                    <a:pt x="2247" y="43"/>
                  </a:lnTo>
                  <a:lnTo>
                    <a:pt x="2250" y="41"/>
                  </a:lnTo>
                  <a:lnTo>
                    <a:pt x="2250" y="41"/>
                  </a:lnTo>
                  <a:lnTo>
                    <a:pt x="2250" y="40"/>
                  </a:lnTo>
                  <a:lnTo>
                    <a:pt x="2250" y="38"/>
                  </a:lnTo>
                  <a:lnTo>
                    <a:pt x="2247" y="36"/>
                  </a:lnTo>
                  <a:lnTo>
                    <a:pt x="2242" y="34"/>
                  </a:lnTo>
                  <a:lnTo>
                    <a:pt x="2238" y="34"/>
                  </a:lnTo>
                  <a:lnTo>
                    <a:pt x="2238" y="34"/>
                  </a:lnTo>
                  <a:lnTo>
                    <a:pt x="2228" y="33"/>
                  </a:lnTo>
                  <a:lnTo>
                    <a:pt x="2224" y="30"/>
                  </a:lnTo>
                  <a:lnTo>
                    <a:pt x="2220" y="27"/>
                  </a:lnTo>
                  <a:lnTo>
                    <a:pt x="2220" y="27"/>
                  </a:lnTo>
                  <a:lnTo>
                    <a:pt x="2215" y="26"/>
                  </a:lnTo>
                  <a:lnTo>
                    <a:pt x="2211" y="26"/>
                  </a:lnTo>
                  <a:lnTo>
                    <a:pt x="2205" y="26"/>
                  </a:lnTo>
                  <a:lnTo>
                    <a:pt x="2201" y="24"/>
                  </a:lnTo>
                  <a:lnTo>
                    <a:pt x="2201" y="24"/>
                  </a:lnTo>
                  <a:lnTo>
                    <a:pt x="2189" y="23"/>
                  </a:lnTo>
                  <a:lnTo>
                    <a:pt x="2171" y="23"/>
                  </a:lnTo>
                  <a:lnTo>
                    <a:pt x="2151" y="24"/>
                  </a:lnTo>
                  <a:lnTo>
                    <a:pt x="2144" y="26"/>
                  </a:lnTo>
                  <a:lnTo>
                    <a:pt x="2139" y="27"/>
                  </a:lnTo>
                  <a:lnTo>
                    <a:pt x="2139" y="27"/>
                  </a:lnTo>
                  <a:lnTo>
                    <a:pt x="2137" y="30"/>
                  </a:lnTo>
                  <a:lnTo>
                    <a:pt x="2132" y="31"/>
                  </a:lnTo>
                  <a:lnTo>
                    <a:pt x="2124" y="31"/>
                  </a:lnTo>
                  <a:lnTo>
                    <a:pt x="2118" y="30"/>
                  </a:lnTo>
                  <a:lnTo>
                    <a:pt x="2115" y="28"/>
                  </a:lnTo>
                  <a:lnTo>
                    <a:pt x="2115" y="26"/>
                  </a:lnTo>
                  <a:lnTo>
                    <a:pt x="2115" y="26"/>
                  </a:lnTo>
                  <a:lnTo>
                    <a:pt x="2115" y="23"/>
                  </a:lnTo>
                  <a:lnTo>
                    <a:pt x="2117" y="21"/>
                  </a:lnTo>
                  <a:lnTo>
                    <a:pt x="2117" y="20"/>
                  </a:lnTo>
                  <a:lnTo>
                    <a:pt x="2115" y="18"/>
                  </a:lnTo>
                  <a:lnTo>
                    <a:pt x="2115" y="18"/>
                  </a:lnTo>
                  <a:lnTo>
                    <a:pt x="2107" y="16"/>
                  </a:lnTo>
                  <a:lnTo>
                    <a:pt x="2094" y="16"/>
                  </a:lnTo>
                  <a:lnTo>
                    <a:pt x="2075" y="14"/>
                  </a:lnTo>
                  <a:lnTo>
                    <a:pt x="2075" y="14"/>
                  </a:lnTo>
                  <a:lnTo>
                    <a:pt x="2075" y="13"/>
                  </a:lnTo>
                  <a:lnTo>
                    <a:pt x="2077" y="13"/>
                  </a:lnTo>
                  <a:lnTo>
                    <a:pt x="2079" y="10"/>
                  </a:lnTo>
                  <a:lnTo>
                    <a:pt x="2081" y="7"/>
                  </a:lnTo>
                  <a:lnTo>
                    <a:pt x="2081" y="7"/>
                  </a:lnTo>
                  <a:lnTo>
                    <a:pt x="2081" y="6"/>
                  </a:lnTo>
                  <a:lnTo>
                    <a:pt x="2079" y="6"/>
                  </a:lnTo>
                  <a:lnTo>
                    <a:pt x="2074" y="6"/>
                  </a:lnTo>
                  <a:lnTo>
                    <a:pt x="2068" y="6"/>
                  </a:lnTo>
                  <a:lnTo>
                    <a:pt x="2064" y="4"/>
                  </a:lnTo>
                  <a:lnTo>
                    <a:pt x="2064" y="4"/>
                  </a:lnTo>
                  <a:lnTo>
                    <a:pt x="2055" y="1"/>
                  </a:lnTo>
                  <a:lnTo>
                    <a:pt x="2049" y="0"/>
                  </a:lnTo>
                  <a:lnTo>
                    <a:pt x="2044" y="0"/>
                  </a:lnTo>
                  <a:lnTo>
                    <a:pt x="2044" y="0"/>
                  </a:lnTo>
                  <a:lnTo>
                    <a:pt x="2041" y="0"/>
                  </a:lnTo>
                  <a:lnTo>
                    <a:pt x="2038" y="1"/>
                  </a:lnTo>
                  <a:lnTo>
                    <a:pt x="2038" y="3"/>
                  </a:lnTo>
                  <a:lnTo>
                    <a:pt x="2035" y="3"/>
                  </a:lnTo>
                  <a:lnTo>
                    <a:pt x="2035" y="3"/>
                  </a:lnTo>
                  <a:lnTo>
                    <a:pt x="2028" y="1"/>
                  </a:lnTo>
                  <a:lnTo>
                    <a:pt x="2025" y="3"/>
                  </a:lnTo>
                  <a:lnTo>
                    <a:pt x="2022" y="4"/>
                  </a:lnTo>
                  <a:lnTo>
                    <a:pt x="2022" y="4"/>
                  </a:lnTo>
                  <a:lnTo>
                    <a:pt x="2019" y="6"/>
                  </a:lnTo>
                  <a:lnTo>
                    <a:pt x="2015" y="8"/>
                  </a:lnTo>
                  <a:lnTo>
                    <a:pt x="2011" y="10"/>
                  </a:lnTo>
                  <a:lnTo>
                    <a:pt x="2011" y="11"/>
                  </a:lnTo>
                  <a:lnTo>
                    <a:pt x="2011" y="13"/>
                  </a:lnTo>
                  <a:lnTo>
                    <a:pt x="2011" y="13"/>
                  </a:lnTo>
                  <a:lnTo>
                    <a:pt x="2014" y="16"/>
                  </a:lnTo>
                  <a:lnTo>
                    <a:pt x="2017" y="17"/>
                  </a:lnTo>
                  <a:lnTo>
                    <a:pt x="2019" y="18"/>
                  </a:lnTo>
                  <a:lnTo>
                    <a:pt x="2019" y="21"/>
                  </a:lnTo>
                  <a:lnTo>
                    <a:pt x="2019" y="21"/>
                  </a:lnTo>
                  <a:lnTo>
                    <a:pt x="2025" y="23"/>
                  </a:lnTo>
                  <a:lnTo>
                    <a:pt x="2034" y="24"/>
                  </a:lnTo>
                  <a:lnTo>
                    <a:pt x="2042" y="26"/>
                  </a:lnTo>
                  <a:lnTo>
                    <a:pt x="2045" y="26"/>
                  </a:lnTo>
                  <a:lnTo>
                    <a:pt x="2047" y="27"/>
                  </a:lnTo>
                  <a:lnTo>
                    <a:pt x="2047" y="27"/>
                  </a:lnTo>
                  <a:lnTo>
                    <a:pt x="2041" y="28"/>
                  </a:lnTo>
                  <a:lnTo>
                    <a:pt x="2029" y="28"/>
                  </a:lnTo>
                  <a:lnTo>
                    <a:pt x="2011" y="28"/>
                  </a:lnTo>
                  <a:lnTo>
                    <a:pt x="2011" y="28"/>
                  </a:lnTo>
                  <a:lnTo>
                    <a:pt x="2008" y="28"/>
                  </a:lnTo>
                  <a:lnTo>
                    <a:pt x="2008" y="30"/>
                  </a:lnTo>
                  <a:lnTo>
                    <a:pt x="2009" y="31"/>
                  </a:lnTo>
                  <a:lnTo>
                    <a:pt x="2011" y="34"/>
                  </a:lnTo>
                  <a:lnTo>
                    <a:pt x="2011" y="34"/>
                  </a:lnTo>
                  <a:lnTo>
                    <a:pt x="2009" y="36"/>
                  </a:lnTo>
                  <a:lnTo>
                    <a:pt x="2008" y="36"/>
                  </a:lnTo>
                  <a:lnTo>
                    <a:pt x="2004" y="34"/>
                  </a:lnTo>
                  <a:lnTo>
                    <a:pt x="1998" y="31"/>
                  </a:lnTo>
                  <a:lnTo>
                    <a:pt x="1995" y="31"/>
                  </a:lnTo>
                  <a:lnTo>
                    <a:pt x="1991" y="31"/>
                  </a:lnTo>
                  <a:lnTo>
                    <a:pt x="1991" y="31"/>
                  </a:lnTo>
                  <a:lnTo>
                    <a:pt x="1987" y="34"/>
                  </a:lnTo>
                  <a:lnTo>
                    <a:pt x="1984" y="36"/>
                  </a:lnTo>
                  <a:lnTo>
                    <a:pt x="1981" y="37"/>
                  </a:lnTo>
                  <a:lnTo>
                    <a:pt x="1978" y="38"/>
                  </a:lnTo>
                  <a:lnTo>
                    <a:pt x="1978" y="38"/>
                  </a:lnTo>
                  <a:lnTo>
                    <a:pt x="1971" y="37"/>
                  </a:lnTo>
                  <a:lnTo>
                    <a:pt x="1967" y="37"/>
                  </a:lnTo>
                  <a:lnTo>
                    <a:pt x="1965" y="38"/>
                  </a:lnTo>
                  <a:lnTo>
                    <a:pt x="1964" y="40"/>
                  </a:lnTo>
                  <a:lnTo>
                    <a:pt x="1964" y="40"/>
                  </a:lnTo>
                  <a:lnTo>
                    <a:pt x="1962" y="41"/>
                  </a:lnTo>
                  <a:lnTo>
                    <a:pt x="1959" y="43"/>
                  </a:lnTo>
                  <a:lnTo>
                    <a:pt x="1955" y="43"/>
                  </a:lnTo>
                  <a:lnTo>
                    <a:pt x="1949" y="41"/>
                  </a:lnTo>
                  <a:lnTo>
                    <a:pt x="1945" y="38"/>
                  </a:lnTo>
                  <a:lnTo>
                    <a:pt x="1945" y="38"/>
                  </a:lnTo>
                  <a:lnTo>
                    <a:pt x="1944" y="37"/>
                  </a:lnTo>
                  <a:lnTo>
                    <a:pt x="1941" y="36"/>
                  </a:lnTo>
                  <a:lnTo>
                    <a:pt x="1932" y="34"/>
                  </a:lnTo>
                  <a:lnTo>
                    <a:pt x="1924" y="34"/>
                  </a:lnTo>
                  <a:lnTo>
                    <a:pt x="1919" y="34"/>
                  </a:lnTo>
                  <a:lnTo>
                    <a:pt x="1919" y="34"/>
                  </a:lnTo>
                  <a:lnTo>
                    <a:pt x="1915" y="34"/>
                  </a:lnTo>
                  <a:lnTo>
                    <a:pt x="1907" y="36"/>
                  </a:lnTo>
                  <a:lnTo>
                    <a:pt x="1907" y="36"/>
                  </a:lnTo>
                  <a:lnTo>
                    <a:pt x="1904" y="36"/>
                  </a:lnTo>
                  <a:lnTo>
                    <a:pt x="1899" y="34"/>
                  </a:lnTo>
                  <a:lnTo>
                    <a:pt x="1897" y="34"/>
                  </a:lnTo>
                  <a:lnTo>
                    <a:pt x="1897" y="34"/>
                  </a:lnTo>
                  <a:lnTo>
                    <a:pt x="1897" y="34"/>
                  </a:lnTo>
                  <a:lnTo>
                    <a:pt x="1895" y="37"/>
                  </a:lnTo>
                  <a:lnTo>
                    <a:pt x="1894" y="38"/>
                  </a:lnTo>
                  <a:lnTo>
                    <a:pt x="1892" y="40"/>
                  </a:lnTo>
                  <a:lnTo>
                    <a:pt x="1897" y="41"/>
                  </a:lnTo>
                  <a:lnTo>
                    <a:pt x="1897" y="41"/>
                  </a:lnTo>
                  <a:lnTo>
                    <a:pt x="1904" y="43"/>
                  </a:lnTo>
                  <a:lnTo>
                    <a:pt x="1904" y="44"/>
                  </a:lnTo>
                  <a:lnTo>
                    <a:pt x="1902" y="44"/>
                  </a:lnTo>
                  <a:lnTo>
                    <a:pt x="1902" y="44"/>
                  </a:lnTo>
                  <a:lnTo>
                    <a:pt x="1894" y="44"/>
                  </a:lnTo>
                  <a:lnTo>
                    <a:pt x="1888" y="44"/>
                  </a:lnTo>
                  <a:lnTo>
                    <a:pt x="1884" y="46"/>
                  </a:lnTo>
                  <a:lnTo>
                    <a:pt x="1884" y="46"/>
                  </a:lnTo>
                  <a:lnTo>
                    <a:pt x="1878" y="47"/>
                  </a:lnTo>
                  <a:lnTo>
                    <a:pt x="1871" y="47"/>
                  </a:lnTo>
                  <a:lnTo>
                    <a:pt x="1857" y="46"/>
                  </a:lnTo>
                  <a:lnTo>
                    <a:pt x="1857" y="46"/>
                  </a:lnTo>
                  <a:lnTo>
                    <a:pt x="1851" y="47"/>
                  </a:lnTo>
                  <a:lnTo>
                    <a:pt x="1849" y="47"/>
                  </a:lnTo>
                  <a:lnTo>
                    <a:pt x="1848" y="48"/>
                  </a:lnTo>
                  <a:lnTo>
                    <a:pt x="1848" y="51"/>
                  </a:lnTo>
                  <a:lnTo>
                    <a:pt x="1848" y="51"/>
                  </a:lnTo>
                  <a:lnTo>
                    <a:pt x="1848" y="51"/>
                  </a:lnTo>
                  <a:lnTo>
                    <a:pt x="1846" y="51"/>
                  </a:lnTo>
                  <a:lnTo>
                    <a:pt x="1844" y="51"/>
                  </a:lnTo>
                  <a:lnTo>
                    <a:pt x="1841" y="50"/>
                  </a:lnTo>
                  <a:lnTo>
                    <a:pt x="1836" y="50"/>
                  </a:lnTo>
                  <a:lnTo>
                    <a:pt x="1836" y="50"/>
                  </a:lnTo>
                  <a:lnTo>
                    <a:pt x="1828" y="56"/>
                  </a:lnTo>
                  <a:lnTo>
                    <a:pt x="1824" y="58"/>
                  </a:lnTo>
                  <a:lnTo>
                    <a:pt x="1822" y="63"/>
                  </a:lnTo>
                  <a:lnTo>
                    <a:pt x="1822" y="63"/>
                  </a:lnTo>
                  <a:lnTo>
                    <a:pt x="1821" y="68"/>
                  </a:lnTo>
                  <a:lnTo>
                    <a:pt x="1822" y="70"/>
                  </a:lnTo>
                  <a:lnTo>
                    <a:pt x="1822" y="70"/>
                  </a:lnTo>
                  <a:lnTo>
                    <a:pt x="1824" y="73"/>
                  </a:lnTo>
                  <a:lnTo>
                    <a:pt x="1825" y="76"/>
                  </a:lnTo>
                  <a:lnTo>
                    <a:pt x="1826" y="77"/>
                  </a:lnTo>
                  <a:lnTo>
                    <a:pt x="1826" y="77"/>
                  </a:lnTo>
                  <a:lnTo>
                    <a:pt x="1834" y="77"/>
                  </a:lnTo>
                  <a:lnTo>
                    <a:pt x="1836" y="80"/>
                  </a:lnTo>
                  <a:lnTo>
                    <a:pt x="1839" y="83"/>
                  </a:lnTo>
                  <a:lnTo>
                    <a:pt x="1839" y="83"/>
                  </a:lnTo>
                  <a:lnTo>
                    <a:pt x="1838" y="83"/>
                  </a:lnTo>
                  <a:lnTo>
                    <a:pt x="1838" y="84"/>
                  </a:lnTo>
                  <a:lnTo>
                    <a:pt x="1834" y="84"/>
                  </a:lnTo>
                  <a:lnTo>
                    <a:pt x="1821" y="86"/>
                  </a:lnTo>
                  <a:lnTo>
                    <a:pt x="1821" y="86"/>
                  </a:lnTo>
                  <a:lnTo>
                    <a:pt x="1812" y="88"/>
                  </a:lnTo>
                  <a:lnTo>
                    <a:pt x="1808" y="91"/>
                  </a:lnTo>
                  <a:lnTo>
                    <a:pt x="1808" y="91"/>
                  </a:lnTo>
                  <a:lnTo>
                    <a:pt x="1792" y="91"/>
                  </a:lnTo>
                  <a:lnTo>
                    <a:pt x="1775" y="91"/>
                  </a:lnTo>
                  <a:lnTo>
                    <a:pt x="1775" y="91"/>
                  </a:lnTo>
                  <a:lnTo>
                    <a:pt x="1754" y="90"/>
                  </a:lnTo>
                  <a:lnTo>
                    <a:pt x="1742" y="88"/>
                  </a:lnTo>
                  <a:lnTo>
                    <a:pt x="1738" y="90"/>
                  </a:lnTo>
                  <a:lnTo>
                    <a:pt x="1736" y="90"/>
                  </a:lnTo>
                  <a:lnTo>
                    <a:pt x="1736" y="90"/>
                  </a:lnTo>
                  <a:lnTo>
                    <a:pt x="1734" y="93"/>
                  </a:lnTo>
                  <a:lnTo>
                    <a:pt x="1732" y="91"/>
                  </a:lnTo>
                  <a:lnTo>
                    <a:pt x="1729" y="91"/>
                  </a:lnTo>
                  <a:lnTo>
                    <a:pt x="1726" y="93"/>
                  </a:lnTo>
                  <a:lnTo>
                    <a:pt x="1726" y="93"/>
                  </a:lnTo>
                  <a:lnTo>
                    <a:pt x="1724" y="94"/>
                  </a:lnTo>
                  <a:lnTo>
                    <a:pt x="1724" y="97"/>
                  </a:lnTo>
                  <a:lnTo>
                    <a:pt x="1725" y="100"/>
                  </a:lnTo>
                  <a:lnTo>
                    <a:pt x="1726" y="101"/>
                  </a:lnTo>
                  <a:lnTo>
                    <a:pt x="1726" y="101"/>
                  </a:lnTo>
                  <a:lnTo>
                    <a:pt x="1731" y="103"/>
                  </a:lnTo>
                  <a:lnTo>
                    <a:pt x="1734" y="104"/>
                  </a:lnTo>
                  <a:lnTo>
                    <a:pt x="1736" y="108"/>
                  </a:lnTo>
                  <a:lnTo>
                    <a:pt x="1736" y="108"/>
                  </a:lnTo>
                  <a:lnTo>
                    <a:pt x="1739" y="116"/>
                  </a:lnTo>
                  <a:lnTo>
                    <a:pt x="1742" y="117"/>
                  </a:lnTo>
                  <a:lnTo>
                    <a:pt x="1748" y="118"/>
                  </a:lnTo>
                  <a:lnTo>
                    <a:pt x="1748" y="118"/>
                  </a:lnTo>
                  <a:lnTo>
                    <a:pt x="1756" y="120"/>
                  </a:lnTo>
                  <a:lnTo>
                    <a:pt x="1764" y="121"/>
                  </a:lnTo>
                  <a:lnTo>
                    <a:pt x="1769" y="123"/>
                  </a:lnTo>
                  <a:lnTo>
                    <a:pt x="1776" y="126"/>
                  </a:lnTo>
                  <a:lnTo>
                    <a:pt x="1776" y="126"/>
                  </a:lnTo>
                  <a:lnTo>
                    <a:pt x="1784" y="128"/>
                  </a:lnTo>
                  <a:lnTo>
                    <a:pt x="1792" y="131"/>
                  </a:lnTo>
                  <a:lnTo>
                    <a:pt x="1796" y="134"/>
                  </a:lnTo>
                  <a:lnTo>
                    <a:pt x="1796" y="136"/>
                  </a:lnTo>
                  <a:lnTo>
                    <a:pt x="1794" y="137"/>
                  </a:lnTo>
                  <a:lnTo>
                    <a:pt x="1794" y="137"/>
                  </a:lnTo>
                  <a:lnTo>
                    <a:pt x="1788" y="139"/>
                  </a:lnTo>
                  <a:lnTo>
                    <a:pt x="1781" y="139"/>
                  </a:lnTo>
                  <a:lnTo>
                    <a:pt x="1774" y="137"/>
                  </a:lnTo>
                  <a:lnTo>
                    <a:pt x="1768" y="134"/>
                  </a:lnTo>
                  <a:lnTo>
                    <a:pt x="1768" y="134"/>
                  </a:lnTo>
                  <a:lnTo>
                    <a:pt x="1759" y="131"/>
                  </a:lnTo>
                  <a:lnTo>
                    <a:pt x="1748" y="128"/>
                  </a:lnTo>
                  <a:lnTo>
                    <a:pt x="1736" y="126"/>
                  </a:lnTo>
                  <a:lnTo>
                    <a:pt x="1731" y="124"/>
                  </a:lnTo>
                  <a:lnTo>
                    <a:pt x="1731" y="124"/>
                  </a:lnTo>
                  <a:lnTo>
                    <a:pt x="1725" y="123"/>
                  </a:lnTo>
                  <a:lnTo>
                    <a:pt x="1715" y="121"/>
                  </a:lnTo>
                  <a:lnTo>
                    <a:pt x="1705" y="120"/>
                  </a:lnTo>
                  <a:lnTo>
                    <a:pt x="1702" y="120"/>
                  </a:lnTo>
                  <a:lnTo>
                    <a:pt x="1699" y="121"/>
                  </a:lnTo>
                  <a:lnTo>
                    <a:pt x="1699" y="121"/>
                  </a:lnTo>
                  <a:lnTo>
                    <a:pt x="1699" y="123"/>
                  </a:lnTo>
                  <a:lnTo>
                    <a:pt x="1701" y="123"/>
                  </a:lnTo>
                  <a:lnTo>
                    <a:pt x="1704" y="126"/>
                  </a:lnTo>
                  <a:lnTo>
                    <a:pt x="1708" y="127"/>
                  </a:lnTo>
                  <a:lnTo>
                    <a:pt x="1708" y="128"/>
                  </a:lnTo>
                  <a:lnTo>
                    <a:pt x="1708" y="131"/>
                  </a:lnTo>
                  <a:lnTo>
                    <a:pt x="1708" y="131"/>
                  </a:lnTo>
                  <a:lnTo>
                    <a:pt x="1706" y="133"/>
                  </a:lnTo>
                  <a:lnTo>
                    <a:pt x="1704" y="133"/>
                  </a:lnTo>
                  <a:lnTo>
                    <a:pt x="1699" y="133"/>
                  </a:lnTo>
                  <a:lnTo>
                    <a:pt x="1692" y="130"/>
                  </a:lnTo>
                  <a:lnTo>
                    <a:pt x="1692" y="130"/>
                  </a:lnTo>
                  <a:lnTo>
                    <a:pt x="1682" y="128"/>
                  </a:lnTo>
                  <a:lnTo>
                    <a:pt x="1678" y="128"/>
                  </a:lnTo>
                  <a:lnTo>
                    <a:pt x="1675" y="130"/>
                  </a:lnTo>
                  <a:lnTo>
                    <a:pt x="1675" y="130"/>
                  </a:lnTo>
                  <a:lnTo>
                    <a:pt x="1674" y="131"/>
                  </a:lnTo>
                  <a:lnTo>
                    <a:pt x="1671" y="134"/>
                  </a:lnTo>
                  <a:lnTo>
                    <a:pt x="1669" y="136"/>
                  </a:lnTo>
                  <a:lnTo>
                    <a:pt x="1669" y="137"/>
                  </a:lnTo>
                  <a:lnTo>
                    <a:pt x="1675" y="139"/>
                  </a:lnTo>
                  <a:lnTo>
                    <a:pt x="1675" y="139"/>
                  </a:lnTo>
                  <a:lnTo>
                    <a:pt x="1712" y="146"/>
                  </a:lnTo>
                  <a:lnTo>
                    <a:pt x="1731" y="151"/>
                  </a:lnTo>
                  <a:lnTo>
                    <a:pt x="1736" y="153"/>
                  </a:lnTo>
                  <a:lnTo>
                    <a:pt x="1739" y="154"/>
                  </a:lnTo>
                  <a:lnTo>
                    <a:pt x="1739" y="154"/>
                  </a:lnTo>
                  <a:lnTo>
                    <a:pt x="1738" y="156"/>
                  </a:lnTo>
                  <a:lnTo>
                    <a:pt x="1738" y="157"/>
                  </a:lnTo>
                  <a:lnTo>
                    <a:pt x="1734" y="157"/>
                  </a:lnTo>
                  <a:lnTo>
                    <a:pt x="1728" y="156"/>
                  </a:lnTo>
                  <a:lnTo>
                    <a:pt x="1722" y="154"/>
                  </a:lnTo>
                  <a:lnTo>
                    <a:pt x="1722" y="154"/>
                  </a:lnTo>
                  <a:lnTo>
                    <a:pt x="1716" y="153"/>
                  </a:lnTo>
                  <a:lnTo>
                    <a:pt x="1711" y="151"/>
                  </a:lnTo>
                  <a:lnTo>
                    <a:pt x="1701" y="153"/>
                  </a:lnTo>
                  <a:lnTo>
                    <a:pt x="1701" y="153"/>
                  </a:lnTo>
                  <a:lnTo>
                    <a:pt x="1694" y="153"/>
                  </a:lnTo>
                  <a:lnTo>
                    <a:pt x="1685" y="151"/>
                  </a:lnTo>
                  <a:lnTo>
                    <a:pt x="1669" y="146"/>
                  </a:lnTo>
                  <a:lnTo>
                    <a:pt x="1669" y="146"/>
                  </a:lnTo>
                  <a:lnTo>
                    <a:pt x="1665" y="143"/>
                  </a:lnTo>
                  <a:lnTo>
                    <a:pt x="1664" y="141"/>
                  </a:lnTo>
                  <a:lnTo>
                    <a:pt x="1661" y="137"/>
                  </a:lnTo>
                  <a:lnTo>
                    <a:pt x="1661" y="137"/>
                  </a:lnTo>
                  <a:lnTo>
                    <a:pt x="1661" y="134"/>
                  </a:lnTo>
                  <a:lnTo>
                    <a:pt x="1662" y="133"/>
                  </a:lnTo>
                  <a:lnTo>
                    <a:pt x="1662" y="130"/>
                  </a:lnTo>
                  <a:lnTo>
                    <a:pt x="1661" y="127"/>
                  </a:lnTo>
                  <a:lnTo>
                    <a:pt x="1661" y="127"/>
                  </a:lnTo>
                  <a:lnTo>
                    <a:pt x="1651" y="116"/>
                  </a:lnTo>
                  <a:lnTo>
                    <a:pt x="1644" y="110"/>
                  </a:lnTo>
                  <a:lnTo>
                    <a:pt x="1641" y="108"/>
                  </a:lnTo>
                  <a:lnTo>
                    <a:pt x="1638" y="108"/>
                  </a:lnTo>
                  <a:lnTo>
                    <a:pt x="1638" y="108"/>
                  </a:lnTo>
                  <a:lnTo>
                    <a:pt x="1638" y="108"/>
                  </a:lnTo>
                  <a:lnTo>
                    <a:pt x="1638" y="111"/>
                  </a:lnTo>
                  <a:lnTo>
                    <a:pt x="1641" y="116"/>
                  </a:lnTo>
                  <a:lnTo>
                    <a:pt x="1646" y="121"/>
                  </a:lnTo>
                  <a:lnTo>
                    <a:pt x="1648" y="124"/>
                  </a:lnTo>
                  <a:lnTo>
                    <a:pt x="1648" y="126"/>
                  </a:lnTo>
                  <a:lnTo>
                    <a:pt x="1648" y="126"/>
                  </a:lnTo>
                  <a:lnTo>
                    <a:pt x="1648" y="128"/>
                  </a:lnTo>
                  <a:lnTo>
                    <a:pt x="1646" y="130"/>
                  </a:lnTo>
                  <a:lnTo>
                    <a:pt x="1644" y="130"/>
                  </a:lnTo>
                  <a:lnTo>
                    <a:pt x="1639" y="130"/>
                  </a:lnTo>
                  <a:lnTo>
                    <a:pt x="1636" y="131"/>
                  </a:lnTo>
                  <a:lnTo>
                    <a:pt x="1636" y="131"/>
                  </a:lnTo>
                  <a:lnTo>
                    <a:pt x="1635" y="133"/>
                  </a:lnTo>
                  <a:lnTo>
                    <a:pt x="1631" y="133"/>
                  </a:lnTo>
                  <a:lnTo>
                    <a:pt x="1628" y="134"/>
                  </a:lnTo>
                  <a:lnTo>
                    <a:pt x="1625" y="137"/>
                  </a:lnTo>
                  <a:lnTo>
                    <a:pt x="1625" y="137"/>
                  </a:lnTo>
                  <a:lnTo>
                    <a:pt x="1624" y="140"/>
                  </a:lnTo>
                  <a:lnTo>
                    <a:pt x="1622" y="143"/>
                  </a:lnTo>
                  <a:lnTo>
                    <a:pt x="1624" y="146"/>
                  </a:lnTo>
                  <a:lnTo>
                    <a:pt x="1629" y="149"/>
                  </a:lnTo>
                  <a:lnTo>
                    <a:pt x="1629" y="149"/>
                  </a:lnTo>
                  <a:lnTo>
                    <a:pt x="1649" y="157"/>
                  </a:lnTo>
                  <a:lnTo>
                    <a:pt x="1658" y="161"/>
                  </a:lnTo>
                  <a:lnTo>
                    <a:pt x="1659" y="164"/>
                  </a:lnTo>
                  <a:lnTo>
                    <a:pt x="1659" y="166"/>
                  </a:lnTo>
                  <a:lnTo>
                    <a:pt x="1659" y="166"/>
                  </a:lnTo>
                  <a:lnTo>
                    <a:pt x="1658" y="169"/>
                  </a:lnTo>
                  <a:lnTo>
                    <a:pt x="1656" y="170"/>
                  </a:lnTo>
                  <a:lnTo>
                    <a:pt x="1655" y="171"/>
                  </a:lnTo>
                  <a:lnTo>
                    <a:pt x="1655" y="176"/>
                  </a:lnTo>
                  <a:lnTo>
                    <a:pt x="1655" y="176"/>
                  </a:lnTo>
                  <a:lnTo>
                    <a:pt x="1656" y="187"/>
                  </a:lnTo>
                  <a:lnTo>
                    <a:pt x="1658" y="191"/>
                  </a:lnTo>
                  <a:lnTo>
                    <a:pt x="1659" y="193"/>
                  </a:lnTo>
                  <a:lnTo>
                    <a:pt x="1661" y="193"/>
                  </a:lnTo>
                  <a:lnTo>
                    <a:pt x="1661" y="193"/>
                  </a:lnTo>
                  <a:lnTo>
                    <a:pt x="1665" y="194"/>
                  </a:lnTo>
                  <a:lnTo>
                    <a:pt x="1668" y="197"/>
                  </a:lnTo>
                  <a:lnTo>
                    <a:pt x="1669" y="200"/>
                  </a:lnTo>
                  <a:lnTo>
                    <a:pt x="1674" y="203"/>
                  </a:lnTo>
                  <a:lnTo>
                    <a:pt x="1674" y="203"/>
                  </a:lnTo>
                  <a:lnTo>
                    <a:pt x="1679" y="204"/>
                  </a:lnTo>
                  <a:lnTo>
                    <a:pt x="1685" y="204"/>
                  </a:lnTo>
                  <a:lnTo>
                    <a:pt x="1699" y="200"/>
                  </a:lnTo>
                  <a:lnTo>
                    <a:pt x="1699" y="200"/>
                  </a:lnTo>
                  <a:lnTo>
                    <a:pt x="1708" y="199"/>
                  </a:lnTo>
                  <a:lnTo>
                    <a:pt x="1716" y="199"/>
                  </a:lnTo>
                  <a:lnTo>
                    <a:pt x="1731" y="201"/>
                  </a:lnTo>
                  <a:lnTo>
                    <a:pt x="1731" y="201"/>
                  </a:lnTo>
                  <a:lnTo>
                    <a:pt x="1742" y="203"/>
                  </a:lnTo>
                  <a:lnTo>
                    <a:pt x="1746" y="204"/>
                  </a:lnTo>
                  <a:lnTo>
                    <a:pt x="1749" y="206"/>
                  </a:lnTo>
                  <a:lnTo>
                    <a:pt x="1749" y="206"/>
                  </a:lnTo>
                  <a:lnTo>
                    <a:pt x="1751" y="210"/>
                  </a:lnTo>
                  <a:lnTo>
                    <a:pt x="1752" y="213"/>
                  </a:lnTo>
                  <a:lnTo>
                    <a:pt x="1755" y="216"/>
                  </a:lnTo>
                  <a:lnTo>
                    <a:pt x="1755" y="216"/>
                  </a:lnTo>
                  <a:lnTo>
                    <a:pt x="1761" y="219"/>
                  </a:lnTo>
                  <a:lnTo>
                    <a:pt x="1762" y="219"/>
                  </a:lnTo>
                  <a:lnTo>
                    <a:pt x="1762" y="220"/>
                  </a:lnTo>
                  <a:lnTo>
                    <a:pt x="1762" y="220"/>
                  </a:lnTo>
                  <a:lnTo>
                    <a:pt x="1761" y="221"/>
                  </a:lnTo>
                  <a:lnTo>
                    <a:pt x="1759" y="221"/>
                  </a:lnTo>
                  <a:lnTo>
                    <a:pt x="1758" y="221"/>
                  </a:lnTo>
                  <a:lnTo>
                    <a:pt x="1758" y="224"/>
                  </a:lnTo>
                  <a:lnTo>
                    <a:pt x="1758" y="224"/>
                  </a:lnTo>
                  <a:lnTo>
                    <a:pt x="1759" y="226"/>
                  </a:lnTo>
                  <a:lnTo>
                    <a:pt x="1762" y="227"/>
                  </a:lnTo>
                  <a:lnTo>
                    <a:pt x="1771" y="231"/>
                  </a:lnTo>
                  <a:lnTo>
                    <a:pt x="1781" y="234"/>
                  </a:lnTo>
                  <a:lnTo>
                    <a:pt x="1786" y="237"/>
                  </a:lnTo>
                  <a:lnTo>
                    <a:pt x="1786" y="237"/>
                  </a:lnTo>
                  <a:lnTo>
                    <a:pt x="1788" y="239"/>
                  </a:lnTo>
                  <a:lnTo>
                    <a:pt x="1786" y="240"/>
                  </a:lnTo>
                  <a:lnTo>
                    <a:pt x="1782" y="240"/>
                  </a:lnTo>
                  <a:lnTo>
                    <a:pt x="1768" y="239"/>
                  </a:lnTo>
                  <a:lnTo>
                    <a:pt x="1768" y="239"/>
                  </a:lnTo>
                  <a:lnTo>
                    <a:pt x="1758" y="239"/>
                  </a:lnTo>
                  <a:lnTo>
                    <a:pt x="1754" y="237"/>
                  </a:lnTo>
                  <a:lnTo>
                    <a:pt x="1752" y="234"/>
                  </a:lnTo>
                  <a:lnTo>
                    <a:pt x="1752" y="234"/>
                  </a:lnTo>
                  <a:lnTo>
                    <a:pt x="1751" y="223"/>
                  </a:lnTo>
                  <a:lnTo>
                    <a:pt x="1749" y="219"/>
                  </a:lnTo>
                  <a:lnTo>
                    <a:pt x="1746" y="216"/>
                  </a:lnTo>
                  <a:lnTo>
                    <a:pt x="1746" y="216"/>
                  </a:lnTo>
                  <a:lnTo>
                    <a:pt x="1742" y="214"/>
                  </a:lnTo>
                  <a:lnTo>
                    <a:pt x="1739" y="214"/>
                  </a:lnTo>
                  <a:lnTo>
                    <a:pt x="1736" y="214"/>
                  </a:lnTo>
                  <a:lnTo>
                    <a:pt x="1734" y="213"/>
                  </a:lnTo>
                  <a:lnTo>
                    <a:pt x="1734" y="213"/>
                  </a:lnTo>
                  <a:lnTo>
                    <a:pt x="1731" y="207"/>
                  </a:lnTo>
                  <a:lnTo>
                    <a:pt x="1726" y="204"/>
                  </a:lnTo>
                  <a:lnTo>
                    <a:pt x="1722" y="203"/>
                  </a:lnTo>
                  <a:lnTo>
                    <a:pt x="1722" y="203"/>
                  </a:lnTo>
                  <a:lnTo>
                    <a:pt x="1716" y="204"/>
                  </a:lnTo>
                  <a:lnTo>
                    <a:pt x="1712" y="206"/>
                  </a:lnTo>
                  <a:lnTo>
                    <a:pt x="1709" y="207"/>
                  </a:lnTo>
                  <a:lnTo>
                    <a:pt x="1705" y="209"/>
                  </a:lnTo>
                  <a:lnTo>
                    <a:pt x="1705" y="209"/>
                  </a:lnTo>
                  <a:lnTo>
                    <a:pt x="1699" y="207"/>
                  </a:lnTo>
                  <a:lnTo>
                    <a:pt x="1696" y="207"/>
                  </a:lnTo>
                  <a:lnTo>
                    <a:pt x="1694" y="209"/>
                  </a:lnTo>
                  <a:lnTo>
                    <a:pt x="1694" y="209"/>
                  </a:lnTo>
                  <a:lnTo>
                    <a:pt x="1688" y="210"/>
                  </a:lnTo>
                  <a:lnTo>
                    <a:pt x="1686" y="211"/>
                  </a:lnTo>
                  <a:lnTo>
                    <a:pt x="1688" y="216"/>
                  </a:lnTo>
                  <a:lnTo>
                    <a:pt x="1688" y="216"/>
                  </a:lnTo>
                  <a:lnTo>
                    <a:pt x="1692" y="220"/>
                  </a:lnTo>
                  <a:lnTo>
                    <a:pt x="1699" y="224"/>
                  </a:lnTo>
                  <a:lnTo>
                    <a:pt x="1705" y="230"/>
                  </a:lnTo>
                  <a:lnTo>
                    <a:pt x="1706" y="231"/>
                  </a:lnTo>
                  <a:lnTo>
                    <a:pt x="1706" y="234"/>
                  </a:lnTo>
                  <a:lnTo>
                    <a:pt x="1706" y="234"/>
                  </a:lnTo>
                  <a:lnTo>
                    <a:pt x="1705" y="236"/>
                  </a:lnTo>
                  <a:lnTo>
                    <a:pt x="1705" y="237"/>
                  </a:lnTo>
                  <a:lnTo>
                    <a:pt x="1701" y="237"/>
                  </a:lnTo>
                  <a:lnTo>
                    <a:pt x="1698" y="239"/>
                  </a:lnTo>
                  <a:lnTo>
                    <a:pt x="1698" y="240"/>
                  </a:lnTo>
                  <a:lnTo>
                    <a:pt x="1698" y="244"/>
                  </a:lnTo>
                  <a:lnTo>
                    <a:pt x="1698" y="244"/>
                  </a:lnTo>
                  <a:lnTo>
                    <a:pt x="1696" y="251"/>
                  </a:lnTo>
                  <a:lnTo>
                    <a:pt x="1695" y="256"/>
                  </a:lnTo>
                  <a:lnTo>
                    <a:pt x="1692" y="259"/>
                  </a:lnTo>
                  <a:lnTo>
                    <a:pt x="1686" y="260"/>
                  </a:lnTo>
                  <a:lnTo>
                    <a:pt x="1686" y="260"/>
                  </a:lnTo>
                  <a:lnTo>
                    <a:pt x="1684" y="261"/>
                  </a:lnTo>
                  <a:lnTo>
                    <a:pt x="1682" y="263"/>
                  </a:lnTo>
                  <a:lnTo>
                    <a:pt x="1681" y="269"/>
                  </a:lnTo>
                  <a:lnTo>
                    <a:pt x="1679" y="273"/>
                  </a:lnTo>
                  <a:lnTo>
                    <a:pt x="1679" y="274"/>
                  </a:lnTo>
                  <a:lnTo>
                    <a:pt x="1678" y="276"/>
                  </a:lnTo>
                  <a:lnTo>
                    <a:pt x="1678" y="276"/>
                  </a:lnTo>
                  <a:lnTo>
                    <a:pt x="1638" y="270"/>
                  </a:lnTo>
                  <a:lnTo>
                    <a:pt x="1638" y="270"/>
                  </a:lnTo>
                  <a:lnTo>
                    <a:pt x="1622" y="267"/>
                  </a:lnTo>
                  <a:lnTo>
                    <a:pt x="1614" y="264"/>
                  </a:lnTo>
                  <a:lnTo>
                    <a:pt x="1612" y="263"/>
                  </a:lnTo>
                  <a:lnTo>
                    <a:pt x="1611" y="261"/>
                  </a:lnTo>
                  <a:lnTo>
                    <a:pt x="1611" y="261"/>
                  </a:lnTo>
                  <a:lnTo>
                    <a:pt x="1611" y="259"/>
                  </a:lnTo>
                  <a:lnTo>
                    <a:pt x="1614" y="256"/>
                  </a:lnTo>
                  <a:lnTo>
                    <a:pt x="1616" y="256"/>
                  </a:lnTo>
                  <a:lnTo>
                    <a:pt x="1622" y="257"/>
                  </a:lnTo>
                  <a:lnTo>
                    <a:pt x="1622" y="257"/>
                  </a:lnTo>
                  <a:lnTo>
                    <a:pt x="1632" y="263"/>
                  </a:lnTo>
                  <a:lnTo>
                    <a:pt x="1635" y="264"/>
                  </a:lnTo>
                  <a:lnTo>
                    <a:pt x="1639" y="264"/>
                  </a:lnTo>
                  <a:lnTo>
                    <a:pt x="1639" y="264"/>
                  </a:lnTo>
                  <a:lnTo>
                    <a:pt x="1646" y="260"/>
                  </a:lnTo>
                  <a:lnTo>
                    <a:pt x="1649" y="259"/>
                  </a:lnTo>
                  <a:lnTo>
                    <a:pt x="1654" y="259"/>
                  </a:lnTo>
                  <a:lnTo>
                    <a:pt x="1654" y="259"/>
                  </a:lnTo>
                  <a:lnTo>
                    <a:pt x="1659" y="257"/>
                  </a:lnTo>
                  <a:lnTo>
                    <a:pt x="1662" y="256"/>
                  </a:lnTo>
                  <a:lnTo>
                    <a:pt x="1664" y="251"/>
                  </a:lnTo>
                  <a:lnTo>
                    <a:pt x="1664" y="251"/>
                  </a:lnTo>
                  <a:lnTo>
                    <a:pt x="1665" y="244"/>
                  </a:lnTo>
                  <a:lnTo>
                    <a:pt x="1666" y="241"/>
                  </a:lnTo>
                  <a:lnTo>
                    <a:pt x="1669" y="240"/>
                  </a:lnTo>
                  <a:lnTo>
                    <a:pt x="1669" y="240"/>
                  </a:lnTo>
                  <a:lnTo>
                    <a:pt x="1675" y="237"/>
                  </a:lnTo>
                  <a:lnTo>
                    <a:pt x="1676" y="237"/>
                  </a:lnTo>
                  <a:lnTo>
                    <a:pt x="1676" y="234"/>
                  </a:lnTo>
                  <a:lnTo>
                    <a:pt x="1676" y="234"/>
                  </a:lnTo>
                  <a:lnTo>
                    <a:pt x="1675" y="230"/>
                  </a:lnTo>
                  <a:lnTo>
                    <a:pt x="1672" y="227"/>
                  </a:lnTo>
                  <a:lnTo>
                    <a:pt x="1671" y="224"/>
                  </a:lnTo>
                  <a:lnTo>
                    <a:pt x="1671" y="223"/>
                  </a:lnTo>
                  <a:lnTo>
                    <a:pt x="1671" y="223"/>
                  </a:lnTo>
                  <a:lnTo>
                    <a:pt x="1674" y="219"/>
                  </a:lnTo>
                  <a:lnTo>
                    <a:pt x="1675" y="217"/>
                  </a:lnTo>
                  <a:lnTo>
                    <a:pt x="1674" y="216"/>
                  </a:lnTo>
                  <a:lnTo>
                    <a:pt x="1674" y="216"/>
                  </a:lnTo>
                  <a:lnTo>
                    <a:pt x="1662" y="210"/>
                  </a:lnTo>
                  <a:lnTo>
                    <a:pt x="1655" y="207"/>
                  </a:lnTo>
                  <a:lnTo>
                    <a:pt x="1649" y="204"/>
                  </a:lnTo>
                  <a:lnTo>
                    <a:pt x="1649" y="204"/>
                  </a:lnTo>
                  <a:lnTo>
                    <a:pt x="1648" y="200"/>
                  </a:lnTo>
                  <a:lnTo>
                    <a:pt x="1646" y="197"/>
                  </a:lnTo>
                  <a:lnTo>
                    <a:pt x="1645" y="193"/>
                  </a:lnTo>
                  <a:lnTo>
                    <a:pt x="1642" y="190"/>
                  </a:lnTo>
                  <a:lnTo>
                    <a:pt x="1642" y="190"/>
                  </a:lnTo>
                  <a:lnTo>
                    <a:pt x="1636" y="183"/>
                  </a:lnTo>
                  <a:lnTo>
                    <a:pt x="1635" y="179"/>
                  </a:lnTo>
                  <a:lnTo>
                    <a:pt x="1634" y="174"/>
                  </a:lnTo>
                  <a:lnTo>
                    <a:pt x="1634" y="174"/>
                  </a:lnTo>
                  <a:lnTo>
                    <a:pt x="1632" y="170"/>
                  </a:lnTo>
                  <a:lnTo>
                    <a:pt x="1632" y="164"/>
                  </a:lnTo>
                  <a:lnTo>
                    <a:pt x="1631" y="160"/>
                  </a:lnTo>
                  <a:lnTo>
                    <a:pt x="1629" y="159"/>
                  </a:lnTo>
                  <a:lnTo>
                    <a:pt x="1626" y="156"/>
                  </a:lnTo>
                  <a:lnTo>
                    <a:pt x="1626" y="156"/>
                  </a:lnTo>
                  <a:lnTo>
                    <a:pt x="1615" y="150"/>
                  </a:lnTo>
                  <a:lnTo>
                    <a:pt x="1606" y="146"/>
                  </a:lnTo>
                  <a:lnTo>
                    <a:pt x="1606" y="146"/>
                  </a:lnTo>
                  <a:lnTo>
                    <a:pt x="1604" y="143"/>
                  </a:lnTo>
                  <a:lnTo>
                    <a:pt x="1605" y="140"/>
                  </a:lnTo>
                  <a:lnTo>
                    <a:pt x="1605" y="140"/>
                  </a:lnTo>
                  <a:lnTo>
                    <a:pt x="1608" y="137"/>
                  </a:lnTo>
                  <a:lnTo>
                    <a:pt x="1609" y="131"/>
                  </a:lnTo>
                  <a:lnTo>
                    <a:pt x="1609" y="126"/>
                  </a:lnTo>
                  <a:lnTo>
                    <a:pt x="1608" y="121"/>
                  </a:lnTo>
                  <a:lnTo>
                    <a:pt x="1608" y="121"/>
                  </a:lnTo>
                  <a:lnTo>
                    <a:pt x="1604" y="118"/>
                  </a:lnTo>
                  <a:lnTo>
                    <a:pt x="1601" y="116"/>
                  </a:lnTo>
                  <a:lnTo>
                    <a:pt x="1596" y="114"/>
                  </a:lnTo>
                  <a:lnTo>
                    <a:pt x="1594" y="111"/>
                  </a:lnTo>
                  <a:lnTo>
                    <a:pt x="1594" y="111"/>
                  </a:lnTo>
                  <a:lnTo>
                    <a:pt x="1592" y="110"/>
                  </a:lnTo>
                  <a:lnTo>
                    <a:pt x="1589" y="110"/>
                  </a:lnTo>
                  <a:lnTo>
                    <a:pt x="1582" y="111"/>
                  </a:lnTo>
                  <a:lnTo>
                    <a:pt x="1582" y="111"/>
                  </a:lnTo>
                  <a:lnTo>
                    <a:pt x="1576" y="110"/>
                  </a:lnTo>
                  <a:lnTo>
                    <a:pt x="1572" y="110"/>
                  </a:lnTo>
                  <a:lnTo>
                    <a:pt x="1572" y="110"/>
                  </a:lnTo>
                  <a:lnTo>
                    <a:pt x="1554" y="108"/>
                  </a:lnTo>
                  <a:lnTo>
                    <a:pt x="1542" y="108"/>
                  </a:lnTo>
                  <a:lnTo>
                    <a:pt x="1536" y="110"/>
                  </a:lnTo>
                  <a:lnTo>
                    <a:pt x="1536" y="110"/>
                  </a:lnTo>
                  <a:lnTo>
                    <a:pt x="1534" y="111"/>
                  </a:lnTo>
                  <a:lnTo>
                    <a:pt x="1532" y="114"/>
                  </a:lnTo>
                  <a:lnTo>
                    <a:pt x="1532" y="118"/>
                  </a:lnTo>
                  <a:lnTo>
                    <a:pt x="1534" y="124"/>
                  </a:lnTo>
                  <a:lnTo>
                    <a:pt x="1534" y="124"/>
                  </a:lnTo>
                  <a:lnTo>
                    <a:pt x="1536" y="136"/>
                  </a:lnTo>
                  <a:lnTo>
                    <a:pt x="1536" y="139"/>
                  </a:lnTo>
                  <a:lnTo>
                    <a:pt x="1535" y="140"/>
                  </a:lnTo>
                  <a:lnTo>
                    <a:pt x="1534" y="141"/>
                  </a:lnTo>
                  <a:lnTo>
                    <a:pt x="1534" y="141"/>
                  </a:lnTo>
                  <a:lnTo>
                    <a:pt x="1524" y="143"/>
                  </a:lnTo>
                  <a:lnTo>
                    <a:pt x="1518" y="146"/>
                  </a:lnTo>
                  <a:lnTo>
                    <a:pt x="1515" y="147"/>
                  </a:lnTo>
                  <a:lnTo>
                    <a:pt x="1515" y="147"/>
                  </a:lnTo>
                  <a:lnTo>
                    <a:pt x="1511" y="156"/>
                  </a:lnTo>
                  <a:lnTo>
                    <a:pt x="1511" y="159"/>
                  </a:lnTo>
                  <a:lnTo>
                    <a:pt x="1511" y="160"/>
                  </a:lnTo>
                  <a:lnTo>
                    <a:pt x="1514" y="161"/>
                  </a:lnTo>
                  <a:lnTo>
                    <a:pt x="1514" y="161"/>
                  </a:lnTo>
                  <a:lnTo>
                    <a:pt x="1518" y="161"/>
                  </a:lnTo>
                  <a:lnTo>
                    <a:pt x="1524" y="160"/>
                  </a:lnTo>
                  <a:lnTo>
                    <a:pt x="1526" y="160"/>
                  </a:lnTo>
                  <a:lnTo>
                    <a:pt x="1528" y="160"/>
                  </a:lnTo>
                  <a:lnTo>
                    <a:pt x="1528" y="161"/>
                  </a:lnTo>
                  <a:lnTo>
                    <a:pt x="1528" y="161"/>
                  </a:lnTo>
                  <a:lnTo>
                    <a:pt x="1528" y="169"/>
                  </a:lnTo>
                  <a:lnTo>
                    <a:pt x="1528" y="171"/>
                  </a:lnTo>
                  <a:lnTo>
                    <a:pt x="1531" y="173"/>
                  </a:lnTo>
                  <a:lnTo>
                    <a:pt x="1531" y="173"/>
                  </a:lnTo>
                  <a:lnTo>
                    <a:pt x="1536" y="174"/>
                  </a:lnTo>
                  <a:lnTo>
                    <a:pt x="1538" y="174"/>
                  </a:lnTo>
                  <a:lnTo>
                    <a:pt x="1536" y="176"/>
                  </a:lnTo>
                  <a:lnTo>
                    <a:pt x="1536" y="176"/>
                  </a:lnTo>
                  <a:lnTo>
                    <a:pt x="1535" y="179"/>
                  </a:lnTo>
                  <a:lnTo>
                    <a:pt x="1532" y="180"/>
                  </a:lnTo>
                  <a:lnTo>
                    <a:pt x="1529" y="183"/>
                  </a:lnTo>
                  <a:lnTo>
                    <a:pt x="1529" y="183"/>
                  </a:lnTo>
                  <a:lnTo>
                    <a:pt x="1529" y="184"/>
                  </a:lnTo>
                  <a:lnTo>
                    <a:pt x="1529" y="184"/>
                  </a:lnTo>
                  <a:lnTo>
                    <a:pt x="1531" y="187"/>
                  </a:lnTo>
                  <a:lnTo>
                    <a:pt x="1534" y="187"/>
                  </a:lnTo>
                  <a:lnTo>
                    <a:pt x="1535" y="189"/>
                  </a:lnTo>
                  <a:lnTo>
                    <a:pt x="1538" y="190"/>
                  </a:lnTo>
                  <a:lnTo>
                    <a:pt x="1538" y="190"/>
                  </a:lnTo>
                  <a:lnTo>
                    <a:pt x="1539" y="194"/>
                  </a:lnTo>
                  <a:lnTo>
                    <a:pt x="1541" y="196"/>
                  </a:lnTo>
                  <a:lnTo>
                    <a:pt x="1542" y="196"/>
                  </a:lnTo>
                  <a:lnTo>
                    <a:pt x="1542" y="196"/>
                  </a:lnTo>
                  <a:lnTo>
                    <a:pt x="1544" y="194"/>
                  </a:lnTo>
                  <a:lnTo>
                    <a:pt x="1545" y="193"/>
                  </a:lnTo>
                  <a:lnTo>
                    <a:pt x="1546" y="191"/>
                  </a:lnTo>
                  <a:lnTo>
                    <a:pt x="1548" y="190"/>
                  </a:lnTo>
                  <a:lnTo>
                    <a:pt x="1548" y="190"/>
                  </a:lnTo>
                  <a:lnTo>
                    <a:pt x="1554" y="190"/>
                  </a:lnTo>
                  <a:lnTo>
                    <a:pt x="1556" y="190"/>
                  </a:lnTo>
                  <a:lnTo>
                    <a:pt x="1558" y="193"/>
                  </a:lnTo>
                  <a:lnTo>
                    <a:pt x="1558" y="193"/>
                  </a:lnTo>
                  <a:lnTo>
                    <a:pt x="1559" y="196"/>
                  </a:lnTo>
                  <a:lnTo>
                    <a:pt x="1561" y="197"/>
                  </a:lnTo>
                  <a:lnTo>
                    <a:pt x="1566" y="200"/>
                  </a:lnTo>
                  <a:lnTo>
                    <a:pt x="1566" y="200"/>
                  </a:lnTo>
                  <a:lnTo>
                    <a:pt x="1572" y="204"/>
                  </a:lnTo>
                  <a:lnTo>
                    <a:pt x="1578" y="206"/>
                  </a:lnTo>
                  <a:lnTo>
                    <a:pt x="1578" y="206"/>
                  </a:lnTo>
                  <a:lnTo>
                    <a:pt x="1584" y="207"/>
                  </a:lnTo>
                  <a:lnTo>
                    <a:pt x="1585" y="207"/>
                  </a:lnTo>
                  <a:lnTo>
                    <a:pt x="1585" y="210"/>
                  </a:lnTo>
                  <a:lnTo>
                    <a:pt x="1585" y="210"/>
                  </a:lnTo>
                  <a:lnTo>
                    <a:pt x="1581" y="220"/>
                  </a:lnTo>
                  <a:lnTo>
                    <a:pt x="1578" y="223"/>
                  </a:lnTo>
                  <a:lnTo>
                    <a:pt x="1576" y="224"/>
                  </a:lnTo>
                  <a:lnTo>
                    <a:pt x="1575" y="224"/>
                  </a:lnTo>
                  <a:lnTo>
                    <a:pt x="1575" y="224"/>
                  </a:lnTo>
                  <a:lnTo>
                    <a:pt x="1571" y="220"/>
                  </a:lnTo>
                  <a:lnTo>
                    <a:pt x="1568" y="217"/>
                  </a:lnTo>
                  <a:lnTo>
                    <a:pt x="1565" y="217"/>
                  </a:lnTo>
                  <a:lnTo>
                    <a:pt x="1565" y="217"/>
                  </a:lnTo>
                  <a:lnTo>
                    <a:pt x="1558" y="216"/>
                  </a:lnTo>
                  <a:lnTo>
                    <a:pt x="1556" y="214"/>
                  </a:lnTo>
                  <a:lnTo>
                    <a:pt x="1555" y="213"/>
                  </a:lnTo>
                  <a:lnTo>
                    <a:pt x="1555" y="213"/>
                  </a:lnTo>
                  <a:lnTo>
                    <a:pt x="1551" y="209"/>
                  </a:lnTo>
                  <a:lnTo>
                    <a:pt x="1548" y="207"/>
                  </a:lnTo>
                  <a:lnTo>
                    <a:pt x="1544" y="207"/>
                  </a:lnTo>
                  <a:lnTo>
                    <a:pt x="1544" y="207"/>
                  </a:lnTo>
                  <a:lnTo>
                    <a:pt x="1536" y="207"/>
                  </a:lnTo>
                  <a:lnTo>
                    <a:pt x="1522" y="204"/>
                  </a:lnTo>
                  <a:lnTo>
                    <a:pt x="1509" y="201"/>
                  </a:lnTo>
                  <a:lnTo>
                    <a:pt x="1501" y="199"/>
                  </a:lnTo>
                  <a:lnTo>
                    <a:pt x="1501" y="199"/>
                  </a:lnTo>
                  <a:lnTo>
                    <a:pt x="1495" y="196"/>
                  </a:lnTo>
                  <a:lnTo>
                    <a:pt x="1486" y="191"/>
                  </a:lnTo>
                  <a:lnTo>
                    <a:pt x="1476" y="189"/>
                  </a:lnTo>
                  <a:lnTo>
                    <a:pt x="1468" y="187"/>
                  </a:lnTo>
                  <a:lnTo>
                    <a:pt x="1468" y="187"/>
                  </a:lnTo>
                  <a:lnTo>
                    <a:pt x="1449" y="187"/>
                  </a:lnTo>
                  <a:lnTo>
                    <a:pt x="1428" y="184"/>
                  </a:lnTo>
                  <a:lnTo>
                    <a:pt x="1428" y="184"/>
                  </a:lnTo>
                  <a:lnTo>
                    <a:pt x="1421" y="183"/>
                  </a:lnTo>
                  <a:lnTo>
                    <a:pt x="1415" y="183"/>
                  </a:lnTo>
                  <a:lnTo>
                    <a:pt x="1415" y="183"/>
                  </a:lnTo>
                  <a:lnTo>
                    <a:pt x="1416" y="181"/>
                  </a:lnTo>
                  <a:lnTo>
                    <a:pt x="1416" y="181"/>
                  </a:lnTo>
                  <a:lnTo>
                    <a:pt x="1406" y="180"/>
                  </a:lnTo>
                  <a:lnTo>
                    <a:pt x="1406" y="180"/>
                  </a:lnTo>
                  <a:lnTo>
                    <a:pt x="1401" y="179"/>
                  </a:lnTo>
                  <a:lnTo>
                    <a:pt x="1396" y="176"/>
                  </a:lnTo>
                  <a:lnTo>
                    <a:pt x="1396" y="176"/>
                  </a:lnTo>
                  <a:lnTo>
                    <a:pt x="1392" y="176"/>
                  </a:lnTo>
                  <a:lnTo>
                    <a:pt x="1388" y="176"/>
                  </a:lnTo>
                  <a:lnTo>
                    <a:pt x="1388" y="176"/>
                  </a:lnTo>
                  <a:lnTo>
                    <a:pt x="1382" y="173"/>
                  </a:lnTo>
                  <a:lnTo>
                    <a:pt x="1382" y="173"/>
                  </a:lnTo>
                  <a:lnTo>
                    <a:pt x="1376" y="170"/>
                  </a:lnTo>
                  <a:lnTo>
                    <a:pt x="1373" y="170"/>
                  </a:lnTo>
                  <a:lnTo>
                    <a:pt x="1371" y="171"/>
                  </a:lnTo>
                  <a:lnTo>
                    <a:pt x="1371" y="171"/>
                  </a:lnTo>
                  <a:lnTo>
                    <a:pt x="1371" y="174"/>
                  </a:lnTo>
                  <a:lnTo>
                    <a:pt x="1372" y="176"/>
                  </a:lnTo>
                  <a:lnTo>
                    <a:pt x="1376" y="180"/>
                  </a:lnTo>
                  <a:lnTo>
                    <a:pt x="1376" y="180"/>
                  </a:lnTo>
                  <a:lnTo>
                    <a:pt x="1379" y="181"/>
                  </a:lnTo>
                  <a:lnTo>
                    <a:pt x="1382" y="181"/>
                  </a:lnTo>
                  <a:lnTo>
                    <a:pt x="1385" y="181"/>
                  </a:lnTo>
                  <a:lnTo>
                    <a:pt x="1388" y="183"/>
                  </a:lnTo>
                  <a:lnTo>
                    <a:pt x="1388" y="183"/>
                  </a:lnTo>
                  <a:lnTo>
                    <a:pt x="1392" y="186"/>
                  </a:lnTo>
                  <a:lnTo>
                    <a:pt x="1398" y="187"/>
                  </a:lnTo>
                  <a:lnTo>
                    <a:pt x="1398" y="187"/>
                  </a:lnTo>
                  <a:lnTo>
                    <a:pt x="1405" y="187"/>
                  </a:lnTo>
                  <a:lnTo>
                    <a:pt x="1405" y="187"/>
                  </a:lnTo>
                  <a:lnTo>
                    <a:pt x="1408" y="187"/>
                  </a:lnTo>
                  <a:lnTo>
                    <a:pt x="1409" y="186"/>
                  </a:lnTo>
                  <a:lnTo>
                    <a:pt x="1409" y="186"/>
                  </a:lnTo>
                  <a:lnTo>
                    <a:pt x="1409" y="186"/>
                  </a:lnTo>
                  <a:lnTo>
                    <a:pt x="1409" y="186"/>
                  </a:lnTo>
                  <a:lnTo>
                    <a:pt x="1411" y="187"/>
                  </a:lnTo>
                  <a:lnTo>
                    <a:pt x="1411" y="187"/>
                  </a:lnTo>
                  <a:lnTo>
                    <a:pt x="1413" y="193"/>
                  </a:lnTo>
                  <a:lnTo>
                    <a:pt x="1421" y="199"/>
                  </a:lnTo>
                  <a:lnTo>
                    <a:pt x="1421" y="199"/>
                  </a:lnTo>
                  <a:lnTo>
                    <a:pt x="1425" y="200"/>
                  </a:lnTo>
                  <a:lnTo>
                    <a:pt x="1429" y="200"/>
                  </a:lnTo>
                  <a:lnTo>
                    <a:pt x="1431" y="200"/>
                  </a:lnTo>
                  <a:lnTo>
                    <a:pt x="1431" y="203"/>
                  </a:lnTo>
                  <a:lnTo>
                    <a:pt x="1431" y="203"/>
                  </a:lnTo>
                  <a:lnTo>
                    <a:pt x="1428" y="209"/>
                  </a:lnTo>
                  <a:lnTo>
                    <a:pt x="1426" y="211"/>
                  </a:lnTo>
                  <a:lnTo>
                    <a:pt x="1423" y="211"/>
                  </a:lnTo>
                  <a:lnTo>
                    <a:pt x="1423" y="211"/>
                  </a:lnTo>
                  <a:lnTo>
                    <a:pt x="1418" y="210"/>
                  </a:lnTo>
                  <a:lnTo>
                    <a:pt x="1416" y="210"/>
                  </a:lnTo>
                  <a:lnTo>
                    <a:pt x="1415" y="213"/>
                  </a:lnTo>
                  <a:lnTo>
                    <a:pt x="1415" y="213"/>
                  </a:lnTo>
                  <a:lnTo>
                    <a:pt x="1416" y="214"/>
                  </a:lnTo>
                  <a:lnTo>
                    <a:pt x="1416" y="217"/>
                  </a:lnTo>
                  <a:lnTo>
                    <a:pt x="1416" y="219"/>
                  </a:lnTo>
                  <a:lnTo>
                    <a:pt x="1415" y="220"/>
                  </a:lnTo>
                  <a:lnTo>
                    <a:pt x="1415" y="220"/>
                  </a:lnTo>
                  <a:lnTo>
                    <a:pt x="1406" y="221"/>
                  </a:lnTo>
                  <a:lnTo>
                    <a:pt x="1402" y="220"/>
                  </a:lnTo>
                  <a:lnTo>
                    <a:pt x="1401" y="217"/>
                  </a:lnTo>
                  <a:lnTo>
                    <a:pt x="1401" y="217"/>
                  </a:lnTo>
                  <a:lnTo>
                    <a:pt x="1401" y="214"/>
                  </a:lnTo>
                  <a:lnTo>
                    <a:pt x="1401" y="213"/>
                  </a:lnTo>
                  <a:lnTo>
                    <a:pt x="1402" y="210"/>
                  </a:lnTo>
                  <a:lnTo>
                    <a:pt x="1401" y="209"/>
                  </a:lnTo>
                  <a:lnTo>
                    <a:pt x="1401" y="209"/>
                  </a:lnTo>
                  <a:lnTo>
                    <a:pt x="1396" y="207"/>
                  </a:lnTo>
                  <a:lnTo>
                    <a:pt x="1395" y="203"/>
                  </a:lnTo>
                  <a:lnTo>
                    <a:pt x="1395" y="203"/>
                  </a:lnTo>
                  <a:lnTo>
                    <a:pt x="1395" y="200"/>
                  </a:lnTo>
                  <a:lnTo>
                    <a:pt x="1393" y="200"/>
                  </a:lnTo>
                  <a:lnTo>
                    <a:pt x="1389" y="204"/>
                  </a:lnTo>
                  <a:lnTo>
                    <a:pt x="1389" y="204"/>
                  </a:lnTo>
                  <a:lnTo>
                    <a:pt x="1383" y="207"/>
                  </a:lnTo>
                  <a:lnTo>
                    <a:pt x="1378" y="209"/>
                  </a:lnTo>
                  <a:lnTo>
                    <a:pt x="1378" y="209"/>
                  </a:lnTo>
                  <a:lnTo>
                    <a:pt x="1376" y="209"/>
                  </a:lnTo>
                  <a:lnTo>
                    <a:pt x="1375" y="211"/>
                  </a:lnTo>
                  <a:lnTo>
                    <a:pt x="1372" y="214"/>
                  </a:lnTo>
                  <a:lnTo>
                    <a:pt x="1366" y="216"/>
                  </a:lnTo>
                  <a:lnTo>
                    <a:pt x="1366" y="216"/>
                  </a:lnTo>
                  <a:lnTo>
                    <a:pt x="1359" y="216"/>
                  </a:lnTo>
                  <a:lnTo>
                    <a:pt x="1353" y="214"/>
                  </a:lnTo>
                  <a:lnTo>
                    <a:pt x="1348" y="214"/>
                  </a:lnTo>
                  <a:lnTo>
                    <a:pt x="1343" y="214"/>
                  </a:lnTo>
                  <a:lnTo>
                    <a:pt x="1343" y="214"/>
                  </a:lnTo>
                  <a:lnTo>
                    <a:pt x="1332" y="213"/>
                  </a:lnTo>
                  <a:lnTo>
                    <a:pt x="1326" y="213"/>
                  </a:lnTo>
                  <a:lnTo>
                    <a:pt x="1325" y="214"/>
                  </a:lnTo>
                  <a:lnTo>
                    <a:pt x="1325" y="216"/>
                  </a:lnTo>
                  <a:lnTo>
                    <a:pt x="1325" y="216"/>
                  </a:lnTo>
                  <a:lnTo>
                    <a:pt x="1323" y="223"/>
                  </a:lnTo>
                  <a:lnTo>
                    <a:pt x="1323" y="226"/>
                  </a:lnTo>
                  <a:lnTo>
                    <a:pt x="1321" y="226"/>
                  </a:lnTo>
                  <a:lnTo>
                    <a:pt x="1321" y="226"/>
                  </a:lnTo>
                  <a:lnTo>
                    <a:pt x="1309" y="226"/>
                  </a:lnTo>
                  <a:lnTo>
                    <a:pt x="1302" y="224"/>
                  </a:lnTo>
                  <a:lnTo>
                    <a:pt x="1301" y="223"/>
                  </a:lnTo>
                  <a:lnTo>
                    <a:pt x="1301" y="221"/>
                  </a:lnTo>
                  <a:lnTo>
                    <a:pt x="1301" y="221"/>
                  </a:lnTo>
                  <a:lnTo>
                    <a:pt x="1299" y="216"/>
                  </a:lnTo>
                  <a:lnTo>
                    <a:pt x="1299" y="213"/>
                  </a:lnTo>
                  <a:lnTo>
                    <a:pt x="1301" y="211"/>
                  </a:lnTo>
                  <a:lnTo>
                    <a:pt x="1301" y="211"/>
                  </a:lnTo>
                  <a:lnTo>
                    <a:pt x="1303" y="209"/>
                  </a:lnTo>
                  <a:lnTo>
                    <a:pt x="1306" y="206"/>
                  </a:lnTo>
                  <a:lnTo>
                    <a:pt x="1306" y="206"/>
                  </a:lnTo>
                  <a:lnTo>
                    <a:pt x="1308" y="204"/>
                  </a:lnTo>
                  <a:lnTo>
                    <a:pt x="1306" y="204"/>
                  </a:lnTo>
                  <a:lnTo>
                    <a:pt x="1301" y="204"/>
                  </a:lnTo>
                  <a:lnTo>
                    <a:pt x="1293" y="204"/>
                  </a:lnTo>
                  <a:lnTo>
                    <a:pt x="1286" y="207"/>
                  </a:lnTo>
                  <a:lnTo>
                    <a:pt x="1286" y="207"/>
                  </a:lnTo>
                  <a:lnTo>
                    <a:pt x="1281" y="210"/>
                  </a:lnTo>
                  <a:lnTo>
                    <a:pt x="1276" y="210"/>
                  </a:lnTo>
                  <a:lnTo>
                    <a:pt x="1273" y="210"/>
                  </a:lnTo>
                  <a:lnTo>
                    <a:pt x="1272" y="211"/>
                  </a:lnTo>
                  <a:lnTo>
                    <a:pt x="1272" y="211"/>
                  </a:lnTo>
                  <a:lnTo>
                    <a:pt x="1272" y="213"/>
                  </a:lnTo>
                  <a:lnTo>
                    <a:pt x="1275" y="214"/>
                  </a:lnTo>
                  <a:lnTo>
                    <a:pt x="1275" y="216"/>
                  </a:lnTo>
                  <a:lnTo>
                    <a:pt x="1275" y="219"/>
                  </a:lnTo>
                  <a:lnTo>
                    <a:pt x="1275" y="219"/>
                  </a:lnTo>
                  <a:lnTo>
                    <a:pt x="1273" y="220"/>
                  </a:lnTo>
                  <a:lnTo>
                    <a:pt x="1272" y="220"/>
                  </a:lnTo>
                  <a:lnTo>
                    <a:pt x="1271" y="219"/>
                  </a:lnTo>
                  <a:lnTo>
                    <a:pt x="1266" y="217"/>
                  </a:lnTo>
                  <a:lnTo>
                    <a:pt x="1266" y="217"/>
                  </a:lnTo>
                  <a:lnTo>
                    <a:pt x="1255" y="214"/>
                  </a:lnTo>
                  <a:lnTo>
                    <a:pt x="1248" y="214"/>
                  </a:lnTo>
                  <a:lnTo>
                    <a:pt x="1246" y="214"/>
                  </a:lnTo>
                  <a:lnTo>
                    <a:pt x="1243" y="216"/>
                  </a:lnTo>
                  <a:lnTo>
                    <a:pt x="1243" y="216"/>
                  </a:lnTo>
                  <a:lnTo>
                    <a:pt x="1239" y="220"/>
                  </a:lnTo>
                  <a:lnTo>
                    <a:pt x="1235" y="223"/>
                  </a:lnTo>
                  <a:lnTo>
                    <a:pt x="1223" y="229"/>
                  </a:lnTo>
                  <a:lnTo>
                    <a:pt x="1223" y="229"/>
                  </a:lnTo>
                  <a:lnTo>
                    <a:pt x="1218" y="230"/>
                  </a:lnTo>
                  <a:lnTo>
                    <a:pt x="1212" y="230"/>
                  </a:lnTo>
                  <a:lnTo>
                    <a:pt x="1208" y="231"/>
                  </a:lnTo>
                  <a:lnTo>
                    <a:pt x="1206" y="231"/>
                  </a:lnTo>
                  <a:lnTo>
                    <a:pt x="1206" y="231"/>
                  </a:lnTo>
                  <a:lnTo>
                    <a:pt x="1206" y="231"/>
                  </a:lnTo>
                  <a:lnTo>
                    <a:pt x="1211" y="234"/>
                  </a:lnTo>
                  <a:lnTo>
                    <a:pt x="1213" y="236"/>
                  </a:lnTo>
                  <a:lnTo>
                    <a:pt x="1212" y="237"/>
                  </a:lnTo>
                  <a:lnTo>
                    <a:pt x="1212" y="237"/>
                  </a:lnTo>
                  <a:lnTo>
                    <a:pt x="1209" y="239"/>
                  </a:lnTo>
                  <a:lnTo>
                    <a:pt x="1203" y="239"/>
                  </a:lnTo>
                  <a:lnTo>
                    <a:pt x="1199" y="237"/>
                  </a:lnTo>
                  <a:lnTo>
                    <a:pt x="1196" y="237"/>
                  </a:lnTo>
                  <a:lnTo>
                    <a:pt x="1196" y="237"/>
                  </a:lnTo>
                  <a:lnTo>
                    <a:pt x="1196" y="240"/>
                  </a:lnTo>
                  <a:lnTo>
                    <a:pt x="1196" y="244"/>
                  </a:lnTo>
                  <a:lnTo>
                    <a:pt x="1195" y="250"/>
                  </a:lnTo>
                  <a:lnTo>
                    <a:pt x="1195" y="253"/>
                  </a:lnTo>
                  <a:lnTo>
                    <a:pt x="1192" y="254"/>
                  </a:lnTo>
                  <a:lnTo>
                    <a:pt x="1192" y="254"/>
                  </a:lnTo>
                  <a:lnTo>
                    <a:pt x="1189" y="256"/>
                  </a:lnTo>
                  <a:lnTo>
                    <a:pt x="1186" y="257"/>
                  </a:lnTo>
                  <a:lnTo>
                    <a:pt x="1178" y="259"/>
                  </a:lnTo>
                  <a:lnTo>
                    <a:pt x="1169" y="257"/>
                  </a:lnTo>
                  <a:lnTo>
                    <a:pt x="1163" y="256"/>
                  </a:lnTo>
                  <a:lnTo>
                    <a:pt x="1163" y="256"/>
                  </a:lnTo>
                  <a:lnTo>
                    <a:pt x="1158" y="251"/>
                  </a:lnTo>
                  <a:lnTo>
                    <a:pt x="1155" y="250"/>
                  </a:lnTo>
                  <a:lnTo>
                    <a:pt x="1152" y="249"/>
                  </a:lnTo>
                  <a:lnTo>
                    <a:pt x="1152" y="249"/>
                  </a:lnTo>
                  <a:lnTo>
                    <a:pt x="1142" y="250"/>
                  </a:lnTo>
                  <a:lnTo>
                    <a:pt x="1138" y="249"/>
                  </a:lnTo>
                  <a:lnTo>
                    <a:pt x="1138" y="249"/>
                  </a:lnTo>
                  <a:lnTo>
                    <a:pt x="1139" y="246"/>
                  </a:lnTo>
                  <a:lnTo>
                    <a:pt x="1139" y="246"/>
                  </a:lnTo>
                  <a:lnTo>
                    <a:pt x="1142" y="243"/>
                  </a:lnTo>
                  <a:lnTo>
                    <a:pt x="1143" y="241"/>
                  </a:lnTo>
                  <a:lnTo>
                    <a:pt x="1145" y="240"/>
                  </a:lnTo>
                  <a:lnTo>
                    <a:pt x="1146" y="239"/>
                  </a:lnTo>
                  <a:lnTo>
                    <a:pt x="1146" y="239"/>
                  </a:lnTo>
                  <a:lnTo>
                    <a:pt x="1146" y="236"/>
                  </a:lnTo>
                  <a:lnTo>
                    <a:pt x="1146" y="233"/>
                  </a:lnTo>
                  <a:lnTo>
                    <a:pt x="1146" y="233"/>
                  </a:lnTo>
                  <a:lnTo>
                    <a:pt x="1151" y="233"/>
                  </a:lnTo>
                  <a:lnTo>
                    <a:pt x="1151" y="233"/>
                  </a:lnTo>
                  <a:lnTo>
                    <a:pt x="1162" y="234"/>
                  </a:lnTo>
                  <a:lnTo>
                    <a:pt x="1166" y="234"/>
                  </a:lnTo>
                  <a:lnTo>
                    <a:pt x="1169" y="234"/>
                  </a:lnTo>
                  <a:lnTo>
                    <a:pt x="1169" y="234"/>
                  </a:lnTo>
                  <a:lnTo>
                    <a:pt x="1171" y="233"/>
                  </a:lnTo>
                  <a:lnTo>
                    <a:pt x="1169" y="231"/>
                  </a:lnTo>
                  <a:lnTo>
                    <a:pt x="1166" y="229"/>
                  </a:lnTo>
                  <a:lnTo>
                    <a:pt x="1159" y="223"/>
                  </a:lnTo>
                  <a:lnTo>
                    <a:pt x="1159" y="223"/>
                  </a:lnTo>
                  <a:lnTo>
                    <a:pt x="1149" y="216"/>
                  </a:lnTo>
                  <a:lnTo>
                    <a:pt x="1149" y="216"/>
                  </a:lnTo>
                  <a:lnTo>
                    <a:pt x="1143" y="214"/>
                  </a:lnTo>
                  <a:lnTo>
                    <a:pt x="1135" y="213"/>
                  </a:lnTo>
                  <a:lnTo>
                    <a:pt x="1126" y="211"/>
                  </a:lnTo>
                  <a:lnTo>
                    <a:pt x="1122" y="211"/>
                  </a:lnTo>
                  <a:lnTo>
                    <a:pt x="1120" y="213"/>
                  </a:lnTo>
                  <a:lnTo>
                    <a:pt x="1120" y="213"/>
                  </a:lnTo>
                  <a:lnTo>
                    <a:pt x="1118" y="214"/>
                  </a:lnTo>
                  <a:lnTo>
                    <a:pt x="1116" y="216"/>
                  </a:lnTo>
                  <a:lnTo>
                    <a:pt x="1110" y="214"/>
                  </a:lnTo>
                  <a:lnTo>
                    <a:pt x="1110" y="214"/>
                  </a:lnTo>
                  <a:lnTo>
                    <a:pt x="1109" y="214"/>
                  </a:lnTo>
                  <a:lnTo>
                    <a:pt x="1109" y="214"/>
                  </a:lnTo>
                  <a:lnTo>
                    <a:pt x="1109" y="217"/>
                  </a:lnTo>
                  <a:lnTo>
                    <a:pt x="1112" y="220"/>
                  </a:lnTo>
                  <a:lnTo>
                    <a:pt x="1115" y="221"/>
                  </a:lnTo>
                  <a:lnTo>
                    <a:pt x="1115" y="221"/>
                  </a:lnTo>
                  <a:lnTo>
                    <a:pt x="1120" y="223"/>
                  </a:lnTo>
                  <a:lnTo>
                    <a:pt x="1122" y="224"/>
                  </a:lnTo>
                  <a:lnTo>
                    <a:pt x="1120" y="229"/>
                  </a:lnTo>
                  <a:lnTo>
                    <a:pt x="1120" y="229"/>
                  </a:lnTo>
                  <a:lnTo>
                    <a:pt x="1119" y="234"/>
                  </a:lnTo>
                  <a:lnTo>
                    <a:pt x="1118" y="241"/>
                  </a:lnTo>
                  <a:lnTo>
                    <a:pt x="1118" y="241"/>
                  </a:lnTo>
                  <a:lnTo>
                    <a:pt x="1119" y="247"/>
                  </a:lnTo>
                  <a:lnTo>
                    <a:pt x="1122" y="250"/>
                  </a:lnTo>
                  <a:lnTo>
                    <a:pt x="1126" y="251"/>
                  </a:lnTo>
                  <a:lnTo>
                    <a:pt x="1129" y="251"/>
                  </a:lnTo>
                  <a:lnTo>
                    <a:pt x="1129" y="251"/>
                  </a:lnTo>
                  <a:lnTo>
                    <a:pt x="1132" y="250"/>
                  </a:lnTo>
                  <a:lnTo>
                    <a:pt x="1133" y="251"/>
                  </a:lnTo>
                  <a:lnTo>
                    <a:pt x="1136" y="257"/>
                  </a:lnTo>
                  <a:lnTo>
                    <a:pt x="1136" y="257"/>
                  </a:lnTo>
                  <a:lnTo>
                    <a:pt x="1138" y="261"/>
                  </a:lnTo>
                  <a:lnTo>
                    <a:pt x="1136" y="263"/>
                  </a:lnTo>
                  <a:lnTo>
                    <a:pt x="1135" y="266"/>
                  </a:lnTo>
                  <a:lnTo>
                    <a:pt x="1135" y="266"/>
                  </a:lnTo>
                  <a:lnTo>
                    <a:pt x="1133" y="267"/>
                  </a:lnTo>
                  <a:lnTo>
                    <a:pt x="1133" y="273"/>
                  </a:lnTo>
                  <a:lnTo>
                    <a:pt x="1133" y="273"/>
                  </a:lnTo>
                  <a:lnTo>
                    <a:pt x="1136" y="281"/>
                  </a:lnTo>
                  <a:lnTo>
                    <a:pt x="1136" y="283"/>
                  </a:lnTo>
                  <a:lnTo>
                    <a:pt x="1136" y="284"/>
                  </a:lnTo>
                  <a:lnTo>
                    <a:pt x="1136" y="284"/>
                  </a:lnTo>
                  <a:lnTo>
                    <a:pt x="1133" y="283"/>
                  </a:lnTo>
                  <a:lnTo>
                    <a:pt x="1132" y="281"/>
                  </a:lnTo>
                  <a:lnTo>
                    <a:pt x="1128" y="277"/>
                  </a:lnTo>
                  <a:lnTo>
                    <a:pt x="1128" y="277"/>
                  </a:lnTo>
                  <a:lnTo>
                    <a:pt x="1126" y="277"/>
                  </a:lnTo>
                  <a:lnTo>
                    <a:pt x="1126" y="277"/>
                  </a:lnTo>
                  <a:lnTo>
                    <a:pt x="1123" y="280"/>
                  </a:lnTo>
                  <a:lnTo>
                    <a:pt x="1120" y="281"/>
                  </a:lnTo>
                  <a:lnTo>
                    <a:pt x="1120" y="281"/>
                  </a:lnTo>
                  <a:lnTo>
                    <a:pt x="1119" y="281"/>
                  </a:lnTo>
                  <a:lnTo>
                    <a:pt x="1119" y="281"/>
                  </a:lnTo>
                  <a:lnTo>
                    <a:pt x="1119" y="277"/>
                  </a:lnTo>
                  <a:lnTo>
                    <a:pt x="1119" y="274"/>
                  </a:lnTo>
                  <a:lnTo>
                    <a:pt x="1118" y="271"/>
                  </a:lnTo>
                  <a:lnTo>
                    <a:pt x="1116" y="271"/>
                  </a:lnTo>
                  <a:lnTo>
                    <a:pt x="1116" y="271"/>
                  </a:lnTo>
                  <a:lnTo>
                    <a:pt x="1108" y="271"/>
                  </a:lnTo>
                  <a:lnTo>
                    <a:pt x="1103" y="271"/>
                  </a:lnTo>
                  <a:lnTo>
                    <a:pt x="1100" y="270"/>
                  </a:lnTo>
                  <a:lnTo>
                    <a:pt x="1100" y="270"/>
                  </a:lnTo>
                  <a:lnTo>
                    <a:pt x="1098" y="267"/>
                  </a:lnTo>
                  <a:lnTo>
                    <a:pt x="1096" y="267"/>
                  </a:lnTo>
                  <a:lnTo>
                    <a:pt x="1095" y="269"/>
                  </a:lnTo>
                  <a:lnTo>
                    <a:pt x="1095" y="269"/>
                  </a:lnTo>
                  <a:lnTo>
                    <a:pt x="1092" y="270"/>
                  </a:lnTo>
                  <a:lnTo>
                    <a:pt x="1089" y="270"/>
                  </a:lnTo>
                  <a:lnTo>
                    <a:pt x="1086" y="271"/>
                  </a:lnTo>
                  <a:lnTo>
                    <a:pt x="1082" y="276"/>
                  </a:lnTo>
                  <a:lnTo>
                    <a:pt x="1082" y="276"/>
                  </a:lnTo>
                  <a:lnTo>
                    <a:pt x="1080" y="277"/>
                  </a:lnTo>
                  <a:lnTo>
                    <a:pt x="1078" y="279"/>
                  </a:lnTo>
                  <a:lnTo>
                    <a:pt x="1073" y="279"/>
                  </a:lnTo>
                  <a:lnTo>
                    <a:pt x="1069" y="279"/>
                  </a:lnTo>
                  <a:lnTo>
                    <a:pt x="1068" y="279"/>
                  </a:lnTo>
                  <a:lnTo>
                    <a:pt x="1066" y="280"/>
                  </a:lnTo>
                  <a:lnTo>
                    <a:pt x="1066" y="280"/>
                  </a:lnTo>
                  <a:lnTo>
                    <a:pt x="1066" y="284"/>
                  </a:lnTo>
                  <a:lnTo>
                    <a:pt x="1063" y="286"/>
                  </a:lnTo>
                  <a:lnTo>
                    <a:pt x="1063" y="286"/>
                  </a:lnTo>
                  <a:lnTo>
                    <a:pt x="1059" y="287"/>
                  </a:lnTo>
                  <a:lnTo>
                    <a:pt x="1055" y="291"/>
                  </a:lnTo>
                  <a:lnTo>
                    <a:pt x="1055" y="291"/>
                  </a:lnTo>
                  <a:lnTo>
                    <a:pt x="1053" y="294"/>
                  </a:lnTo>
                  <a:lnTo>
                    <a:pt x="1055" y="297"/>
                  </a:lnTo>
                  <a:lnTo>
                    <a:pt x="1058" y="299"/>
                  </a:lnTo>
                  <a:lnTo>
                    <a:pt x="1058" y="299"/>
                  </a:lnTo>
                  <a:lnTo>
                    <a:pt x="1062" y="302"/>
                  </a:lnTo>
                  <a:lnTo>
                    <a:pt x="1066" y="306"/>
                  </a:lnTo>
                  <a:lnTo>
                    <a:pt x="1069" y="310"/>
                  </a:lnTo>
                  <a:lnTo>
                    <a:pt x="1070" y="314"/>
                  </a:lnTo>
                  <a:lnTo>
                    <a:pt x="1070" y="314"/>
                  </a:lnTo>
                  <a:lnTo>
                    <a:pt x="1070" y="316"/>
                  </a:lnTo>
                  <a:lnTo>
                    <a:pt x="1069" y="317"/>
                  </a:lnTo>
                  <a:lnTo>
                    <a:pt x="1065" y="319"/>
                  </a:lnTo>
                  <a:lnTo>
                    <a:pt x="1059" y="320"/>
                  </a:lnTo>
                  <a:lnTo>
                    <a:pt x="1053" y="319"/>
                  </a:lnTo>
                  <a:lnTo>
                    <a:pt x="1053" y="319"/>
                  </a:lnTo>
                  <a:lnTo>
                    <a:pt x="1050" y="317"/>
                  </a:lnTo>
                  <a:lnTo>
                    <a:pt x="1049" y="317"/>
                  </a:lnTo>
                  <a:lnTo>
                    <a:pt x="1049" y="316"/>
                  </a:lnTo>
                  <a:lnTo>
                    <a:pt x="1045" y="316"/>
                  </a:lnTo>
                  <a:lnTo>
                    <a:pt x="1045" y="316"/>
                  </a:lnTo>
                  <a:lnTo>
                    <a:pt x="1033" y="314"/>
                  </a:lnTo>
                  <a:lnTo>
                    <a:pt x="1023" y="312"/>
                  </a:lnTo>
                  <a:lnTo>
                    <a:pt x="1023" y="312"/>
                  </a:lnTo>
                  <a:lnTo>
                    <a:pt x="1016" y="307"/>
                  </a:lnTo>
                  <a:lnTo>
                    <a:pt x="1008" y="303"/>
                  </a:lnTo>
                  <a:lnTo>
                    <a:pt x="1008" y="303"/>
                  </a:lnTo>
                  <a:lnTo>
                    <a:pt x="1005" y="302"/>
                  </a:lnTo>
                  <a:lnTo>
                    <a:pt x="1002" y="300"/>
                  </a:lnTo>
                  <a:lnTo>
                    <a:pt x="1000" y="302"/>
                  </a:lnTo>
                  <a:lnTo>
                    <a:pt x="998" y="303"/>
                  </a:lnTo>
                  <a:lnTo>
                    <a:pt x="998" y="303"/>
                  </a:lnTo>
                  <a:lnTo>
                    <a:pt x="995" y="307"/>
                  </a:lnTo>
                  <a:lnTo>
                    <a:pt x="993" y="309"/>
                  </a:lnTo>
                  <a:lnTo>
                    <a:pt x="995" y="310"/>
                  </a:lnTo>
                  <a:lnTo>
                    <a:pt x="995" y="310"/>
                  </a:lnTo>
                  <a:lnTo>
                    <a:pt x="1000" y="314"/>
                  </a:lnTo>
                  <a:lnTo>
                    <a:pt x="1006" y="319"/>
                  </a:lnTo>
                  <a:lnTo>
                    <a:pt x="1006" y="319"/>
                  </a:lnTo>
                  <a:lnTo>
                    <a:pt x="1010" y="322"/>
                  </a:lnTo>
                  <a:lnTo>
                    <a:pt x="1015" y="322"/>
                  </a:lnTo>
                  <a:lnTo>
                    <a:pt x="1023" y="322"/>
                  </a:lnTo>
                  <a:lnTo>
                    <a:pt x="1023" y="322"/>
                  </a:lnTo>
                  <a:lnTo>
                    <a:pt x="1028" y="320"/>
                  </a:lnTo>
                  <a:lnTo>
                    <a:pt x="1029" y="322"/>
                  </a:lnTo>
                  <a:lnTo>
                    <a:pt x="1029" y="326"/>
                  </a:lnTo>
                  <a:lnTo>
                    <a:pt x="1029" y="326"/>
                  </a:lnTo>
                  <a:lnTo>
                    <a:pt x="1028" y="332"/>
                  </a:lnTo>
                  <a:lnTo>
                    <a:pt x="1026" y="334"/>
                  </a:lnTo>
                  <a:lnTo>
                    <a:pt x="1025" y="334"/>
                  </a:lnTo>
                  <a:lnTo>
                    <a:pt x="1025" y="334"/>
                  </a:lnTo>
                  <a:lnTo>
                    <a:pt x="1019" y="336"/>
                  </a:lnTo>
                  <a:lnTo>
                    <a:pt x="1016" y="337"/>
                  </a:lnTo>
                  <a:lnTo>
                    <a:pt x="1016" y="337"/>
                  </a:lnTo>
                  <a:lnTo>
                    <a:pt x="1012" y="339"/>
                  </a:lnTo>
                  <a:lnTo>
                    <a:pt x="1006" y="337"/>
                  </a:lnTo>
                  <a:lnTo>
                    <a:pt x="1006" y="337"/>
                  </a:lnTo>
                  <a:lnTo>
                    <a:pt x="1003" y="336"/>
                  </a:lnTo>
                  <a:lnTo>
                    <a:pt x="999" y="336"/>
                  </a:lnTo>
                  <a:lnTo>
                    <a:pt x="996" y="336"/>
                  </a:lnTo>
                  <a:lnTo>
                    <a:pt x="993" y="333"/>
                  </a:lnTo>
                  <a:lnTo>
                    <a:pt x="993" y="333"/>
                  </a:lnTo>
                  <a:lnTo>
                    <a:pt x="993" y="332"/>
                  </a:lnTo>
                  <a:lnTo>
                    <a:pt x="992" y="329"/>
                  </a:lnTo>
                  <a:lnTo>
                    <a:pt x="989" y="327"/>
                  </a:lnTo>
                  <a:lnTo>
                    <a:pt x="979" y="324"/>
                  </a:lnTo>
                  <a:lnTo>
                    <a:pt x="979" y="324"/>
                  </a:lnTo>
                  <a:lnTo>
                    <a:pt x="970" y="323"/>
                  </a:lnTo>
                  <a:lnTo>
                    <a:pt x="965" y="322"/>
                  </a:lnTo>
                  <a:lnTo>
                    <a:pt x="963" y="320"/>
                  </a:lnTo>
                  <a:lnTo>
                    <a:pt x="963" y="316"/>
                  </a:lnTo>
                  <a:lnTo>
                    <a:pt x="963" y="316"/>
                  </a:lnTo>
                  <a:lnTo>
                    <a:pt x="963" y="313"/>
                  </a:lnTo>
                  <a:lnTo>
                    <a:pt x="963" y="312"/>
                  </a:lnTo>
                  <a:lnTo>
                    <a:pt x="963" y="309"/>
                  </a:lnTo>
                  <a:lnTo>
                    <a:pt x="962" y="309"/>
                  </a:lnTo>
                  <a:lnTo>
                    <a:pt x="962" y="309"/>
                  </a:lnTo>
                  <a:lnTo>
                    <a:pt x="956" y="304"/>
                  </a:lnTo>
                  <a:lnTo>
                    <a:pt x="953" y="302"/>
                  </a:lnTo>
                  <a:lnTo>
                    <a:pt x="953" y="300"/>
                  </a:lnTo>
                  <a:lnTo>
                    <a:pt x="953" y="300"/>
                  </a:lnTo>
                  <a:lnTo>
                    <a:pt x="952" y="297"/>
                  </a:lnTo>
                  <a:lnTo>
                    <a:pt x="949" y="297"/>
                  </a:lnTo>
                  <a:lnTo>
                    <a:pt x="948" y="296"/>
                  </a:lnTo>
                  <a:lnTo>
                    <a:pt x="950" y="294"/>
                  </a:lnTo>
                  <a:lnTo>
                    <a:pt x="950" y="294"/>
                  </a:lnTo>
                  <a:lnTo>
                    <a:pt x="953" y="293"/>
                  </a:lnTo>
                  <a:lnTo>
                    <a:pt x="955" y="290"/>
                  </a:lnTo>
                  <a:lnTo>
                    <a:pt x="956" y="289"/>
                  </a:lnTo>
                  <a:lnTo>
                    <a:pt x="955" y="286"/>
                  </a:lnTo>
                  <a:lnTo>
                    <a:pt x="955" y="286"/>
                  </a:lnTo>
                  <a:lnTo>
                    <a:pt x="952" y="281"/>
                  </a:lnTo>
                  <a:lnTo>
                    <a:pt x="946" y="277"/>
                  </a:lnTo>
                  <a:lnTo>
                    <a:pt x="940" y="274"/>
                  </a:lnTo>
                  <a:lnTo>
                    <a:pt x="935" y="273"/>
                  </a:lnTo>
                  <a:lnTo>
                    <a:pt x="935" y="273"/>
                  </a:lnTo>
                  <a:lnTo>
                    <a:pt x="929" y="273"/>
                  </a:lnTo>
                  <a:lnTo>
                    <a:pt x="923" y="274"/>
                  </a:lnTo>
                  <a:lnTo>
                    <a:pt x="919" y="274"/>
                  </a:lnTo>
                  <a:lnTo>
                    <a:pt x="919" y="274"/>
                  </a:lnTo>
                  <a:lnTo>
                    <a:pt x="919" y="273"/>
                  </a:lnTo>
                  <a:lnTo>
                    <a:pt x="919" y="273"/>
                  </a:lnTo>
                  <a:lnTo>
                    <a:pt x="918" y="271"/>
                  </a:lnTo>
                  <a:lnTo>
                    <a:pt x="916" y="270"/>
                  </a:lnTo>
                  <a:lnTo>
                    <a:pt x="912" y="267"/>
                  </a:lnTo>
                  <a:lnTo>
                    <a:pt x="912" y="267"/>
                  </a:lnTo>
                  <a:lnTo>
                    <a:pt x="910" y="266"/>
                  </a:lnTo>
                  <a:lnTo>
                    <a:pt x="910" y="264"/>
                  </a:lnTo>
                  <a:lnTo>
                    <a:pt x="910" y="263"/>
                  </a:lnTo>
                  <a:lnTo>
                    <a:pt x="908" y="261"/>
                  </a:lnTo>
                  <a:lnTo>
                    <a:pt x="908" y="261"/>
                  </a:lnTo>
                  <a:lnTo>
                    <a:pt x="898" y="256"/>
                  </a:lnTo>
                  <a:lnTo>
                    <a:pt x="898" y="256"/>
                  </a:lnTo>
                  <a:lnTo>
                    <a:pt x="890" y="253"/>
                  </a:lnTo>
                  <a:lnTo>
                    <a:pt x="889" y="251"/>
                  </a:lnTo>
                  <a:lnTo>
                    <a:pt x="889" y="251"/>
                  </a:lnTo>
                  <a:lnTo>
                    <a:pt x="889" y="250"/>
                  </a:lnTo>
                  <a:lnTo>
                    <a:pt x="889" y="250"/>
                  </a:lnTo>
                  <a:lnTo>
                    <a:pt x="890" y="249"/>
                  </a:lnTo>
                  <a:lnTo>
                    <a:pt x="895" y="249"/>
                  </a:lnTo>
                  <a:lnTo>
                    <a:pt x="900" y="249"/>
                  </a:lnTo>
                  <a:lnTo>
                    <a:pt x="908" y="250"/>
                  </a:lnTo>
                  <a:lnTo>
                    <a:pt x="908" y="250"/>
                  </a:lnTo>
                  <a:lnTo>
                    <a:pt x="910" y="251"/>
                  </a:lnTo>
                  <a:lnTo>
                    <a:pt x="913" y="254"/>
                  </a:lnTo>
                  <a:lnTo>
                    <a:pt x="915" y="256"/>
                  </a:lnTo>
                  <a:lnTo>
                    <a:pt x="918" y="257"/>
                  </a:lnTo>
                  <a:lnTo>
                    <a:pt x="918" y="257"/>
                  </a:lnTo>
                  <a:lnTo>
                    <a:pt x="923" y="259"/>
                  </a:lnTo>
                  <a:lnTo>
                    <a:pt x="929" y="259"/>
                  </a:lnTo>
                  <a:lnTo>
                    <a:pt x="940" y="260"/>
                  </a:lnTo>
                  <a:lnTo>
                    <a:pt x="940" y="260"/>
                  </a:lnTo>
                  <a:lnTo>
                    <a:pt x="948" y="261"/>
                  </a:lnTo>
                  <a:lnTo>
                    <a:pt x="952" y="263"/>
                  </a:lnTo>
                  <a:lnTo>
                    <a:pt x="952" y="263"/>
                  </a:lnTo>
                  <a:lnTo>
                    <a:pt x="956" y="266"/>
                  </a:lnTo>
                  <a:lnTo>
                    <a:pt x="963" y="270"/>
                  </a:lnTo>
                  <a:lnTo>
                    <a:pt x="963" y="270"/>
                  </a:lnTo>
                  <a:lnTo>
                    <a:pt x="970" y="271"/>
                  </a:lnTo>
                  <a:lnTo>
                    <a:pt x="975" y="271"/>
                  </a:lnTo>
                  <a:lnTo>
                    <a:pt x="982" y="271"/>
                  </a:lnTo>
                  <a:lnTo>
                    <a:pt x="982" y="271"/>
                  </a:lnTo>
                  <a:lnTo>
                    <a:pt x="990" y="271"/>
                  </a:lnTo>
                  <a:lnTo>
                    <a:pt x="995" y="273"/>
                  </a:lnTo>
                  <a:lnTo>
                    <a:pt x="999" y="274"/>
                  </a:lnTo>
                  <a:lnTo>
                    <a:pt x="999" y="274"/>
                  </a:lnTo>
                  <a:lnTo>
                    <a:pt x="1005" y="276"/>
                  </a:lnTo>
                  <a:lnTo>
                    <a:pt x="1010" y="279"/>
                  </a:lnTo>
                  <a:lnTo>
                    <a:pt x="1019" y="280"/>
                  </a:lnTo>
                  <a:lnTo>
                    <a:pt x="1019" y="280"/>
                  </a:lnTo>
                  <a:lnTo>
                    <a:pt x="1029" y="279"/>
                  </a:lnTo>
                  <a:lnTo>
                    <a:pt x="1033" y="279"/>
                  </a:lnTo>
                  <a:lnTo>
                    <a:pt x="1038" y="277"/>
                  </a:lnTo>
                  <a:lnTo>
                    <a:pt x="1038" y="277"/>
                  </a:lnTo>
                  <a:lnTo>
                    <a:pt x="1040" y="276"/>
                  </a:lnTo>
                  <a:lnTo>
                    <a:pt x="1048" y="274"/>
                  </a:lnTo>
                  <a:lnTo>
                    <a:pt x="1048" y="274"/>
                  </a:lnTo>
                  <a:lnTo>
                    <a:pt x="1053" y="273"/>
                  </a:lnTo>
                  <a:lnTo>
                    <a:pt x="1058" y="270"/>
                  </a:lnTo>
                  <a:lnTo>
                    <a:pt x="1062" y="266"/>
                  </a:lnTo>
                  <a:lnTo>
                    <a:pt x="1062" y="266"/>
                  </a:lnTo>
                  <a:lnTo>
                    <a:pt x="1068" y="263"/>
                  </a:lnTo>
                  <a:lnTo>
                    <a:pt x="1070" y="259"/>
                  </a:lnTo>
                  <a:lnTo>
                    <a:pt x="1072" y="256"/>
                  </a:lnTo>
                  <a:lnTo>
                    <a:pt x="1072" y="256"/>
                  </a:lnTo>
                  <a:lnTo>
                    <a:pt x="1073" y="251"/>
                  </a:lnTo>
                  <a:lnTo>
                    <a:pt x="1070" y="247"/>
                  </a:lnTo>
                  <a:lnTo>
                    <a:pt x="1070" y="247"/>
                  </a:lnTo>
                  <a:lnTo>
                    <a:pt x="1066" y="239"/>
                  </a:lnTo>
                  <a:lnTo>
                    <a:pt x="1065" y="236"/>
                  </a:lnTo>
                  <a:lnTo>
                    <a:pt x="1062" y="233"/>
                  </a:lnTo>
                  <a:lnTo>
                    <a:pt x="1062" y="233"/>
                  </a:lnTo>
                  <a:lnTo>
                    <a:pt x="1056" y="234"/>
                  </a:lnTo>
                  <a:lnTo>
                    <a:pt x="1052" y="234"/>
                  </a:lnTo>
                  <a:lnTo>
                    <a:pt x="1049" y="233"/>
                  </a:lnTo>
                  <a:lnTo>
                    <a:pt x="1049" y="233"/>
                  </a:lnTo>
                  <a:lnTo>
                    <a:pt x="1045" y="229"/>
                  </a:lnTo>
                  <a:lnTo>
                    <a:pt x="1042" y="227"/>
                  </a:lnTo>
                  <a:lnTo>
                    <a:pt x="1038" y="227"/>
                  </a:lnTo>
                  <a:lnTo>
                    <a:pt x="1038" y="227"/>
                  </a:lnTo>
                  <a:lnTo>
                    <a:pt x="1030" y="229"/>
                  </a:lnTo>
                  <a:lnTo>
                    <a:pt x="1028" y="229"/>
                  </a:lnTo>
                  <a:lnTo>
                    <a:pt x="1026" y="227"/>
                  </a:lnTo>
                  <a:lnTo>
                    <a:pt x="1026" y="227"/>
                  </a:lnTo>
                  <a:lnTo>
                    <a:pt x="1025" y="224"/>
                  </a:lnTo>
                  <a:lnTo>
                    <a:pt x="1022" y="224"/>
                  </a:lnTo>
                  <a:lnTo>
                    <a:pt x="1015" y="221"/>
                  </a:lnTo>
                  <a:lnTo>
                    <a:pt x="1015" y="221"/>
                  </a:lnTo>
                  <a:lnTo>
                    <a:pt x="1006" y="220"/>
                  </a:lnTo>
                  <a:lnTo>
                    <a:pt x="999" y="216"/>
                  </a:lnTo>
                  <a:lnTo>
                    <a:pt x="999" y="216"/>
                  </a:lnTo>
                  <a:lnTo>
                    <a:pt x="992" y="211"/>
                  </a:lnTo>
                  <a:lnTo>
                    <a:pt x="988" y="211"/>
                  </a:lnTo>
                  <a:lnTo>
                    <a:pt x="988" y="211"/>
                  </a:lnTo>
                  <a:lnTo>
                    <a:pt x="985" y="209"/>
                  </a:lnTo>
                  <a:lnTo>
                    <a:pt x="982" y="207"/>
                  </a:lnTo>
                  <a:lnTo>
                    <a:pt x="978" y="206"/>
                  </a:lnTo>
                  <a:lnTo>
                    <a:pt x="978" y="206"/>
                  </a:lnTo>
                  <a:lnTo>
                    <a:pt x="973" y="206"/>
                  </a:lnTo>
                  <a:lnTo>
                    <a:pt x="970" y="207"/>
                  </a:lnTo>
                  <a:lnTo>
                    <a:pt x="969" y="207"/>
                  </a:lnTo>
                  <a:lnTo>
                    <a:pt x="966" y="206"/>
                  </a:lnTo>
                  <a:lnTo>
                    <a:pt x="966" y="206"/>
                  </a:lnTo>
                  <a:lnTo>
                    <a:pt x="960" y="201"/>
                  </a:lnTo>
                  <a:lnTo>
                    <a:pt x="958" y="200"/>
                  </a:lnTo>
                  <a:lnTo>
                    <a:pt x="953" y="200"/>
                  </a:lnTo>
                  <a:lnTo>
                    <a:pt x="953" y="200"/>
                  </a:lnTo>
                  <a:lnTo>
                    <a:pt x="945" y="200"/>
                  </a:lnTo>
                  <a:lnTo>
                    <a:pt x="940" y="200"/>
                  </a:lnTo>
                  <a:lnTo>
                    <a:pt x="933" y="200"/>
                  </a:lnTo>
                  <a:lnTo>
                    <a:pt x="933" y="200"/>
                  </a:lnTo>
                  <a:lnTo>
                    <a:pt x="922" y="197"/>
                  </a:lnTo>
                  <a:lnTo>
                    <a:pt x="916" y="197"/>
                  </a:lnTo>
                  <a:lnTo>
                    <a:pt x="915" y="199"/>
                  </a:lnTo>
                  <a:lnTo>
                    <a:pt x="915" y="199"/>
                  </a:lnTo>
                  <a:lnTo>
                    <a:pt x="909" y="204"/>
                  </a:lnTo>
                  <a:lnTo>
                    <a:pt x="908" y="207"/>
                  </a:lnTo>
                  <a:lnTo>
                    <a:pt x="905" y="209"/>
                  </a:lnTo>
                  <a:lnTo>
                    <a:pt x="905" y="209"/>
                  </a:lnTo>
                  <a:lnTo>
                    <a:pt x="902" y="209"/>
                  </a:lnTo>
                  <a:lnTo>
                    <a:pt x="902" y="207"/>
                  </a:lnTo>
                  <a:lnTo>
                    <a:pt x="905" y="201"/>
                  </a:lnTo>
                  <a:lnTo>
                    <a:pt x="905" y="201"/>
                  </a:lnTo>
                  <a:lnTo>
                    <a:pt x="909" y="196"/>
                  </a:lnTo>
                  <a:lnTo>
                    <a:pt x="909" y="193"/>
                  </a:lnTo>
                  <a:lnTo>
                    <a:pt x="908" y="193"/>
                  </a:lnTo>
                  <a:lnTo>
                    <a:pt x="908" y="193"/>
                  </a:lnTo>
                  <a:lnTo>
                    <a:pt x="902" y="194"/>
                  </a:lnTo>
                  <a:lnTo>
                    <a:pt x="899" y="194"/>
                  </a:lnTo>
                  <a:lnTo>
                    <a:pt x="898" y="194"/>
                  </a:lnTo>
                  <a:lnTo>
                    <a:pt x="898" y="194"/>
                  </a:lnTo>
                  <a:lnTo>
                    <a:pt x="892" y="193"/>
                  </a:lnTo>
                  <a:lnTo>
                    <a:pt x="886" y="194"/>
                  </a:lnTo>
                  <a:lnTo>
                    <a:pt x="886" y="194"/>
                  </a:lnTo>
                  <a:lnTo>
                    <a:pt x="885" y="194"/>
                  </a:lnTo>
                  <a:lnTo>
                    <a:pt x="885" y="193"/>
                  </a:lnTo>
                  <a:lnTo>
                    <a:pt x="883" y="191"/>
                  </a:lnTo>
                  <a:lnTo>
                    <a:pt x="882" y="190"/>
                  </a:lnTo>
                  <a:lnTo>
                    <a:pt x="882" y="190"/>
                  </a:lnTo>
                  <a:lnTo>
                    <a:pt x="873" y="186"/>
                  </a:lnTo>
                  <a:lnTo>
                    <a:pt x="868" y="184"/>
                  </a:lnTo>
                  <a:lnTo>
                    <a:pt x="863" y="184"/>
                  </a:lnTo>
                  <a:lnTo>
                    <a:pt x="863" y="184"/>
                  </a:lnTo>
                  <a:lnTo>
                    <a:pt x="863" y="184"/>
                  </a:lnTo>
                  <a:lnTo>
                    <a:pt x="863" y="184"/>
                  </a:lnTo>
                  <a:lnTo>
                    <a:pt x="863" y="183"/>
                  </a:lnTo>
                  <a:lnTo>
                    <a:pt x="862" y="183"/>
                  </a:lnTo>
                  <a:lnTo>
                    <a:pt x="855" y="181"/>
                  </a:lnTo>
                  <a:lnTo>
                    <a:pt x="848" y="181"/>
                  </a:lnTo>
                  <a:lnTo>
                    <a:pt x="845" y="180"/>
                  </a:lnTo>
                  <a:lnTo>
                    <a:pt x="845" y="180"/>
                  </a:lnTo>
                  <a:lnTo>
                    <a:pt x="845" y="179"/>
                  </a:lnTo>
                  <a:lnTo>
                    <a:pt x="846" y="177"/>
                  </a:lnTo>
                  <a:lnTo>
                    <a:pt x="850" y="176"/>
                  </a:lnTo>
                  <a:lnTo>
                    <a:pt x="850" y="176"/>
                  </a:lnTo>
                  <a:lnTo>
                    <a:pt x="852" y="174"/>
                  </a:lnTo>
                  <a:lnTo>
                    <a:pt x="855" y="173"/>
                  </a:lnTo>
                  <a:lnTo>
                    <a:pt x="859" y="173"/>
                  </a:lnTo>
                  <a:lnTo>
                    <a:pt x="859" y="173"/>
                  </a:lnTo>
                  <a:lnTo>
                    <a:pt x="860" y="171"/>
                  </a:lnTo>
                  <a:lnTo>
                    <a:pt x="860" y="169"/>
                  </a:lnTo>
                  <a:lnTo>
                    <a:pt x="860" y="169"/>
                  </a:lnTo>
                  <a:lnTo>
                    <a:pt x="860" y="167"/>
                  </a:lnTo>
                  <a:lnTo>
                    <a:pt x="859" y="167"/>
                  </a:lnTo>
                  <a:lnTo>
                    <a:pt x="856" y="167"/>
                  </a:lnTo>
                  <a:lnTo>
                    <a:pt x="855" y="166"/>
                  </a:lnTo>
                  <a:lnTo>
                    <a:pt x="855" y="166"/>
                  </a:lnTo>
                  <a:lnTo>
                    <a:pt x="853" y="164"/>
                  </a:lnTo>
                  <a:lnTo>
                    <a:pt x="852" y="164"/>
                  </a:lnTo>
                  <a:lnTo>
                    <a:pt x="849" y="164"/>
                  </a:lnTo>
                  <a:lnTo>
                    <a:pt x="846" y="164"/>
                  </a:lnTo>
                  <a:lnTo>
                    <a:pt x="846" y="164"/>
                  </a:lnTo>
                  <a:lnTo>
                    <a:pt x="842" y="163"/>
                  </a:lnTo>
                  <a:lnTo>
                    <a:pt x="839" y="163"/>
                  </a:lnTo>
                  <a:lnTo>
                    <a:pt x="839" y="163"/>
                  </a:lnTo>
                  <a:lnTo>
                    <a:pt x="833" y="161"/>
                  </a:lnTo>
                  <a:lnTo>
                    <a:pt x="832" y="161"/>
                  </a:lnTo>
                  <a:lnTo>
                    <a:pt x="830" y="160"/>
                  </a:lnTo>
                  <a:lnTo>
                    <a:pt x="830" y="160"/>
                  </a:lnTo>
                  <a:lnTo>
                    <a:pt x="828" y="157"/>
                  </a:lnTo>
                  <a:lnTo>
                    <a:pt x="823" y="157"/>
                  </a:lnTo>
                  <a:lnTo>
                    <a:pt x="823" y="157"/>
                  </a:lnTo>
                  <a:lnTo>
                    <a:pt x="816" y="159"/>
                  </a:lnTo>
                  <a:lnTo>
                    <a:pt x="813" y="157"/>
                  </a:lnTo>
                  <a:lnTo>
                    <a:pt x="809" y="153"/>
                  </a:lnTo>
                  <a:lnTo>
                    <a:pt x="809" y="153"/>
                  </a:lnTo>
                  <a:lnTo>
                    <a:pt x="806" y="151"/>
                  </a:lnTo>
                  <a:lnTo>
                    <a:pt x="803" y="150"/>
                  </a:lnTo>
                  <a:lnTo>
                    <a:pt x="796" y="150"/>
                  </a:lnTo>
                  <a:lnTo>
                    <a:pt x="789" y="153"/>
                  </a:lnTo>
                  <a:lnTo>
                    <a:pt x="786" y="154"/>
                  </a:lnTo>
                  <a:lnTo>
                    <a:pt x="786" y="154"/>
                  </a:lnTo>
                  <a:lnTo>
                    <a:pt x="785" y="156"/>
                  </a:lnTo>
                  <a:lnTo>
                    <a:pt x="785" y="157"/>
                  </a:lnTo>
                  <a:lnTo>
                    <a:pt x="786" y="163"/>
                  </a:lnTo>
                  <a:lnTo>
                    <a:pt x="786" y="163"/>
                  </a:lnTo>
                  <a:lnTo>
                    <a:pt x="785" y="164"/>
                  </a:lnTo>
                  <a:lnTo>
                    <a:pt x="783" y="167"/>
                  </a:lnTo>
                  <a:lnTo>
                    <a:pt x="777" y="169"/>
                  </a:lnTo>
                  <a:lnTo>
                    <a:pt x="777" y="169"/>
                  </a:lnTo>
                  <a:lnTo>
                    <a:pt x="775" y="167"/>
                  </a:lnTo>
                  <a:lnTo>
                    <a:pt x="776" y="166"/>
                  </a:lnTo>
                  <a:lnTo>
                    <a:pt x="779" y="161"/>
                  </a:lnTo>
                  <a:lnTo>
                    <a:pt x="779" y="161"/>
                  </a:lnTo>
                  <a:lnTo>
                    <a:pt x="779" y="159"/>
                  </a:lnTo>
                  <a:lnTo>
                    <a:pt x="777" y="156"/>
                  </a:lnTo>
                  <a:lnTo>
                    <a:pt x="776" y="153"/>
                  </a:lnTo>
                  <a:lnTo>
                    <a:pt x="775" y="153"/>
                  </a:lnTo>
                  <a:lnTo>
                    <a:pt x="775" y="153"/>
                  </a:lnTo>
                  <a:lnTo>
                    <a:pt x="772" y="156"/>
                  </a:lnTo>
                  <a:lnTo>
                    <a:pt x="766" y="161"/>
                  </a:lnTo>
                  <a:lnTo>
                    <a:pt x="760" y="167"/>
                  </a:lnTo>
                  <a:lnTo>
                    <a:pt x="757" y="169"/>
                  </a:lnTo>
                  <a:lnTo>
                    <a:pt x="755" y="169"/>
                  </a:lnTo>
                  <a:lnTo>
                    <a:pt x="755" y="169"/>
                  </a:lnTo>
                  <a:lnTo>
                    <a:pt x="755" y="169"/>
                  </a:lnTo>
                  <a:lnTo>
                    <a:pt x="755" y="167"/>
                  </a:lnTo>
                  <a:lnTo>
                    <a:pt x="760" y="161"/>
                  </a:lnTo>
                  <a:lnTo>
                    <a:pt x="769" y="154"/>
                  </a:lnTo>
                  <a:lnTo>
                    <a:pt x="769" y="154"/>
                  </a:lnTo>
                  <a:lnTo>
                    <a:pt x="766" y="153"/>
                  </a:lnTo>
                  <a:lnTo>
                    <a:pt x="762" y="151"/>
                  </a:lnTo>
                  <a:lnTo>
                    <a:pt x="762" y="151"/>
                  </a:lnTo>
                  <a:lnTo>
                    <a:pt x="760" y="150"/>
                  </a:lnTo>
                  <a:lnTo>
                    <a:pt x="759" y="150"/>
                  </a:lnTo>
                  <a:lnTo>
                    <a:pt x="757" y="149"/>
                  </a:lnTo>
                  <a:lnTo>
                    <a:pt x="756" y="150"/>
                  </a:lnTo>
                  <a:lnTo>
                    <a:pt x="756" y="150"/>
                  </a:lnTo>
                  <a:lnTo>
                    <a:pt x="753" y="151"/>
                  </a:lnTo>
                  <a:lnTo>
                    <a:pt x="753" y="153"/>
                  </a:lnTo>
                  <a:lnTo>
                    <a:pt x="753" y="156"/>
                  </a:lnTo>
                  <a:lnTo>
                    <a:pt x="753" y="157"/>
                  </a:lnTo>
                  <a:lnTo>
                    <a:pt x="753" y="157"/>
                  </a:lnTo>
                  <a:lnTo>
                    <a:pt x="750" y="156"/>
                  </a:lnTo>
                  <a:lnTo>
                    <a:pt x="747" y="156"/>
                  </a:lnTo>
                  <a:lnTo>
                    <a:pt x="747" y="156"/>
                  </a:lnTo>
                  <a:lnTo>
                    <a:pt x="746" y="156"/>
                  </a:lnTo>
                  <a:lnTo>
                    <a:pt x="745" y="154"/>
                  </a:lnTo>
                  <a:lnTo>
                    <a:pt x="742" y="153"/>
                  </a:lnTo>
                  <a:lnTo>
                    <a:pt x="742" y="153"/>
                  </a:lnTo>
                  <a:lnTo>
                    <a:pt x="740" y="153"/>
                  </a:lnTo>
                  <a:lnTo>
                    <a:pt x="740" y="154"/>
                  </a:lnTo>
                  <a:lnTo>
                    <a:pt x="739" y="156"/>
                  </a:lnTo>
                  <a:lnTo>
                    <a:pt x="736" y="157"/>
                  </a:lnTo>
                  <a:lnTo>
                    <a:pt x="736" y="157"/>
                  </a:lnTo>
                  <a:lnTo>
                    <a:pt x="733" y="159"/>
                  </a:lnTo>
                  <a:lnTo>
                    <a:pt x="730" y="161"/>
                  </a:lnTo>
                  <a:lnTo>
                    <a:pt x="730" y="161"/>
                  </a:lnTo>
                  <a:lnTo>
                    <a:pt x="727" y="161"/>
                  </a:lnTo>
                  <a:lnTo>
                    <a:pt x="725" y="161"/>
                  </a:lnTo>
                  <a:lnTo>
                    <a:pt x="720" y="160"/>
                  </a:lnTo>
                  <a:lnTo>
                    <a:pt x="720" y="160"/>
                  </a:lnTo>
                  <a:lnTo>
                    <a:pt x="719" y="160"/>
                  </a:lnTo>
                  <a:lnTo>
                    <a:pt x="717" y="159"/>
                  </a:lnTo>
                  <a:lnTo>
                    <a:pt x="717" y="157"/>
                  </a:lnTo>
                  <a:lnTo>
                    <a:pt x="717" y="157"/>
                  </a:lnTo>
                  <a:lnTo>
                    <a:pt x="717" y="157"/>
                  </a:lnTo>
                  <a:lnTo>
                    <a:pt x="702" y="161"/>
                  </a:lnTo>
                  <a:lnTo>
                    <a:pt x="702" y="161"/>
                  </a:lnTo>
                  <a:lnTo>
                    <a:pt x="696" y="161"/>
                  </a:lnTo>
                  <a:lnTo>
                    <a:pt x="693" y="161"/>
                  </a:lnTo>
                  <a:lnTo>
                    <a:pt x="692" y="164"/>
                  </a:lnTo>
                  <a:lnTo>
                    <a:pt x="692" y="164"/>
                  </a:lnTo>
                  <a:lnTo>
                    <a:pt x="689" y="169"/>
                  </a:lnTo>
                  <a:lnTo>
                    <a:pt x="686" y="170"/>
                  </a:lnTo>
                  <a:lnTo>
                    <a:pt x="686" y="170"/>
                  </a:lnTo>
                  <a:lnTo>
                    <a:pt x="682" y="171"/>
                  </a:lnTo>
                  <a:lnTo>
                    <a:pt x="680" y="171"/>
                  </a:lnTo>
                  <a:lnTo>
                    <a:pt x="679" y="173"/>
                  </a:lnTo>
                  <a:lnTo>
                    <a:pt x="679" y="173"/>
                  </a:lnTo>
                  <a:lnTo>
                    <a:pt x="679" y="174"/>
                  </a:lnTo>
                  <a:lnTo>
                    <a:pt x="677" y="179"/>
                  </a:lnTo>
                  <a:lnTo>
                    <a:pt x="677" y="179"/>
                  </a:lnTo>
                  <a:lnTo>
                    <a:pt x="676" y="180"/>
                  </a:lnTo>
                  <a:lnTo>
                    <a:pt x="675" y="180"/>
                  </a:lnTo>
                  <a:lnTo>
                    <a:pt x="672" y="176"/>
                  </a:lnTo>
                  <a:lnTo>
                    <a:pt x="672" y="176"/>
                  </a:lnTo>
                  <a:lnTo>
                    <a:pt x="670" y="173"/>
                  </a:lnTo>
                  <a:lnTo>
                    <a:pt x="669" y="173"/>
                  </a:lnTo>
                  <a:lnTo>
                    <a:pt x="666" y="171"/>
                  </a:lnTo>
                  <a:lnTo>
                    <a:pt x="663" y="173"/>
                  </a:lnTo>
                  <a:lnTo>
                    <a:pt x="663" y="173"/>
                  </a:lnTo>
                  <a:lnTo>
                    <a:pt x="662" y="174"/>
                  </a:lnTo>
                  <a:lnTo>
                    <a:pt x="660" y="179"/>
                  </a:lnTo>
                  <a:lnTo>
                    <a:pt x="659" y="181"/>
                  </a:lnTo>
                  <a:lnTo>
                    <a:pt x="655" y="184"/>
                  </a:lnTo>
                  <a:lnTo>
                    <a:pt x="655" y="184"/>
                  </a:lnTo>
                  <a:lnTo>
                    <a:pt x="653" y="183"/>
                  </a:lnTo>
                  <a:lnTo>
                    <a:pt x="655" y="181"/>
                  </a:lnTo>
                  <a:lnTo>
                    <a:pt x="659" y="177"/>
                  </a:lnTo>
                  <a:lnTo>
                    <a:pt x="659" y="177"/>
                  </a:lnTo>
                  <a:lnTo>
                    <a:pt x="659" y="177"/>
                  </a:lnTo>
                  <a:lnTo>
                    <a:pt x="659" y="176"/>
                  </a:lnTo>
                  <a:lnTo>
                    <a:pt x="655" y="176"/>
                  </a:lnTo>
                  <a:lnTo>
                    <a:pt x="655" y="176"/>
                  </a:lnTo>
                  <a:lnTo>
                    <a:pt x="653" y="173"/>
                  </a:lnTo>
                  <a:lnTo>
                    <a:pt x="650" y="171"/>
                  </a:lnTo>
                  <a:lnTo>
                    <a:pt x="650" y="171"/>
                  </a:lnTo>
                  <a:lnTo>
                    <a:pt x="649" y="171"/>
                  </a:lnTo>
                  <a:lnTo>
                    <a:pt x="647" y="173"/>
                  </a:lnTo>
                  <a:lnTo>
                    <a:pt x="647" y="174"/>
                  </a:lnTo>
                  <a:lnTo>
                    <a:pt x="646" y="176"/>
                  </a:lnTo>
                  <a:lnTo>
                    <a:pt x="646" y="176"/>
                  </a:lnTo>
                  <a:lnTo>
                    <a:pt x="643" y="173"/>
                  </a:lnTo>
                  <a:lnTo>
                    <a:pt x="640" y="170"/>
                  </a:lnTo>
                  <a:lnTo>
                    <a:pt x="640" y="170"/>
                  </a:lnTo>
                  <a:lnTo>
                    <a:pt x="639" y="170"/>
                  </a:lnTo>
                  <a:lnTo>
                    <a:pt x="639" y="170"/>
                  </a:lnTo>
                  <a:lnTo>
                    <a:pt x="636" y="176"/>
                  </a:lnTo>
                  <a:lnTo>
                    <a:pt x="636" y="176"/>
                  </a:lnTo>
                  <a:lnTo>
                    <a:pt x="635" y="176"/>
                  </a:lnTo>
                  <a:lnTo>
                    <a:pt x="633" y="176"/>
                  </a:lnTo>
                  <a:lnTo>
                    <a:pt x="632" y="176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29" y="176"/>
                  </a:lnTo>
                  <a:lnTo>
                    <a:pt x="629" y="179"/>
                  </a:lnTo>
                  <a:lnTo>
                    <a:pt x="630" y="184"/>
                  </a:lnTo>
                  <a:lnTo>
                    <a:pt x="630" y="184"/>
                  </a:lnTo>
                  <a:lnTo>
                    <a:pt x="629" y="187"/>
                  </a:lnTo>
                  <a:lnTo>
                    <a:pt x="627" y="189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16" y="193"/>
                  </a:lnTo>
                  <a:lnTo>
                    <a:pt x="612" y="191"/>
                  </a:lnTo>
                  <a:lnTo>
                    <a:pt x="603" y="189"/>
                  </a:lnTo>
                  <a:lnTo>
                    <a:pt x="603" y="189"/>
                  </a:lnTo>
                  <a:lnTo>
                    <a:pt x="602" y="189"/>
                  </a:lnTo>
                  <a:lnTo>
                    <a:pt x="602" y="190"/>
                  </a:lnTo>
                  <a:lnTo>
                    <a:pt x="599" y="194"/>
                  </a:lnTo>
                  <a:lnTo>
                    <a:pt x="599" y="194"/>
                  </a:lnTo>
                  <a:lnTo>
                    <a:pt x="599" y="197"/>
                  </a:lnTo>
                  <a:lnTo>
                    <a:pt x="599" y="199"/>
                  </a:lnTo>
                  <a:lnTo>
                    <a:pt x="600" y="201"/>
                  </a:lnTo>
                  <a:lnTo>
                    <a:pt x="600" y="201"/>
                  </a:lnTo>
                  <a:lnTo>
                    <a:pt x="605" y="204"/>
                  </a:lnTo>
                  <a:lnTo>
                    <a:pt x="606" y="206"/>
                  </a:lnTo>
                  <a:lnTo>
                    <a:pt x="606" y="206"/>
                  </a:lnTo>
                  <a:lnTo>
                    <a:pt x="605" y="209"/>
                  </a:lnTo>
                  <a:lnTo>
                    <a:pt x="602" y="210"/>
                  </a:lnTo>
                  <a:lnTo>
                    <a:pt x="599" y="210"/>
                  </a:lnTo>
                  <a:lnTo>
                    <a:pt x="599" y="210"/>
                  </a:lnTo>
                  <a:lnTo>
                    <a:pt x="596" y="209"/>
                  </a:lnTo>
                  <a:lnTo>
                    <a:pt x="595" y="207"/>
                  </a:lnTo>
                  <a:lnTo>
                    <a:pt x="593" y="204"/>
                  </a:lnTo>
                  <a:lnTo>
                    <a:pt x="592" y="203"/>
                  </a:lnTo>
                  <a:lnTo>
                    <a:pt x="592" y="203"/>
                  </a:lnTo>
                  <a:lnTo>
                    <a:pt x="589" y="203"/>
                  </a:lnTo>
                  <a:lnTo>
                    <a:pt x="586" y="204"/>
                  </a:lnTo>
                  <a:lnTo>
                    <a:pt x="585" y="206"/>
                  </a:lnTo>
                  <a:lnTo>
                    <a:pt x="583" y="206"/>
                  </a:lnTo>
                  <a:lnTo>
                    <a:pt x="583" y="206"/>
                  </a:lnTo>
                  <a:lnTo>
                    <a:pt x="582" y="204"/>
                  </a:lnTo>
                  <a:lnTo>
                    <a:pt x="583" y="201"/>
                  </a:lnTo>
                  <a:lnTo>
                    <a:pt x="585" y="197"/>
                  </a:lnTo>
                  <a:lnTo>
                    <a:pt x="585" y="197"/>
                  </a:lnTo>
                  <a:lnTo>
                    <a:pt x="585" y="194"/>
                  </a:lnTo>
                  <a:lnTo>
                    <a:pt x="582" y="196"/>
                  </a:lnTo>
                  <a:lnTo>
                    <a:pt x="582" y="196"/>
                  </a:lnTo>
                  <a:lnTo>
                    <a:pt x="577" y="196"/>
                  </a:lnTo>
                  <a:lnTo>
                    <a:pt x="575" y="199"/>
                  </a:lnTo>
                  <a:lnTo>
                    <a:pt x="572" y="201"/>
                  </a:lnTo>
                  <a:lnTo>
                    <a:pt x="572" y="201"/>
                  </a:lnTo>
                  <a:lnTo>
                    <a:pt x="570" y="203"/>
                  </a:lnTo>
                  <a:lnTo>
                    <a:pt x="569" y="204"/>
                  </a:lnTo>
                  <a:lnTo>
                    <a:pt x="565" y="206"/>
                  </a:lnTo>
                  <a:lnTo>
                    <a:pt x="555" y="207"/>
                  </a:lnTo>
                  <a:lnTo>
                    <a:pt x="555" y="207"/>
                  </a:lnTo>
                  <a:lnTo>
                    <a:pt x="552" y="209"/>
                  </a:lnTo>
                  <a:lnTo>
                    <a:pt x="552" y="210"/>
                  </a:lnTo>
                  <a:lnTo>
                    <a:pt x="552" y="213"/>
                  </a:lnTo>
                  <a:lnTo>
                    <a:pt x="552" y="213"/>
                  </a:lnTo>
                  <a:lnTo>
                    <a:pt x="553" y="214"/>
                  </a:lnTo>
                  <a:lnTo>
                    <a:pt x="555" y="216"/>
                  </a:lnTo>
                  <a:lnTo>
                    <a:pt x="556" y="217"/>
                  </a:lnTo>
                  <a:lnTo>
                    <a:pt x="557" y="219"/>
                  </a:lnTo>
                  <a:lnTo>
                    <a:pt x="557" y="219"/>
                  </a:lnTo>
                  <a:lnTo>
                    <a:pt x="556" y="220"/>
                  </a:lnTo>
                  <a:lnTo>
                    <a:pt x="553" y="220"/>
                  </a:lnTo>
                  <a:lnTo>
                    <a:pt x="546" y="219"/>
                  </a:lnTo>
                  <a:lnTo>
                    <a:pt x="546" y="219"/>
                  </a:lnTo>
                  <a:lnTo>
                    <a:pt x="542" y="220"/>
                  </a:lnTo>
                  <a:lnTo>
                    <a:pt x="535" y="223"/>
                  </a:lnTo>
                  <a:lnTo>
                    <a:pt x="523" y="229"/>
                  </a:lnTo>
                  <a:lnTo>
                    <a:pt x="523" y="229"/>
                  </a:lnTo>
                  <a:lnTo>
                    <a:pt x="522" y="230"/>
                  </a:lnTo>
                  <a:lnTo>
                    <a:pt x="522" y="231"/>
                  </a:lnTo>
                  <a:lnTo>
                    <a:pt x="525" y="233"/>
                  </a:lnTo>
                  <a:lnTo>
                    <a:pt x="525" y="233"/>
                  </a:lnTo>
                  <a:lnTo>
                    <a:pt x="526" y="233"/>
                  </a:lnTo>
                  <a:lnTo>
                    <a:pt x="529" y="233"/>
                  </a:lnTo>
                  <a:lnTo>
                    <a:pt x="536" y="229"/>
                  </a:lnTo>
                  <a:lnTo>
                    <a:pt x="536" y="229"/>
                  </a:lnTo>
                  <a:lnTo>
                    <a:pt x="542" y="226"/>
                  </a:lnTo>
                  <a:lnTo>
                    <a:pt x="547" y="224"/>
                  </a:lnTo>
                  <a:lnTo>
                    <a:pt x="553" y="224"/>
                  </a:lnTo>
                  <a:lnTo>
                    <a:pt x="557" y="226"/>
                  </a:lnTo>
                  <a:lnTo>
                    <a:pt x="557" y="226"/>
                  </a:lnTo>
                  <a:lnTo>
                    <a:pt x="559" y="226"/>
                  </a:lnTo>
                  <a:lnTo>
                    <a:pt x="562" y="224"/>
                  </a:lnTo>
                  <a:lnTo>
                    <a:pt x="566" y="223"/>
                  </a:lnTo>
                  <a:lnTo>
                    <a:pt x="566" y="223"/>
                  </a:lnTo>
                  <a:lnTo>
                    <a:pt x="572" y="221"/>
                  </a:lnTo>
                  <a:lnTo>
                    <a:pt x="572" y="221"/>
                  </a:lnTo>
                  <a:lnTo>
                    <a:pt x="572" y="223"/>
                  </a:lnTo>
                  <a:lnTo>
                    <a:pt x="570" y="226"/>
                  </a:lnTo>
                  <a:lnTo>
                    <a:pt x="570" y="226"/>
                  </a:lnTo>
                  <a:lnTo>
                    <a:pt x="566" y="227"/>
                  </a:lnTo>
                  <a:lnTo>
                    <a:pt x="560" y="229"/>
                  </a:lnTo>
                  <a:lnTo>
                    <a:pt x="560" y="229"/>
                  </a:lnTo>
                  <a:lnTo>
                    <a:pt x="559" y="230"/>
                  </a:lnTo>
                  <a:lnTo>
                    <a:pt x="559" y="231"/>
                  </a:lnTo>
                  <a:lnTo>
                    <a:pt x="560" y="234"/>
                  </a:lnTo>
                  <a:lnTo>
                    <a:pt x="560" y="239"/>
                  </a:lnTo>
                  <a:lnTo>
                    <a:pt x="560" y="239"/>
                  </a:lnTo>
                  <a:lnTo>
                    <a:pt x="559" y="240"/>
                  </a:lnTo>
                  <a:lnTo>
                    <a:pt x="557" y="241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2" y="244"/>
                  </a:lnTo>
                  <a:lnTo>
                    <a:pt x="550" y="246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7" y="253"/>
                  </a:lnTo>
                  <a:lnTo>
                    <a:pt x="546" y="253"/>
                  </a:lnTo>
                  <a:lnTo>
                    <a:pt x="540" y="254"/>
                  </a:lnTo>
                  <a:lnTo>
                    <a:pt x="540" y="254"/>
                  </a:lnTo>
                  <a:lnTo>
                    <a:pt x="536" y="256"/>
                  </a:lnTo>
                  <a:lnTo>
                    <a:pt x="532" y="260"/>
                  </a:lnTo>
                  <a:lnTo>
                    <a:pt x="529" y="264"/>
                  </a:lnTo>
                  <a:lnTo>
                    <a:pt x="527" y="267"/>
                  </a:lnTo>
                  <a:lnTo>
                    <a:pt x="527" y="267"/>
                  </a:lnTo>
                  <a:lnTo>
                    <a:pt x="526" y="271"/>
                  </a:lnTo>
                  <a:lnTo>
                    <a:pt x="522" y="273"/>
                  </a:lnTo>
                  <a:lnTo>
                    <a:pt x="522" y="273"/>
                  </a:lnTo>
                  <a:lnTo>
                    <a:pt x="519" y="274"/>
                  </a:lnTo>
                  <a:lnTo>
                    <a:pt x="516" y="276"/>
                  </a:lnTo>
                  <a:lnTo>
                    <a:pt x="515" y="279"/>
                  </a:lnTo>
                  <a:lnTo>
                    <a:pt x="515" y="279"/>
                  </a:lnTo>
                  <a:lnTo>
                    <a:pt x="513" y="281"/>
                  </a:lnTo>
                  <a:lnTo>
                    <a:pt x="515" y="284"/>
                  </a:lnTo>
                  <a:lnTo>
                    <a:pt x="516" y="287"/>
                  </a:lnTo>
                  <a:lnTo>
                    <a:pt x="516" y="287"/>
                  </a:lnTo>
                  <a:lnTo>
                    <a:pt x="516" y="289"/>
                  </a:lnTo>
                  <a:lnTo>
                    <a:pt x="515" y="290"/>
                  </a:lnTo>
                  <a:lnTo>
                    <a:pt x="512" y="294"/>
                  </a:lnTo>
                  <a:lnTo>
                    <a:pt x="512" y="294"/>
                  </a:lnTo>
                  <a:lnTo>
                    <a:pt x="510" y="297"/>
                  </a:lnTo>
                  <a:lnTo>
                    <a:pt x="510" y="299"/>
                  </a:lnTo>
                  <a:lnTo>
                    <a:pt x="509" y="300"/>
                  </a:lnTo>
                  <a:lnTo>
                    <a:pt x="509" y="300"/>
                  </a:lnTo>
                  <a:lnTo>
                    <a:pt x="502" y="303"/>
                  </a:lnTo>
                  <a:lnTo>
                    <a:pt x="495" y="304"/>
                  </a:lnTo>
                  <a:lnTo>
                    <a:pt x="495" y="304"/>
                  </a:lnTo>
                  <a:lnTo>
                    <a:pt x="489" y="304"/>
                  </a:lnTo>
                  <a:lnTo>
                    <a:pt x="486" y="304"/>
                  </a:lnTo>
                  <a:lnTo>
                    <a:pt x="485" y="304"/>
                  </a:lnTo>
                  <a:lnTo>
                    <a:pt x="485" y="304"/>
                  </a:lnTo>
                  <a:lnTo>
                    <a:pt x="483" y="306"/>
                  </a:lnTo>
                  <a:lnTo>
                    <a:pt x="485" y="307"/>
                  </a:lnTo>
                  <a:lnTo>
                    <a:pt x="487" y="309"/>
                  </a:lnTo>
                  <a:lnTo>
                    <a:pt x="487" y="309"/>
                  </a:lnTo>
                  <a:lnTo>
                    <a:pt x="492" y="312"/>
                  </a:lnTo>
                  <a:lnTo>
                    <a:pt x="492" y="313"/>
                  </a:lnTo>
                  <a:lnTo>
                    <a:pt x="492" y="314"/>
                  </a:lnTo>
                  <a:lnTo>
                    <a:pt x="492" y="314"/>
                  </a:lnTo>
                  <a:lnTo>
                    <a:pt x="489" y="317"/>
                  </a:lnTo>
                  <a:lnTo>
                    <a:pt x="486" y="319"/>
                  </a:lnTo>
                  <a:lnTo>
                    <a:pt x="483" y="319"/>
                  </a:lnTo>
                  <a:lnTo>
                    <a:pt x="483" y="319"/>
                  </a:lnTo>
                  <a:lnTo>
                    <a:pt x="480" y="320"/>
                  </a:lnTo>
                  <a:lnTo>
                    <a:pt x="479" y="322"/>
                  </a:lnTo>
                  <a:lnTo>
                    <a:pt x="475" y="324"/>
                  </a:lnTo>
                  <a:lnTo>
                    <a:pt x="475" y="324"/>
                  </a:lnTo>
                  <a:lnTo>
                    <a:pt x="470" y="329"/>
                  </a:lnTo>
                  <a:lnTo>
                    <a:pt x="469" y="330"/>
                  </a:lnTo>
                  <a:lnTo>
                    <a:pt x="466" y="333"/>
                  </a:lnTo>
                  <a:lnTo>
                    <a:pt x="466" y="333"/>
                  </a:lnTo>
                  <a:lnTo>
                    <a:pt x="462" y="334"/>
                  </a:lnTo>
                  <a:lnTo>
                    <a:pt x="460" y="336"/>
                  </a:lnTo>
                  <a:lnTo>
                    <a:pt x="460" y="336"/>
                  </a:lnTo>
                  <a:lnTo>
                    <a:pt x="460" y="339"/>
                  </a:lnTo>
                  <a:lnTo>
                    <a:pt x="460" y="340"/>
                  </a:lnTo>
                  <a:lnTo>
                    <a:pt x="459" y="340"/>
                  </a:lnTo>
                  <a:lnTo>
                    <a:pt x="455" y="342"/>
                  </a:lnTo>
                  <a:lnTo>
                    <a:pt x="455" y="342"/>
                  </a:lnTo>
                  <a:lnTo>
                    <a:pt x="450" y="342"/>
                  </a:lnTo>
                  <a:lnTo>
                    <a:pt x="449" y="340"/>
                  </a:lnTo>
                  <a:lnTo>
                    <a:pt x="449" y="339"/>
                  </a:lnTo>
                  <a:lnTo>
                    <a:pt x="446" y="337"/>
                  </a:lnTo>
                  <a:lnTo>
                    <a:pt x="446" y="337"/>
                  </a:lnTo>
                  <a:lnTo>
                    <a:pt x="442" y="336"/>
                  </a:lnTo>
                  <a:lnTo>
                    <a:pt x="439" y="336"/>
                  </a:lnTo>
                  <a:lnTo>
                    <a:pt x="437" y="337"/>
                  </a:lnTo>
                  <a:lnTo>
                    <a:pt x="437" y="337"/>
                  </a:lnTo>
                  <a:lnTo>
                    <a:pt x="436" y="339"/>
                  </a:lnTo>
                  <a:lnTo>
                    <a:pt x="436" y="342"/>
                  </a:lnTo>
                  <a:lnTo>
                    <a:pt x="435" y="344"/>
                  </a:lnTo>
                  <a:lnTo>
                    <a:pt x="433" y="346"/>
                  </a:lnTo>
                  <a:lnTo>
                    <a:pt x="433" y="346"/>
                  </a:lnTo>
                  <a:lnTo>
                    <a:pt x="429" y="343"/>
                  </a:lnTo>
                  <a:lnTo>
                    <a:pt x="427" y="343"/>
                  </a:lnTo>
                  <a:lnTo>
                    <a:pt x="426" y="346"/>
                  </a:lnTo>
                  <a:lnTo>
                    <a:pt x="426" y="346"/>
                  </a:lnTo>
                  <a:lnTo>
                    <a:pt x="426" y="347"/>
                  </a:lnTo>
                  <a:lnTo>
                    <a:pt x="429" y="349"/>
                  </a:lnTo>
                  <a:lnTo>
                    <a:pt x="430" y="350"/>
                  </a:lnTo>
                  <a:lnTo>
                    <a:pt x="430" y="352"/>
                  </a:lnTo>
                  <a:lnTo>
                    <a:pt x="430" y="352"/>
                  </a:lnTo>
                  <a:lnTo>
                    <a:pt x="430" y="354"/>
                  </a:lnTo>
                  <a:lnTo>
                    <a:pt x="429" y="354"/>
                  </a:lnTo>
                  <a:lnTo>
                    <a:pt x="425" y="352"/>
                  </a:lnTo>
                  <a:lnTo>
                    <a:pt x="425" y="352"/>
                  </a:lnTo>
                  <a:lnTo>
                    <a:pt x="423" y="352"/>
                  </a:lnTo>
                  <a:lnTo>
                    <a:pt x="422" y="353"/>
                  </a:lnTo>
                  <a:lnTo>
                    <a:pt x="419" y="356"/>
                  </a:lnTo>
                  <a:lnTo>
                    <a:pt x="419" y="356"/>
                  </a:lnTo>
                  <a:lnTo>
                    <a:pt x="416" y="357"/>
                  </a:lnTo>
                  <a:lnTo>
                    <a:pt x="414" y="357"/>
                  </a:lnTo>
                  <a:lnTo>
                    <a:pt x="410" y="356"/>
                  </a:lnTo>
                  <a:lnTo>
                    <a:pt x="410" y="356"/>
                  </a:lnTo>
                  <a:lnTo>
                    <a:pt x="409" y="357"/>
                  </a:lnTo>
                  <a:lnTo>
                    <a:pt x="407" y="359"/>
                  </a:lnTo>
                  <a:lnTo>
                    <a:pt x="403" y="364"/>
                  </a:lnTo>
                  <a:lnTo>
                    <a:pt x="403" y="364"/>
                  </a:lnTo>
                  <a:lnTo>
                    <a:pt x="402" y="366"/>
                  </a:lnTo>
                  <a:lnTo>
                    <a:pt x="399" y="366"/>
                  </a:lnTo>
                  <a:lnTo>
                    <a:pt x="397" y="364"/>
                  </a:lnTo>
                  <a:lnTo>
                    <a:pt x="397" y="364"/>
                  </a:lnTo>
                  <a:lnTo>
                    <a:pt x="397" y="364"/>
                  </a:lnTo>
                  <a:lnTo>
                    <a:pt x="392" y="372"/>
                  </a:lnTo>
                  <a:lnTo>
                    <a:pt x="392" y="372"/>
                  </a:lnTo>
                  <a:lnTo>
                    <a:pt x="382" y="376"/>
                  </a:lnTo>
                  <a:lnTo>
                    <a:pt x="382" y="376"/>
                  </a:lnTo>
                  <a:lnTo>
                    <a:pt x="379" y="377"/>
                  </a:lnTo>
                  <a:lnTo>
                    <a:pt x="376" y="377"/>
                  </a:lnTo>
                  <a:lnTo>
                    <a:pt x="374" y="377"/>
                  </a:lnTo>
                  <a:lnTo>
                    <a:pt x="374" y="377"/>
                  </a:lnTo>
                  <a:lnTo>
                    <a:pt x="373" y="376"/>
                  </a:lnTo>
                  <a:lnTo>
                    <a:pt x="370" y="377"/>
                  </a:lnTo>
                  <a:lnTo>
                    <a:pt x="369" y="379"/>
                  </a:lnTo>
                  <a:lnTo>
                    <a:pt x="367" y="382"/>
                  </a:lnTo>
                  <a:lnTo>
                    <a:pt x="367" y="382"/>
                  </a:lnTo>
                  <a:lnTo>
                    <a:pt x="366" y="387"/>
                  </a:lnTo>
                  <a:lnTo>
                    <a:pt x="367" y="393"/>
                  </a:lnTo>
                  <a:lnTo>
                    <a:pt x="370" y="400"/>
                  </a:lnTo>
                  <a:lnTo>
                    <a:pt x="370" y="400"/>
                  </a:lnTo>
                  <a:lnTo>
                    <a:pt x="370" y="402"/>
                  </a:lnTo>
                  <a:lnTo>
                    <a:pt x="367" y="402"/>
                  </a:lnTo>
                  <a:lnTo>
                    <a:pt x="366" y="403"/>
                  </a:lnTo>
                  <a:lnTo>
                    <a:pt x="366" y="404"/>
                  </a:lnTo>
                  <a:lnTo>
                    <a:pt x="366" y="404"/>
                  </a:lnTo>
                  <a:lnTo>
                    <a:pt x="367" y="407"/>
                  </a:lnTo>
                  <a:lnTo>
                    <a:pt x="367" y="409"/>
                  </a:lnTo>
                  <a:lnTo>
                    <a:pt x="367" y="412"/>
                  </a:lnTo>
                  <a:lnTo>
                    <a:pt x="367" y="412"/>
                  </a:lnTo>
                  <a:lnTo>
                    <a:pt x="364" y="416"/>
                  </a:lnTo>
                  <a:lnTo>
                    <a:pt x="364" y="422"/>
                  </a:lnTo>
                  <a:lnTo>
                    <a:pt x="364" y="422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9" y="429"/>
                  </a:lnTo>
                  <a:lnTo>
                    <a:pt x="369" y="429"/>
                  </a:lnTo>
                  <a:lnTo>
                    <a:pt x="372" y="430"/>
                  </a:lnTo>
                  <a:lnTo>
                    <a:pt x="372" y="432"/>
                  </a:lnTo>
                  <a:lnTo>
                    <a:pt x="373" y="436"/>
                  </a:lnTo>
                  <a:lnTo>
                    <a:pt x="373" y="436"/>
                  </a:lnTo>
                  <a:lnTo>
                    <a:pt x="372" y="437"/>
                  </a:lnTo>
                  <a:lnTo>
                    <a:pt x="370" y="437"/>
                  </a:lnTo>
                  <a:lnTo>
                    <a:pt x="367" y="439"/>
                  </a:lnTo>
                  <a:lnTo>
                    <a:pt x="367" y="439"/>
                  </a:lnTo>
                  <a:lnTo>
                    <a:pt x="366" y="442"/>
                  </a:lnTo>
                  <a:lnTo>
                    <a:pt x="367" y="444"/>
                  </a:lnTo>
                  <a:lnTo>
                    <a:pt x="369" y="447"/>
                  </a:lnTo>
                  <a:lnTo>
                    <a:pt x="369" y="447"/>
                  </a:lnTo>
                  <a:lnTo>
                    <a:pt x="369" y="450"/>
                  </a:lnTo>
                  <a:lnTo>
                    <a:pt x="369" y="453"/>
                  </a:lnTo>
                  <a:lnTo>
                    <a:pt x="369" y="453"/>
                  </a:lnTo>
                  <a:lnTo>
                    <a:pt x="369" y="457"/>
                  </a:lnTo>
                  <a:lnTo>
                    <a:pt x="370" y="459"/>
                  </a:lnTo>
                  <a:lnTo>
                    <a:pt x="372" y="460"/>
                  </a:lnTo>
                  <a:lnTo>
                    <a:pt x="372" y="460"/>
                  </a:lnTo>
                  <a:lnTo>
                    <a:pt x="373" y="460"/>
                  </a:lnTo>
                  <a:lnTo>
                    <a:pt x="374" y="457"/>
                  </a:lnTo>
                  <a:lnTo>
                    <a:pt x="373" y="454"/>
                  </a:lnTo>
                  <a:lnTo>
                    <a:pt x="373" y="454"/>
                  </a:lnTo>
                  <a:lnTo>
                    <a:pt x="383" y="456"/>
                  </a:lnTo>
                  <a:lnTo>
                    <a:pt x="383" y="456"/>
                  </a:lnTo>
                  <a:lnTo>
                    <a:pt x="386" y="457"/>
                  </a:lnTo>
                  <a:lnTo>
                    <a:pt x="384" y="459"/>
                  </a:lnTo>
                  <a:lnTo>
                    <a:pt x="382" y="463"/>
                  </a:lnTo>
                  <a:lnTo>
                    <a:pt x="382" y="463"/>
                  </a:lnTo>
                  <a:lnTo>
                    <a:pt x="379" y="465"/>
                  </a:lnTo>
                  <a:lnTo>
                    <a:pt x="377" y="466"/>
                  </a:lnTo>
                  <a:lnTo>
                    <a:pt x="374" y="467"/>
                  </a:lnTo>
                  <a:lnTo>
                    <a:pt x="372" y="470"/>
                  </a:lnTo>
                  <a:lnTo>
                    <a:pt x="372" y="470"/>
                  </a:lnTo>
                  <a:lnTo>
                    <a:pt x="372" y="473"/>
                  </a:lnTo>
                  <a:lnTo>
                    <a:pt x="373" y="475"/>
                  </a:lnTo>
                  <a:lnTo>
                    <a:pt x="377" y="477"/>
                  </a:lnTo>
                  <a:lnTo>
                    <a:pt x="389" y="482"/>
                  </a:lnTo>
                  <a:lnTo>
                    <a:pt x="389" y="482"/>
                  </a:lnTo>
                  <a:lnTo>
                    <a:pt x="399" y="486"/>
                  </a:lnTo>
                  <a:lnTo>
                    <a:pt x="399" y="486"/>
                  </a:lnTo>
                  <a:lnTo>
                    <a:pt x="406" y="492"/>
                  </a:lnTo>
                  <a:lnTo>
                    <a:pt x="406" y="492"/>
                  </a:lnTo>
                  <a:lnTo>
                    <a:pt x="412" y="493"/>
                  </a:lnTo>
                  <a:lnTo>
                    <a:pt x="417" y="492"/>
                  </a:lnTo>
                  <a:lnTo>
                    <a:pt x="417" y="492"/>
                  </a:lnTo>
                  <a:lnTo>
                    <a:pt x="420" y="490"/>
                  </a:lnTo>
                  <a:lnTo>
                    <a:pt x="423" y="490"/>
                  </a:lnTo>
                  <a:lnTo>
                    <a:pt x="429" y="492"/>
                  </a:lnTo>
                  <a:lnTo>
                    <a:pt x="429" y="492"/>
                  </a:lnTo>
                  <a:lnTo>
                    <a:pt x="432" y="490"/>
                  </a:lnTo>
                  <a:lnTo>
                    <a:pt x="435" y="489"/>
                  </a:lnTo>
                  <a:lnTo>
                    <a:pt x="443" y="483"/>
                  </a:lnTo>
                  <a:lnTo>
                    <a:pt x="456" y="469"/>
                  </a:lnTo>
                  <a:lnTo>
                    <a:pt x="456" y="469"/>
                  </a:lnTo>
                  <a:lnTo>
                    <a:pt x="459" y="465"/>
                  </a:lnTo>
                  <a:lnTo>
                    <a:pt x="463" y="463"/>
                  </a:lnTo>
                  <a:lnTo>
                    <a:pt x="463" y="463"/>
                  </a:lnTo>
                  <a:lnTo>
                    <a:pt x="469" y="463"/>
                  </a:lnTo>
                  <a:lnTo>
                    <a:pt x="472" y="463"/>
                  </a:lnTo>
                  <a:lnTo>
                    <a:pt x="473" y="463"/>
                  </a:lnTo>
                  <a:lnTo>
                    <a:pt x="473" y="463"/>
                  </a:lnTo>
                  <a:lnTo>
                    <a:pt x="476" y="459"/>
                  </a:lnTo>
                  <a:lnTo>
                    <a:pt x="479" y="454"/>
                  </a:lnTo>
                  <a:lnTo>
                    <a:pt x="479" y="454"/>
                  </a:lnTo>
                  <a:lnTo>
                    <a:pt x="479" y="453"/>
                  </a:lnTo>
                  <a:lnTo>
                    <a:pt x="479" y="452"/>
                  </a:lnTo>
                  <a:lnTo>
                    <a:pt x="479" y="450"/>
                  </a:lnTo>
                  <a:lnTo>
                    <a:pt x="480" y="449"/>
                  </a:lnTo>
                  <a:lnTo>
                    <a:pt x="480" y="449"/>
                  </a:lnTo>
                  <a:lnTo>
                    <a:pt x="483" y="450"/>
                  </a:lnTo>
                  <a:lnTo>
                    <a:pt x="483" y="453"/>
                  </a:lnTo>
                  <a:lnTo>
                    <a:pt x="483" y="457"/>
                  </a:lnTo>
                  <a:lnTo>
                    <a:pt x="483" y="457"/>
                  </a:lnTo>
                  <a:lnTo>
                    <a:pt x="485" y="457"/>
                  </a:lnTo>
                  <a:lnTo>
                    <a:pt x="486" y="457"/>
                  </a:lnTo>
                  <a:lnTo>
                    <a:pt x="487" y="459"/>
                  </a:lnTo>
                  <a:lnTo>
                    <a:pt x="489" y="460"/>
                  </a:lnTo>
                  <a:lnTo>
                    <a:pt x="489" y="460"/>
                  </a:lnTo>
                  <a:lnTo>
                    <a:pt x="489" y="462"/>
                  </a:lnTo>
                  <a:lnTo>
                    <a:pt x="489" y="463"/>
                  </a:lnTo>
                  <a:lnTo>
                    <a:pt x="487" y="465"/>
                  </a:lnTo>
                  <a:lnTo>
                    <a:pt x="486" y="466"/>
                  </a:lnTo>
                  <a:lnTo>
                    <a:pt x="486" y="466"/>
                  </a:lnTo>
                  <a:lnTo>
                    <a:pt x="487" y="467"/>
                  </a:lnTo>
                  <a:lnTo>
                    <a:pt x="489" y="466"/>
                  </a:lnTo>
                  <a:lnTo>
                    <a:pt x="492" y="466"/>
                  </a:lnTo>
                  <a:lnTo>
                    <a:pt x="492" y="466"/>
                  </a:lnTo>
                  <a:lnTo>
                    <a:pt x="496" y="467"/>
                  </a:lnTo>
                  <a:lnTo>
                    <a:pt x="497" y="469"/>
                  </a:lnTo>
                  <a:lnTo>
                    <a:pt x="497" y="469"/>
                  </a:lnTo>
                  <a:lnTo>
                    <a:pt x="497" y="469"/>
                  </a:lnTo>
                  <a:lnTo>
                    <a:pt x="496" y="475"/>
                  </a:lnTo>
                  <a:lnTo>
                    <a:pt x="496" y="475"/>
                  </a:lnTo>
                  <a:lnTo>
                    <a:pt x="496" y="476"/>
                  </a:lnTo>
                  <a:lnTo>
                    <a:pt x="497" y="477"/>
                  </a:lnTo>
                  <a:lnTo>
                    <a:pt x="502" y="479"/>
                  </a:lnTo>
                  <a:lnTo>
                    <a:pt x="506" y="480"/>
                  </a:lnTo>
                  <a:lnTo>
                    <a:pt x="509" y="483"/>
                  </a:lnTo>
                  <a:lnTo>
                    <a:pt x="509" y="483"/>
                  </a:lnTo>
                  <a:lnTo>
                    <a:pt x="510" y="486"/>
                  </a:lnTo>
                  <a:lnTo>
                    <a:pt x="510" y="489"/>
                  </a:lnTo>
                  <a:lnTo>
                    <a:pt x="509" y="490"/>
                  </a:lnTo>
                  <a:lnTo>
                    <a:pt x="506" y="495"/>
                  </a:lnTo>
                  <a:lnTo>
                    <a:pt x="506" y="495"/>
                  </a:lnTo>
                  <a:lnTo>
                    <a:pt x="506" y="497"/>
                  </a:lnTo>
                  <a:lnTo>
                    <a:pt x="507" y="502"/>
                  </a:lnTo>
                  <a:lnTo>
                    <a:pt x="513" y="510"/>
                  </a:lnTo>
                  <a:lnTo>
                    <a:pt x="519" y="517"/>
                  </a:lnTo>
                  <a:lnTo>
                    <a:pt x="525" y="522"/>
                  </a:lnTo>
                  <a:lnTo>
                    <a:pt x="525" y="522"/>
                  </a:lnTo>
                  <a:lnTo>
                    <a:pt x="527" y="523"/>
                  </a:lnTo>
                  <a:lnTo>
                    <a:pt x="530" y="526"/>
                  </a:lnTo>
                  <a:lnTo>
                    <a:pt x="530" y="526"/>
                  </a:lnTo>
                  <a:lnTo>
                    <a:pt x="532" y="530"/>
                  </a:lnTo>
                  <a:lnTo>
                    <a:pt x="530" y="533"/>
                  </a:lnTo>
                  <a:lnTo>
                    <a:pt x="525" y="539"/>
                  </a:lnTo>
                  <a:lnTo>
                    <a:pt x="525" y="539"/>
                  </a:lnTo>
                  <a:lnTo>
                    <a:pt x="525" y="542"/>
                  </a:lnTo>
                  <a:lnTo>
                    <a:pt x="525" y="543"/>
                  </a:lnTo>
                  <a:lnTo>
                    <a:pt x="525" y="543"/>
                  </a:lnTo>
                  <a:lnTo>
                    <a:pt x="523" y="543"/>
                  </a:lnTo>
                  <a:lnTo>
                    <a:pt x="523" y="543"/>
                  </a:lnTo>
                  <a:lnTo>
                    <a:pt x="519" y="542"/>
                  </a:lnTo>
                  <a:lnTo>
                    <a:pt x="515" y="542"/>
                  </a:lnTo>
                  <a:lnTo>
                    <a:pt x="512" y="543"/>
                  </a:lnTo>
                  <a:lnTo>
                    <a:pt x="509" y="546"/>
                  </a:lnTo>
                  <a:lnTo>
                    <a:pt x="509" y="546"/>
                  </a:lnTo>
                  <a:lnTo>
                    <a:pt x="509" y="550"/>
                  </a:lnTo>
                  <a:lnTo>
                    <a:pt x="509" y="553"/>
                  </a:lnTo>
                  <a:lnTo>
                    <a:pt x="509" y="553"/>
                  </a:lnTo>
                  <a:lnTo>
                    <a:pt x="507" y="555"/>
                  </a:lnTo>
                  <a:lnTo>
                    <a:pt x="506" y="553"/>
                  </a:lnTo>
                  <a:lnTo>
                    <a:pt x="503" y="550"/>
                  </a:lnTo>
                  <a:lnTo>
                    <a:pt x="503" y="550"/>
                  </a:lnTo>
                  <a:lnTo>
                    <a:pt x="500" y="549"/>
                  </a:lnTo>
                  <a:lnTo>
                    <a:pt x="496" y="550"/>
                  </a:lnTo>
                  <a:lnTo>
                    <a:pt x="492" y="552"/>
                  </a:lnTo>
                  <a:lnTo>
                    <a:pt x="492" y="556"/>
                  </a:lnTo>
                  <a:lnTo>
                    <a:pt x="492" y="556"/>
                  </a:lnTo>
                  <a:lnTo>
                    <a:pt x="492" y="559"/>
                  </a:lnTo>
                  <a:lnTo>
                    <a:pt x="493" y="560"/>
                  </a:lnTo>
                  <a:lnTo>
                    <a:pt x="496" y="562"/>
                  </a:lnTo>
                  <a:lnTo>
                    <a:pt x="500" y="563"/>
                  </a:lnTo>
                  <a:lnTo>
                    <a:pt x="503" y="566"/>
                  </a:lnTo>
                  <a:lnTo>
                    <a:pt x="503" y="566"/>
                  </a:lnTo>
                  <a:lnTo>
                    <a:pt x="503" y="569"/>
                  </a:lnTo>
                  <a:lnTo>
                    <a:pt x="505" y="573"/>
                  </a:lnTo>
                  <a:lnTo>
                    <a:pt x="505" y="573"/>
                  </a:lnTo>
                  <a:lnTo>
                    <a:pt x="503" y="575"/>
                  </a:lnTo>
                  <a:lnTo>
                    <a:pt x="502" y="576"/>
                  </a:lnTo>
                  <a:lnTo>
                    <a:pt x="497" y="576"/>
                  </a:lnTo>
                  <a:lnTo>
                    <a:pt x="497" y="576"/>
                  </a:lnTo>
                  <a:lnTo>
                    <a:pt x="493" y="577"/>
                  </a:lnTo>
                  <a:lnTo>
                    <a:pt x="493" y="579"/>
                  </a:lnTo>
                  <a:lnTo>
                    <a:pt x="493" y="580"/>
                  </a:lnTo>
                  <a:lnTo>
                    <a:pt x="496" y="582"/>
                  </a:lnTo>
                  <a:lnTo>
                    <a:pt x="500" y="583"/>
                  </a:lnTo>
                  <a:lnTo>
                    <a:pt x="500" y="583"/>
                  </a:lnTo>
                  <a:lnTo>
                    <a:pt x="505" y="585"/>
                  </a:lnTo>
                  <a:lnTo>
                    <a:pt x="509" y="585"/>
                  </a:lnTo>
                  <a:lnTo>
                    <a:pt x="509" y="585"/>
                  </a:lnTo>
                  <a:lnTo>
                    <a:pt x="512" y="583"/>
                  </a:lnTo>
                  <a:lnTo>
                    <a:pt x="515" y="580"/>
                  </a:lnTo>
                  <a:lnTo>
                    <a:pt x="515" y="580"/>
                  </a:lnTo>
                  <a:lnTo>
                    <a:pt x="517" y="579"/>
                  </a:lnTo>
                  <a:lnTo>
                    <a:pt x="520" y="579"/>
                  </a:lnTo>
                  <a:lnTo>
                    <a:pt x="522" y="576"/>
                  </a:lnTo>
                  <a:lnTo>
                    <a:pt x="522" y="572"/>
                  </a:lnTo>
                  <a:lnTo>
                    <a:pt x="522" y="572"/>
                  </a:lnTo>
                  <a:lnTo>
                    <a:pt x="519" y="567"/>
                  </a:lnTo>
                  <a:lnTo>
                    <a:pt x="519" y="566"/>
                  </a:lnTo>
                  <a:lnTo>
                    <a:pt x="519" y="563"/>
                  </a:lnTo>
                  <a:lnTo>
                    <a:pt x="519" y="563"/>
                  </a:lnTo>
                  <a:lnTo>
                    <a:pt x="520" y="562"/>
                  </a:lnTo>
                  <a:lnTo>
                    <a:pt x="523" y="560"/>
                  </a:lnTo>
                  <a:lnTo>
                    <a:pt x="527" y="559"/>
                  </a:lnTo>
                  <a:lnTo>
                    <a:pt x="527" y="559"/>
                  </a:lnTo>
                  <a:lnTo>
                    <a:pt x="529" y="555"/>
                  </a:lnTo>
                  <a:lnTo>
                    <a:pt x="529" y="550"/>
                  </a:lnTo>
                  <a:lnTo>
                    <a:pt x="529" y="550"/>
                  </a:lnTo>
                  <a:lnTo>
                    <a:pt x="530" y="550"/>
                  </a:lnTo>
                  <a:lnTo>
                    <a:pt x="530" y="550"/>
                  </a:lnTo>
                  <a:lnTo>
                    <a:pt x="533" y="562"/>
                  </a:lnTo>
                  <a:lnTo>
                    <a:pt x="533" y="562"/>
                  </a:lnTo>
                  <a:lnTo>
                    <a:pt x="546" y="563"/>
                  </a:lnTo>
                  <a:lnTo>
                    <a:pt x="556" y="562"/>
                  </a:lnTo>
                  <a:lnTo>
                    <a:pt x="560" y="562"/>
                  </a:lnTo>
                  <a:lnTo>
                    <a:pt x="563" y="560"/>
                  </a:lnTo>
                  <a:lnTo>
                    <a:pt x="563" y="560"/>
                  </a:lnTo>
                  <a:lnTo>
                    <a:pt x="565" y="556"/>
                  </a:lnTo>
                  <a:lnTo>
                    <a:pt x="565" y="555"/>
                  </a:lnTo>
                  <a:lnTo>
                    <a:pt x="563" y="552"/>
                  </a:lnTo>
                  <a:lnTo>
                    <a:pt x="563" y="549"/>
                  </a:lnTo>
                  <a:lnTo>
                    <a:pt x="563" y="549"/>
                  </a:lnTo>
                  <a:lnTo>
                    <a:pt x="565" y="547"/>
                  </a:lnTo>
                  <a:lnTo>
                    <a:pt x="567" y="545"/>
                  </a:lnTo>
                  <a:lnTo>
                    <a:pt x="575" y="543"/>
                  </a:lnTo>
                  <a:lnTo>
                    <a:pt x="575" y="543"/>
                  </a:lnTo>
                  <a:lnTo>
                    <a:pt x="579" y="543"/>
                  </a:lnTo>
                  <a:lnTo>
                    <a:pt x="586" y="543"/>
                  </a:lnTo>
                  <a:lnTo>
                    <a:pt x="593" y="543"/>
                  </a:lnTo>
                  <a:lnTo>
                    <a:pt x="597" y="543"/>
                  </a:lnTo>
                  <a:lnTo>
                    <a:pt x="597" y="543"/>
                  </a:lnTo>
                  <a:lnTo>
                    <a:pt x="599" y="540"/>
                  </a:lnTo>
                  <a:lnTo>
                    <a:pt x="600" y="537"/>
                  </a:lnTo>
                  <a:lnTo>
                    <a:pt x="602" y="533"/>
                  </a:lnTo>
                  <a:lnTo>
                    <a:pt x="603" y="527"/>
                  </a:lnTo>
                  <a:lnTo>
                    <a:pt x="603" y="527"/>
                  </a:lnTo>
                  <a:lnTo>
                    <a:pt x="609" y="515"/>
                  </a:lnTo>
                  <a:lnTo>
                    <a:pt x="609" y="515"/>
                  </a:lnTo>
                  <a:lnTo>
                    <a:pt x="610" y="510"/>
                  </a:lnTo>
                  <a:lnTo>
                    <a:pt x="610" y="502"/>
                  </a:lnTo>
                  <a:lnTo>
                    <a:pt x="610" y="502"/>
                  </a:lnTo>
                  <a:lnTo>
                    <a:pt x="610" y="493"/>
                  </a:lnTo>
                  <a:lnTo>
                    <a:pt x="610" y="483"/>
                  </a:lnTo>
                  <a:lnTo>
                    <a:pt x="610" y="483"/>
                  </a:lnTo>
                  <a:lnTo>
                    <a:pt x="609" y="479"/>
                  </a:lnTo>
                  <a:lnTo>
                    <a:pt x="607" y="477"/>
                  </a:lnTo>
                  <a:lnTo>
                    <a:pt x="606" y="476"/>
                  </a:lnTo>
                  <a:lnTo>
                    <a:pt x="606" y="475"/>
                  </a:lnTo>
                  <a:lnTo>
                    <a:pt x="606" y="475"/>
                  </a:lnTo>
                  <a:lnTo>
                    <a:pt x="607" y="472"/>
                  </a:lnTo>
                  <a:lnTo>
                    <a:pt x="609" y="472"/>
                  </a:lnTo>
                  <a:lnTo>
                    <a:pt x="610" y="472"/>
                  </a:lnTo>
                  <a:lnTo>
                    <a:pt x="616" y="472"/>
                  </a:lnTo>
                  <a:lnTo>
                    <a:pt x="616" y="472"/>
                  </a:lnTo>
                  <a:lnTo>
                    <a:pt x="629" y="467"/>
                  </a:lnTo>
                  <a:lnTo>
                    <a:pt x="629" y="467"/>
                  </a:lnTo>
                  <a:lnTo>
                    <a:pt x="630" y="465"/>
                  </a:lnTo>
                  <a:lnTo>
                    <a:pt x="633" y="463"/>
                  </a:lnTo>
                  <a:lnTo>
                    <a:pt x="636" y="462"/>
                  </a:lnTo>
                  <a:lnTo>
                    <a:pt x="636" y="462"/>
                  </a:lnTo>
                  <a:lnTo>
                    <a:pt x="637" y="462"/>
                  </a:lnTo>
                  <a:lnTo>
                    <a:pt x="639" y="459"/>
                  </a:lnTo>
                  <a:lnTo>
                    <a:pt x="639" y="456"/>
                  </a:lnTo>
                  <a:lnTo>
                    <a:pt x="640" y="453"/>
                  </a:lnTo>
                  <a:lnTo>
                    <a:pt x="640" y="453"/>
                  </a:lnTo>
                  <a:lnTo>
                    <a:pt x="645" y="450"/>
                  </a:lnTo>
                  <a:lnTo>
                    <a:pt x="650" y="449"/>
                  </a:lnTo>
                  <a:lnTo>
                    <a:pt x="656" y="446"/>
                  </a:lnTo>
                  <a:lnTo>
                    <a:pt x="657" y="444"/>
                  </a:lnTo>
                  <a:lnTo>
                    <a:pt x="657" y="443"/>
                  </a:lnTo>
                  <a:lnTo>
                    <a:pt x="657" y="443"/>
                  </a:lnTo>
                  <a:lnTo>
                    <a:pt x="657" y="440"/>
                  </a:lnTo>
                  <a:lnTo>
                    <a:pt x="655" y="439"/>
                  </a:lnTo>
                  <a:lnTo>
                    <a:pt x="650" y="436"/>
                  </a:lnTo>
                  <a:lnTo>
                    <a:pt x="646" y="432"/>
                  </a:lnTo>
                  <a:lnTo>
                    <a:pt x="646" y="432"/>
                  </a:lnTo>
                  <a:lnTo>
                    <a:pt x="643" y="429"/>
                  </a:lnTo>
                  <a:lnTo>
                    <a:pt x="645" y="427"/>
                  </a:lnTo>
                  <a:lnTo>
                    <a:pt x="645" y="426"/>
                  </a:lnTo>
                  <a:lnTo>
                    <a:pt x="642" y="423"/>
                  </a:lnTo>
                  <a:lnTo>
                    <a:pt x="642" y="423"/>
                  </a:lnTo>
                  <a:lnTo>
                    <a:pt x="637" y="422"/>
                  </a:lnTo>
                  <a:lnTo>
                    <a:pt x="635" y="422"/>
                  </a:lnTo>
                  <a:lnTo>
                    <a:pt x="633" y="422"/>
                  </a:lnTo>
                  <a:lnTo>
                    <a:pt x="629" y="423"/>
                  </a:lnTo>
                  <a:lnTo>
                    <a:pt x="629" y="423"/>
                  </a:lnTo>
                  <a:lnTo>
                    <a:pt x="625" y="422"/>
                  </a:lnTo>
                  <a:lnTo>
                    <a:pt x="620" y="419"/>
                  </a:lnTo>
                  <a:lnTo>
                    <a:pt x="617" y="414"/>
                  </a:lnTo>
                  <a:lnTo>
                    <a:pt x="617" y="414"/>
                  </a:lnTo>
                  <a:lnTo>
                    <a:pt x="616" y="393"/>
                  </a:lnTo>
                  <a:lnTo>
                    <a:pt x="616" y="393"/>
                  </a:lnTo>
                  <a:lnTo>
                    <a:pt x="616" y="389"/>
                  </a:lnTo>
                  <a:lnTo>
                    <a:pt x="619" y="383"/>
                  </a:lnTo>
                  <a:lnTo>
                    <a:pt x="620" y="377"/>
                  </a:lnTo>
                  <a:lnTo>
                    <a:pt x="620" y="373"/>
                  </a:lnTo>
                  <a:lnTo>
                    <a:pt x="620" y="373"/>
                  </a:lnTo>
                  <a:lnTo>
                    <a:pt x="619" y="369"/>
                  </a:lnTo>
                  <a:lnTo>
                    <a:pt x="622" y="367"/>
                  </a:lnTo>
                  <a:lnTo>
                    <a:pt x="630" y="364"/>
                  </a:lnTo>
                  <a:lnTo>
                    <a:pt x="630" y="364"/>
                  </a:lnTo>
                  <a:lnTo>
                    <a:pt x="640" y="360"/>
                  </a:lnTo>
                  <a:lnTo>
                    <a:pt x="640" y="360"/>
                  </a:lnTo>
                  <a:lnTo>
                    <a:pt x="645" y="356"/>
                  </a:lnTo>
                  <a:lnTo>
                    <a:pt x="650" y="353"/>
                  </a:lnTo>
                  <a:lnTo>
                    <a:pt x="657" y="350"/>
                  </a:lnTo>
                  <a:lnTo>
                    <a:pt x="657" y="350"/>
                  </a:lnTo>
                  <a:lnTo>
                    <a:pt x="666" y="347"/>
                  </a:lnTo>
                  <a:lnTo>
                    <a:pt x="672" y="343"/>
                  </a:lnTo>
                  <a:lnTo>
                    <a:pt x="676" y="339"/>
                  </a:lnTo>
                  <a:lnTo>
                    <a:pt x="680" y="337"/>
                  </a:lnTo>
                  <a:lnTo>
                    <a:pt x="680" y="337"/>
                  </a:lnTo>
                  <a:lnTo>
                    <a:pt x="683" y="336"/>
                  </a:lnTo>
                  <a:lnTo>
                    <a:pt x="687" y="333"/>
                  </a:lnTo>
                  <a:lnTo>
                    <a:pt x="692" y="329"/>
                  </a:lnTo>
                  <a:lnTo>
                    <a:pt x="692" y="329"/>
                  </a:lnTo>
                  <a:lnTo>
                    <a:pt x="693" y="327"/>
                  </a:lnTo>
                  <a:lnTo>
                    <a:pt x="695" y="324"/>
                  </a:lnTo>
                  <a:lnTo>
                    <a:pt x="695" y="322"/>
                  </a:lnTo>
                  <a:lnTo>
                    <a:pt x="693" y="317"/>
                  </a:lnTo>
                  <a:lnTo>
                    <a:pt x="693" y="317"/>
                  </a:lnTo>
                  <a:lnTo>
                    <a:pt x="693" y="310"/>
                  </a:lnTo>
                  <a:lnTo>
                    <a:pt x="693" y="304"/>
                  </a:lnTo>
                  <a:lnTo>
                    <a:pt x="693" y="304"/>
                  </a:lnTo>
                  <a:lnTo>
                    <a:pt x="696" y="299"/>
                  </a:lnTo>
                  <a:lnTo>
                    <a:pt x="699" y="296"/>
                  </a:lnTo>
                  <a:lnTo>
                    <a:pt x="703" y="294"/>
                  </a:lnTo>
                  <a:lnTo>
                    <a:pt x="707" y="294"/>
                  </a:lnTo>
                  <a:lnTo>
                    <a:pt x="707" y="294"/>
                  </a:lnTo>
                  <a:lnTo>
                    <a:pt x="710" y="294"/>
                  </a:lnTo>
                  <a:lnTo>
                    <a:pt x="712" y="293"/>
                  </a:lnTo>
                  <a:lnTo>
                    <a:pt x="717" y="284"/>
                  </a:lnTo>
                  <a:lnTo>
                    <a:pt x="717" y="284"/>
                  </a:lnTo>
                  <a:lnTo>
                    <a:pt x="719" y="283"/>
                  </a:lnTo>
                  <a:lnTo>
                    <a:pt x="722" y="281"/>
                  </a:lnTo>
                  <a:lnTo>
                    <a:pt x="730" y="281"/>
                  </a:lnTo>
                  <a:lnTo>
                    <a:pt x="737" y="283"/>
                  </a:lnTo>
                  <a:lnTo>
                    <a:pt x="745" y="284"/>
                  </a:lnTo>
                  <a:lnTo>
                    <a:pt x="745" y="284"/>
                  </a:lnTo>
                  <a:lnTo>
                    <a:pt x="750" y="284"/>
                  </a:lnTo>
                  <a:lnTo>
                    <a:pt x="756" y="284"/>
                  </a:lnTo>
                  <a:lnTo>
                    <a:pt x="762" y="286"/>
                  </a:lnTo>
                  <a:lnTo>
                    <a:pt x="765" y="286"/>
                  </a:lnTo>
                  <a:lnTo>
                    <a:pt x="766" y="289"/>
                  </a:lnTo>
                  <a:lnTo>
                    <a:pt x="766" y="289"/>
                  </a:lnTo>
                  <a:lnTo>
                    <a:pt x="772" y="297"/>
                  </a:lnTo>
                  <a:lnTo>
                    <a:pt x="773" y="302"/>
                  </a:lnTo>
                  <a:lnTo>
                    <a:pt x="772" y="304"/>
                  </a:lnTo>
                  <a:lnTo>
                    <a:pt x="772" y="304"/>
                  </a:lnTo>
                  <a:lnTo>
                    <a:pt x="770" y="306"/>
                  </a:lnTo>
                  <a:lnTo>
                    <a:pt x="767" y="306"/>
                  </a:lnTo>
                  <a:lnTo>
                    <a:pt x="766" y="304"/>
                  </a:lnTo>
                  <a:lnTo>
                    <a:pt x="762" y="304"/>
                  </a:lnTo>
                  <a:lnTo>
                    <a:pt x="762" y="304"/>
                  </a:lnTo>
                  <a:lnTo>
                    <a:pt x="757" y="307"/>
                  </a:lnTo>
                  <a:lnTo>
                    <a:pt x="757" y="310"/>
                  </a:lnTo>
                  <a:lnTo>
                    <a:pt x="756" y="313"/>
                  </a:lnTo>
                  <a:lnTo>
                    <a:pt x="752" y="316"/>
                  </a:lnTo>
                  <a:lnTo>
                    <a:pt x="752" y="316"/>
                  </a:lnTo>
                  <a:lnTo>
                    <a:pt x="740" y="323"/>
                  </a:lnTo>
                  <a:lnTo>
                    <a:pt x="730" y="332"/>
                  </a:lnTo>
                  <a:lnTo>
                    <a:pt x="730" y="332"/>
                  </a:lnTo>
                  <a:lnTo>
                    <a:pt x="720" y="339"/>
                  </a:lnTo>
                  <a:lnTo>
                    <a:pt x="717" y="343"/>
                  </a:lnTo>
                  <a:lnTo>
                    <a:pt x="715" y="347"/>
                  </a:lnTo>
                  <a:lnTo>
                    <a:pt x="715" y="347"/>
                  </a:lnTo>
                  <a:lnTo>
                    <a:pt x="713" y="349"/>
                  </a:lnTo>
                  <a:lnTo>
                    <a:pt x="710" y="349"/>
                  </a:lnTo>
                  <a:lnTo>
                    <a:pt x="705" y="346"/>
                  </a:lnTo>
                  <a:lnTo>
                    <a:pt x="699" y="344"/>
                  </a:lnTo>
                  <a:lnTo>
                    <a:pt x="697" y="344"/>
                  </a:lnTo>
                  <a:lnTo>
                    <a:pt x="696" y="347"/>
                  </a:lnTo>
                  <a:lnTo>
                    <a:pt x="696" y="347"/>
                  </a:lnTo>
                  <a:lnTo>
                    <a:pt x="693" y="356"/>
                  </a:lnTo>
                  <a:lnTo>
                    <a:pt x="693" y="359"/>
                  </a:lnTo>
                  <a:lnTo>
                    <a:pt x="695" y="362"/>
                  </a:lnTo>
                  <a:lnTo>
                    <a:pt x="695" y="362"/>
                  </a:lnTo>
                  <a:lnTo>
                    <a:pt x="696" y="364"/>
                  </a:lnTo>
                  <a:lnTo>
                    <a:pt x="696" y="367"/>
                  </a:lnTo>
                  <a:lnTo>
                    <a:pt x="696" y="370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03" y="397"/>
                  </a:lnTo>
                  <a:lnTo>
                    <a:pt x="703" y="397"/>
                  </a:lnTo>
                  <a:lnTo>
                    <a:pt x="705" y="402"/>
                  </a:lnTo>
                  <a:lnTo>
                    <a:pt x="705" y="406"/>
                  </a:lnTo>
                  <a:lnTo>
                    <a:pt x="702" y="416"/>
                  </a:lnTo>
                  <a:lnTo>
                    <a:pt x="702" y="416"/>
                  </a:lnTo>
                  <a:lnTo>
                    <a:pt x="703" y="419"/>
                  </a:lnTo>
                  <a:lnTo>
                    <a:pt x="705" y="422"/>
                  </a:lnTo>
                  <a:lnTo>
                    <a:pt x="707" y="423"/>
                  </a:lnTo>
                  <a:lnTo>
                    <a:pt x="712" y="427"/>
                  </a:lnTo>
                  <a:lnTo>
                    <a:pt x="712" y="427"/>
                  </a:lnTo>
                  <a:lnTo>
                    <a:pt x="715" y="430"/>
                  </a:lnTo>
                  <a:lnTo>
                    <a:pt x="717" y="432"/>
                  </a:lnTo>
                  <a:lnTo>
                    <a:pt x="723" y="432"/>
                  </a:lnTo>
                  <a:lnTo>
                    <a:pt x="723" y="432"/>
                  </a:lnTo>
                  <a:lnTo>
                    <a:pt x="725" y="433"/>
                  </a:lnTo>
                  <a:lnTo>
                    <a:pt x="726" y="436"/>
                  </a:lnTo>
                  <a:lnTo>
                    <a:pt x="729" y="439"/>
                  </a:lnTo>
                  <a:lnTo>
                    <a:pt x="735" y="440"/>
                  </a:lnTo>
                  <a:lnTo>
                    <a:pt x="735" y="440"/>
                  </a:lnTo>
                  <a:lnTo>
                    <a:pt x="742" y="443"/>
                  </a:lnTo>
                  <a:lnTo>
                    <a:pt x="747" y="443"/>
                  </a:lnTo>
                  <a:lnTo>
                    <a:pt x="752" y="442"/>
                  </a:lnTo>
                  <a:lnTo>
                    <a:pt x="756" y="440"/>
                  </a:lnTo>
                  <a:lnTo>
                    <a:pt x="756" y="440"/>
                  </a:lnTo>
                  <a:lnTo>
                    <a:pt x="763" y="439"/>
                  </a:lnTo>
                  <a:lnTo>
                    <a:pt x="767" y="439"/>
                  </a:lnTo>
                  <a:lnTo>
                    <a:pt x="770" y="439"/>
                  </a:lnTo>
                  <a:lnTo>
                    <a:pt x="770" y="439"/>
                  </a:lnTo>
                  <a:lnTo>
                    <a:pt x="773" y="440"/>
                  </a:lnTo>
                  <a:lnTo>
                    <a:pt x="776" y="439"/>
                  </a:lnTo>
                  <a:lnTo>
                    <a:pt x="782" y="436"/>
                  </a:lnTo>
                  <a:lnTo>
                    <a:pt x="788" y="430"/>
                  </a:lnTo>
                  <a:lnTo>
                    <a:pt x="788" y="430"/>
                  </a:lnTo>
                  <a:lnTo>
                    <a:pt x="792" y="427"/>
                  </a:lnTo>
                  <a:lnTo>
                    <a:pt x="796" y="426"/>
                  </a:lnTo>
                  <a:lnTo>
                    <a:pt x="802" y="427"/>
                  </a:lnTo>
                  <a:lnTo>
                    <a:pt x="802" y="427"/>
                  </a:lnTo>
                  <a:lnTo>
                    <a:pt x="805" y="427"/>
                  </a:lnTo>
                  <a:lnTo>
                    <a:pt x="806" y="427"/>
                  </a:lnTo>
                  <a:lnTo>
                    <a:pt x="810" y="426"/>
                  </a:lnTo>
                  <a:lnTo>
                    <a:pt x="816" y="424"/>
                  </a:lnTo>
                  <a:lnTo>
                    <a:pt x="819" y="423"/>
                  </a:lnTo>
                  <a:lnTo>
                    <a:pt x="822" y="424"/>
                  </a:lnTo>
                  <a:lnTo>
                    <a:pt x="822" y="424"/>
                  </a:lnTo>
                  <a:lnTo>
                    <a:pt x="826" y="426"/>
                  </a:lnTo>
                  <a:lnTo>
                    <a:pt x="829" y="429"/>
                  </a:lnTo>
                  <a:lnTo>
                    <a:pt x="830" y="432"/>
                  </a:lnTo>
                  <a:lnTo>
                    <a:pt x="832" y="432"/>
                  </a:lnTo>
                  <a:lnTo>
                    <a:pt x="832" y="432"/>
                  </a:lnTo>
                  <a:lnTo>
                    <a:pt x="835" y="430"/>
                  </a:lnTo>
                  <a:lnTo>
                    <a:pt x="839" y="427"/>
                  </a:lnTo>
                  <a:lnTo>
                    <a:pt x="842" y="423"/>
                  </a:lnTo>
                  <a:lnTo>
                    <a:pt x="852" y="420"/>
                  </a:lnTo>
                  <a:lnTo>
                    <a:pt x="852" y="420"/>
                  </a:lnTo>
                  <a:lnTo>
                    <a:pt x="852" y="424"/>
                  </a:lnTo>
                  <a:lnTo>
                    <a:pt x="853" y="426"/>
                  </a:lnTo>
                  <a:lnTo>
                    <a:pt x="856" y="427"/>
                  </a:lnTo>
                  <a:lnTo>
                    <a:pt x="856" y="427"/>
                  </a:lnTo>
                  <a:lnTo>
                    <a:pt x="859" y="429"/>
                  </a:lnTo>
                  <a:lnTo>
                    <a:pt x="860" y="432"/>
                  </a:lnTo>
                  <a:lnTo>
                    <a:pt x="860" y="433"/>
                  </a:lnTo>
                  <a:lnTo>
                    <a:pt x="863" y="434"/>
                  </a:lnTo>
                  <a:lnTo>
                    <a:pt x="863" y="434"/>
                  </a:lnTo>
                  <a:lnTo>
                    <a:pt x="873" y="436"/>
                  </a:lnTo>
                  <a:lnTo>
                    <a:pt x="880" y="436"/>
                  </a:lnTo>
                  <a:lnTo>
                    <a:pt x="880" y="436"/>
                  </a:lnTo>
                  <a:lnTo>
                    <a:pt x="888" y="439"/>
                  </a:lnTo>
                  <a:lnTo>
                    <a:pt x="892" y="440"/>
                  </a:lnTo>
                  <a:lnTo>
                    <a:pt x="893" y="442"/>
                  </a:lnTo>
                  <a:lnTo>
                    <a:pt x="893" y="442"/>
                  </a:lnTo>
                  <a:lnTo>
                    <a:pt x="892" y="442"/>
                  </a:lnTo>
                  <a:lnTo>
                    <a:pt x="888" y="442"/>
                  </a:lnTo>
                  <a:lnTo>
                    <a:pt x="878" y="439"/>
                  </a:lnTo>
                  <a:lnTo>
                    <a:pt x="878" y="439"/>
                  </a:lnTo>
                  <a:lnTo>
                    <a:pt x="869" y="437"/>
                  </a:lnTo>
                  <a:lnTo>
                    <a:pt x="866" y="437"/>
                  </a:lnTo>
                  <a:lnTo>
                    <a:pt x="863" y="439"/>
                  </a:lnTo>
                  <a:lnTo>
                    <a:pt x="863" y="439"/>
                  </a:lnTo>
                  <a:lnTo>
                    <a:pt x="863" y="443"/>
                  </a:lnTo>
                  <a:lnTo>
                    <a:pt x="862" y="444"/>
                  </a:lnTo>
                  <a:lnTo>
                    <a:pt x="859" y="444"/>
                  </a:lnTo>
                  <a:lnTo>
                    <a:pt x="859" y="444"/>
                  </a:lnTo>
                  <a:lnTo>
                    <a:pt x="850" y="444"/>
                  </a:lnTo>
                  <a:lnTo>
                    <a:pt x="849" y="444"/>
                  </a:lnTo>
                  <a:lnTo>
                    <a:pt x="848" y="446"/>
                  </a:lnTo>
                  <a:lnTo>
                    <a:pt x="848" y="446"/>
                  </a:lnTo>
                  <a:lnTo>
                    <a:pt x="848" y="446"/>
                  </a:lnTo>
                  <a:lnTo>
                    <a:pt x="846" y="447"/>
                  </a:lnTo>
                  <a:lnTo>
                    <a:pt x="845" y="449"/>
                  </a:lnTo>
                  <a:lnTo>
                    <a:pt x="845" y="450"/>
                  </a:lnTo>
                  <a:lnTo>
                    <a:pt x="845" y="450"/>
                  </a:lnTo>
                  <a:lnTo>
                    <a:pt x="845" y="450"/>
                  </a:lnTo>
                  <a:lnTo>
                    <a:pt x="845" y="450"/>
                  </a:lnTo>
                  <a:lnTo>
                    <a:pt x="842" y="454"/>
                  </a:lnTo>
                  <a:lnTo>
                    <a:pt x="839" y="456"/>
                  </a:lnTo>
                  <a:lnTo>
                    <a:pt x="833" y="454"/>
                  </a:lnTo>
                  <a:lnTo>
                    <a:pt x="829" y="454"/>
                  </a:lnTo>
                  <a:lnTo>
                    <a:pt x="825" y="453"/>
                  </a:lnTo>
                  <a:lnTo>
                    <a:pt x="819" y="447"/>
                  </a:lnTo>
                  <a:lnTo>
                    <a:pt x="810" y="449"/>
                  </a:lnTo>
                  <a:lnTo>
                    <a:pt x="798" y="447"/>
                  </a:lnTo>
                  <a:lnTo>
                    <a:pt x="788" y="449"/>
                  </a:lnTo>
                  <a:lnTo>
                    <a:pt x="785" y="452"/>
                  </a:lnTo>
                  <a:lnTo>
                    <a:pt x="780" y="452"/>
                  </a:lnTo>
                  <a:lnTo>
                    <a:pt x="775" y="452"/>
                  </a:lnTo>
                  <a:lnTo>
                    <a:pt x="770" y="452"/>
                  </a:lnTo>
                  <a:lnTo>
                    <a:pt x="775" y="456"/>
                  </a:lnTo>
                  <a:lnTo>
                    <a:pt x="773" y="457"/>
                  </a:lnTo>
                  <a:lnTo>
                    <a:pt x="769" y="459"/>
                  </a:lnTo>
                  <a:lnTo>
                    <a:pt x="765" y="459"/>
                  </a:lnTo>
                  <a:lnTo>
                    <a:pt x="757" y="457"/>
                  </a:lnTo>
                  <a:lnTo>
                    <a:pt x="750" y="460"/>
                  </a:lnTo>
                  <a:lnTo>
                    <a:pt x="743" y="466"/>
                  </a:lnTo>
                  <a:lnTo>
                    <a:pt x="726" y="479"/>
                  </a:lnTo>
                  <a:lnTo>
                    <a:pt x="720" y="477"/>
                  </a:lnTo>
                  <a:lnTo>
                    <a:pt x="720" y="477"/>
                  </a:lnTo>
                  <a:lnTo>
                    <a:pt x="717" y="479"/>
                  </a:lnTo>
                  <a:lnTo>
                    <a:pt x="717" y="479"/>
                  </a:lnTo>
                  <a:lnTo>
                    <a:pt x="717" y="482"/>
                  </a:lnTo>
                  <a:lnTo>
                    <a:pt x="717" y="486"/>
                  </a:lnTo>
                  <a:lnTo>
                    <a:pt x="720" y="487"/>
                  </a:lnTo>
                  <a:lnTo>
                    <a:pt x="720" y="493"/>
                  </a:lnTo>
                  <a:lnTo>
                    <a:pt x="722" y="495"/>
                  </a:lnTo>
                  <a:lnTo>
                    <a:pt x="726" y="492"/>
                  </a:lnTo>
                  <a:lnTo>
                    <a:pt x="730" y="486"/>
                  </a:lnTo>
                  <a:lnTo>
                    <a:pt x="736" y="485"/>
                  </a:lnTo>
                  <a:lnTo>
                    <a:pt x="736" y="485"/>
                  </a:lnTo>
                  <a:lnTo>
                    <a:pt x="743" y="483"/>
                  </a:lnTo>
                  <a:lnTo>
                    <a:pt x="743" y="483"/>
                  </a:lnTo>
                  <a:lnTo>
                    <a:pt x="746" y="479"/>
                  </a:lnTo>
                  <a:lnTo>
                    <a:pt x="749" y="476"/>
                  </a:lnTo>
                  <a:lnTo>
                    <a:pt x="750" y="473"/>
                  </a:lnTo>
                  <a:lnTo>
                    <a:pt x="755" y="476"/>
                  </a:lnTo>
                  <a:lnTo>
                    <a:pt x="760" y="483"/>
                  </a:lnTo>
                  <a:lnTo>
                    <a:pt x="763" y="485"/>
                  </a:lnTo>
                  <a:lnTo>
                    <a:pt x="770" y="482"/>
                  </a:lnTo>
                  <a:lnTo>
                    <a:pt x="773" y="480"/>
                  </a:lnTo>
                  <a:lnTo>
                    <a:pt x="773" y="489"/>
                  </a:lnTo>
                  <a:lnTo>
                    <a:pt x="773" y="492"/>
                  </a:lnTo>
                  <a:lnTo>
                    <a:pt x="772" y="492"/>
                  </a:lnTo>
                  <a:lnTo>
                    <a:pt x="769" y="493"/>
                  </a:lnTo>
                  <a:lnTo>
                    <a:pt x="773" y="502"/>
                  </a:lnTo>
                  <a:lnTo>
                    <a:pt x="773" y="513"/>
                  </a:lnTo>
                  <a:lnTo>
                    <a:pt x="757" y="520"/>
                  </a:lnTo>
                  <a:lnTo>
                    <a:pt x="753" y="517"/>
                  </a:lnTo>
                  <a:lnTo>
                    <a:pt x="747" y="512"/>
                  </a:lnTo>
                  <a:lnTo>
                    <a:pt x="743" y="507"/>
                  </a:lnTo>
                  <a:lnTo>
                    <a:pt x="739" y="500"/>
                  </a:lnTo>
                  <a:lnTo>
                    <a:pt x="732" y="499"/>
                  </a:lnTo>
                  <a:lnTo>
                    <a:pt x="725" y="502"/>
                  </a:lnTo>
                  <a:lnTo>
                    <a:pt x="719" y="500"/>
                  </a:lnTo>
                  <a:lnTo>
                    <a:pt x="709" y="520"/>
                  </a:lnTo>
                  <a:lnTo>
                    <a:pt x="703" y="520"/>
                  </a:lnTo>
                  <a:lnTo>
                    <a:pt x="705" y="542"/>
                  </a:lnTo>
                  <a:lnTo>
                    <a:pt x="706" y="543"/>
                  </a:lnTo>
                  <a:lnTo>
                    <a:pt x="705" y="549"/>
                  </a:lnTo>
                  <a:lnTo>
                    <a:pt x="709" y="557"/>
                  </a:lnTo>
                  <a:lnTo>
                    <a:pt x="716" y="566"/>
                  </a:lnTo>
                  <a:lnTo>
                    <a:pt x="716" y="566"/>
                  </a:lnTo>
                  <a:lnTo>
                    <a:pt x="715" y="565"/>
                  </a:lnTo>
                  <a:lnTo>
                    <a:pt x="712" y="577"/>
                  </a:lnTo>
                  <a:lnTo>
                    <a:pt x="710" y="579"/>
                  </a:lnTo>
                  <a:lnTo>
                    <a:pt x="702" y="577"/>
                  </a:lnTo>
                  <a:lnTo>
                    <a:pt x="686" y="575"/>
                  </a:lnTo>
                  <a:lnTo>
                    <a:pt x="685" y="577"/>
                  </a:lnTo>
                  <a:lnTo>
                    <a:pt x="687" y="579"/>
                  </a:lnTo>
                  <a:lnTo>
                    <a:pt x="689" y="582"/>
                  </a:lnTo>
                  <a:lnTo>
                    <a:pt x="686" y="587"/>
                  </a:lnTo>
                  <a:lnTo>
                    <a:pt x="686" y="587"/>
                  </a:lnTo>
                  <a:lnTo>
                    <a:pt x="686" y="587"/>
                  </a:lnTo>
                  <a:lnTo>
                    <a:pt x="677" y="590"/>
                  </a:lnTo>
                  <a:lnTo>
                    <a:pt x="677" y="590"/>
                  </a:lnTo>
                  <a:lnTo>
                    <a:pt x="667" y="593"/>
                  </a:lnTo>
                  <a:lnTo>
                    <a:pt x="662" y="593"/>
                  </a:lnTo>
                  <a:lnTo>
                    <a:pt x="660" y="593"/>
                  </a:lnTo>
                  <a:lnTo>
                    <a:pt x="659" y="592"/>
                  </a:lnTo>
                  <a:lnTo>
                    <a:pt x="659" y="592"/>
                  </a:lnTo>
                  <a:lnTo>
                    <a:pt x="655" y="585"/>
                  </a:lnTo>
                  <a:lnTo>
                    <a:pt x="655" y="585"/>
                  </a:lnTo>
                  <a:lnTo>
                    <a:pt x="653" y="580"/>
                  </a:lnTo>
                  <a:lnTo>
                    <a:pt x="652" y="577"/>
                  </a:lnTo>
                  <a:lnTo>
                    <a:pt x="649" y="577"/>
                  </a:lnTo>
                  <a:lnTo>
                    <a:pt x="643" y="577"/>
                  </a:lnTo>
                  <a:lnTo>
                    <a:pt x="643" y="577"/>
                  </a:lnTo>
                  <a:lnTo>
                    <a:pt x="635" y="580"/>
                  </a:lnTo>
                  <a:lnTo>
                    <a:pt x="629" y="580"/>
                  </a:lnTo>
                  <a:lnTo>
                    <a:pt x="629" y="580"/>
                  </a:lnTo>
                  <a:lnTo>
                    <a:pt x="619" y="582"/>
                  </a:lnTo>
                  <a:lnTo>
                    <a:pt x="613" y="583"/>
                  </a:lnTo>
                  <a:lnTo>
                    <a:pt x="609" y="587"/>
                  </a:lnTo>
                  <a:lnTo>
                    <a:pt x="609" y="587"/>
                  </a:lnTo>
                  <a:lnTo>
                    <a:pt x="605" y="593"/>
                  </a:lnTo>
                  <a:lnTo>
                    <a:pt x="603" y="596"/>
                  </a:lnTo>
                  <a:lnTo>
                    <a:pt x="599" y="596"/>
                  </a:lnTo>
                  <a:lnTo>
                    <a:pt x="599" y="596"/>
                  </a:lnTo>
                  <a:lnTo>
                    <a:pt x="583" y="597"/>
                  </a:lnTo>
                  <a:lnTo>
                    <a:pt x="575" y="599"/>
                  </a:lnTo>
                  <a:lnTo>
                    <a:pt x="570" y="600"/>
                  </a:lnTo>
                  <a:lnTo>
                    <a:pt x="570" y="600"/>
                  </a:lnTo>
                  <a:lnTo>
                    <a:pt x="565" y="605"/>
                  </a:lnTo>
                  <a:lnTo>
                    <a:pt x="563" y="606"/>
                  </a:lnTo>
                  <a:lnTo>
                    <a:pt x="562" y="609"/>
                  </a:lnTo>
                  <a:lnTo>
                    <a:pt x="562" y="609"/>
                  </a:lnTo>
                  <a:lnTo>
                    <a:pt x="562" y="609"/>
                  </a:lnTo>
                  <a:lnTo>
                    <a:pt x="562" y="609"/>
                  </a:lnTo>
                  <a:lnTo>
                    <a:pt x="557" y="609"/>
                  </a:lnTo>
                  <a:lnTo>
                    <a:pt x="555" y="609"/>
                  </a:lnTo>
                  <a:lnTo>
                    <a:pt x="552" y="603"/>
                  </a:lnTo>
                  <a:lnTo>
                    <a:pt x="550" y="597"/>
                  </a:lnTo>
                  <a:lnTo>
                    <a:pt x="547" y="597"/>
                  </a:lnTo>
                  <a:lnTo>
                    <a:pt x="543" y="599"/>
                  </a:lnTo>
                  <a:lnTo>
                    <a:pt x="542" y="600"/>
                  </a:lnTo>
                  <a:lnTo>
                    <a:pt x="537" y="593"/>
                  </a:lnTo>
                  <a:lnTo>
                    <a:pt x="536" y="592"/>
                  </a:lnTo>
                  <a:lnTo>
                    <a:pt x="530" y="590"/>
                  </a:lnTo>
                  <a:lnTo>
                    <a:pt x="520" y="589"/>
                  </a:lnTo>
                  <a:lnTo>
                    <a:pt x="519" y="592"/>
                  </a:lnTo>
                  <a:lnTo>
                    <a:pt x="517" y="596"/>
                  </a:lnTo>
                  <a:lnTo>
                    <a:pt x="517" y="596"/>
                  </a:lnTo>
                  <a:lnTo>
                    <a:pt x="513" y="597"/>
                  </a:lnTo>
                  <a:lnTo>
                    <a:pt x="513" y="597"/>
                  </a:lnTo>
                  <a:lnTo>
                    <a:pt x="506" y="596"/>
                  </a:lnTo>
                  <a:lnTo>
                    <a:pt x="503" y="596"/>
                  </a:lnTo>
                  <a:lnTo>
                    <a:pt x="503" y="596"/>
                  </a:lnTo>
                  <a:lnTo>
                    <a:pt x="502" y="602"/>
                  </a:lnTo>
                  <a:lnTo>
                    <a:pt x="502" y="602"/>
                  </a:lnTo>
                  <a:lnTo>
                    <a:pt x="500" y="605"/>
                  </a:lnTo>
                  <a:lnTo>
                    <a:pt x="495" y="606"/>
                  </a:lnTo>
                  <a:lnTo>
                    <a:pt x="489" y="605"/>
                  </a:lnTo>
                  <a:lnTo>
                    <a:pt x="487" y="602"/>
                  </a:lnTo>
                  <a:lnTo>
                    <a:pt x="487" y="602"/>
                  </a:lnTo>
                  <a:lnTo>
                    <a:pt x="487" y="599"/>
                  </a:lnTo>
                  <a:lnTo>
                    <a:pt x="487" y="599"/>
                  </a:lnTo>
                  <a:lnTo>
                    <a:pt x="490" y="596"/>
                  </a:lnTo>
                  <a:lnTo>
                    <a:pt x="490" y="596"/>
                  </a:lnTo>
                  <a:lnTo>
                    <a:pt x="490" y="587"/>
                  </a:lnTo>
                  <a:lnTo>
                    <a:pt x="487" y="589"/>
                  </a:lnTo>
                  <a:lnTo>
                    <a:pt x="482" y="590"/>
                  </a:lnTo>
                  <a:lnTo>
                    <a:pt x="475" y="592"/>
                  </a:lnTo>
                  <a:lnTo>
                    <a:pt x="470" y="592"/>
                  </a:lnTo>
                  <a:lnTo>
                    <a:pt x="470" y="592"/>
                  </a:lnTo>
                  <a:lnTo>
                    <a:pt x="469" y="589"/>
                  </a:lnTo>
                  <a:lnTo>
                    <a:pt x="469" y="589"/>
                  </a:lnTo>
                  <a:lnTo>
                    <a:pt x="466" y="582"/>
                  </a:lnTo>
                  <a:lnTo>
                    <a:pt x="465" y="577"/>
                  </a:lnTo>
                  <a:lnTo>
                    <a:pt x="463" y="577"/>
                  </a:lnTo>
                  <a:lnTo>
                    <a:pt x="463" y="577"/>
                  </a:lnTo>
                  <a:lnTo>
                    <a:pt x="465" y="576"/>
                  </a:lnTo>
                  <a:lnTo>
                    <a:pt x="465" y="576"/>
                  </a:lnTo>
                  <a:lnTo>
                    <a:pt x="465" y="573"/>
                  </a:lnTo>
                  <a:lnTo>
                    <a:pt x="463" y="569"/>
                  </a:lnTo>
                  <a:lnTo>
                    <a:pt x="462" y="566"/>
                  </a:lnTo>
                  <a:lnTo>
                    <a:pt x="462" y="562"/>
                  </a:lnTo>
                  <a:lnTo>
                    <a:pt x="462" y="562"/>
                  </a:lnTo>
                  <a:lnTo>
                    <a:pt x="463" y="557"/>
                  </a:lnTo>
                  <a:lnTo>
                    <a:pt x="466" y="553"/>
                  </a:lnTo>
                  <a:lnTo>
                    <a:pt x="466" y="553"/>
                  </a:lnTo>
                  <a:lnTo>
                    <a:pt x="467" y="547"/>
                  </a:lnTo>
                  <a:lnTo>
                    <a:pt x="469" y="545"/>
                  </a:lnTo>
                  <a:lnTo>
                    <a:pt x="472" y="542"/>
                  </a:lnTo>
                  <a:lnTo>
                    <a:pt x="472" y="542"/>
                  </a:lnTo>
                  <a:lnTo>
                    <a:pt x="475" y="539"/>
                  </a:lnTo>
                  <a:lnTo>
                    <a:pt x="476" y="537"/>
                  </a:lnTo>
                  <a:lnTo>
                    <a:pt x="477" y="530"/>
                  </a:lnTo>
                  <a:lnTo>
                    <a:pt x="477" y="530"/>
                  </a:lnTo>
                  <a:lnTo>
                    <a:pt x="477" y="517"/>
                  </a:lnTo>
                  <a:lnTo>
                    <a:pt x="479" y="505"/>
                  </a:lnTo>
                  <a:lnTo>
                    <a:pt x="479" y="505"/>
                  </a:lnTo>
                  <a:lnTo>
                    <a:pt x="477" y="500"/>
                  </a:lnTo>
                  <a:lnTo>
                    <a:pt x="475" y="497"/>
                  </a:lnTo>
                  <a:lnTo>
                    <a:pt x="472" y="499"/>
                  </a:lnTo>
                  <a:lnTo>
                    <a:pt x="469" y="502"/>
                  </a:lnTo>
                  <a:lnTo>
                    <a:pt x="462" y="507"/>
                  </a:lnTo>
                  <a:lnTo>
                    <a:pt x="456" y="513"/>
                  </a:lnTo>
                  <a:lnTo>
                    <a:pt x="456" y="513"/>
                  </a:lnTo>
                  <a:lnTo>
                    <a:pt x="452" y="513"/>
                  </a:lnTo>
                  <a:lnTo>
                    <a:pt x="447" y="513"/>
                  </a:lnTo>
                  <a:lnTo>
                    <a:pt x="443" y="513"/>
                  </a:lnTo>
                  <a:lnTo>
                    <a:pt x="439" y="513"/>
                  </a:lnTo>
                  <a:lnTo>
                    <a:pt x="439" y="513"/>
                  </a:lnTo>
                  <a:lnTo>
                    <a:pt x="436" y="515"/>
                  </a:lnTo>
                  <a:lnTo>
                    <a:pt x="433" y="519"/>
                  </a:lnTo>
                  <a:lnTo>
                    <a:pt x="429" y="526"/>
                  </a:lnTo>
                  <a:lnTo>
                    <a:pt x="429" y="526"/>
                  </a:lnTo>
                  <a:lnTo>
                    <a:pt x="427" y="529"/>
                  </a:lnTo>
                  <a:lnTo>
                    <a:pt x="427" y="532"/>
                  </a:lnTo>
                  <a:lnTo>
                    <a:pt x="429" y="539"/>
                  </a:lnTo>
                  <a:lnTo>
                    <a:pt x="429" y="539"/>
                  </a:lnTo>
                  <a:lnTo>
                    <a:pt x="429" y="546"/>
                  </a:lnTo>
                  <a:lnTo>
                    <a:pt x="427" y="553"/>
                  </a:lnTo>
                  <a:lnTo>
                    <a:pt x="427" y="553"/>
                  </a:lnTo>
                  <a:lnTo>
                    <a:pt x="429" y="557"/>
                  </a:lnTo>
                  <a:lnTo>
                    <a:pt x="430" y="562"/>
                  </a:lnTo>
                  <a:lnTo>
                    <a:pt x="433" y="569"/>
                  </a:lnTo>
                  <a:lnTo>
                    <a:pt x="433" y="569"/>
                  </a:lnTo>
                  <a:lnTo>
                    <a:pt x="435" y="573"/>
                  </a:lnTo>
                  <a:lnTo>
                    <a:pt x="436" y="576"/>
                  </a:lnTo>
                  <a:lnTo>
                    <a:pt x="436" y="576"/>
                  </a:lnTo>
                  <a:lnTo>
                    <a:pt x="439" y="577"/>
                  </a:lnTo>
                  <a:lnTo>
                    <a:pt x="443" y="579"/>
                  </a:lnTo>
                  <a:lnTo>
                    <a:pt x="443" y="579"/>
                  </a:lnTo>
                  <a:lnTo>
                    <a:pt x="447" y="579"/>
                  </a:lnTo>
                  <a:lnTo>
                    <a:pt x="446" y="579"/>
                  </a:lnTo>
                  <a:lnTo>
                    <a:pt x="442" y="579"/>
                  </a:lnTo>
                  <a:lnTo>
                    <a:pt x="442" y="579"/>
                  </a:lnTo>
                  <a:lnTo>
                    <a:pt x="442" y="582"/>
                  </a:lnTo>
                  <a:lnTo>
                    <a:pt x="442" y="582"/>
                  </a:lnTo>
                  <a:lnTo>
                    <a:pt x="445" y="586"/>
                  </a:lnTo>
                  <a:lnTo>
                    <a:pt x="445" y="586"/>
                  </a:lnTo>
                  <a:lnTo>
                    <a:pt x="443" y="589"/>
                  </a:lnTo>
                  <a:lnTo>
                    <a:pt x="443" y="589"/>
                  </a:lnTo>
                  <a:lnTo>
                    <a:pt x="442" y="592"/>
                  </a:lnTo>
                  <a:lnTo>
                    <a:pt x="445" y="596"/>
                  </a:lnTo>
                  <a:lnTo>
                    <a:pt x="447" y="600"/>
                  </a:lnTo>
                  <a:lnTo>
                    <a:pt x="449" y="606"/>
                  </a:lnTo>
                  <a:lnTo>
                    <a:pt x="449" y="606"/>
                  </a:lnTo>
                  <a:lnTo>
                    <a:pt x="449" y="606"/>
                  </a:lnTo>
                  <a:lnTo>
                    <a:pt x="437" y="605"/>
                  </a:lnTo>
                  <a:lnTo>
                    <a:pt x="437" y="605"/>
                  </a:lnTo>
                  <a:lnTo>
                    <a:pt x="436" y="606"/>
                  </a:lnTo>
                  <a:lnTo>
                    <a:pt x="437" y="617"/>
                  </a:lnTo>
                  <a:lnTo>
                    <a:pt x="436" y="619"/>
                  </a:lnTo>
                  <a:lnTo>
                    <a:pt x="435" y="615"/>
                  </a:lnTo>
                  <a:lnTo>
                    <a:pt x="433" y="607"/>
                  </a:lnTo>
                  <a:lnTo>
                    <a:pt x="432" y="610"/>
                  </a:lnTo>
                  <a:lnTo>
                    <a:pt x="430" y="617"/>
                  </a:lnTo>
                  <a:lnTo>
                    <a:pt x="427" y="616"/>
                  </a:lnTo>
                  <a:lnTo>
                    <a:pt x="422" y="612"/>
                  </a:lnTo>
                  <a:lnTo>
                    <a:pt x="422" y="612"/>
                  </a:lnTo>
                  <a:lnTo>
                    <a:pt x="420" y="607"/>
                  </a:lnTo>
                  <a:lnTo>
                    <a:pt x="420" y="607"/>
                  </a:lnTo>
                  <a:lnTo>
                    <a:pt x="417" y="607"/>
                  </a:lnTo>
                  <a:lnTo>
                    <a:pt x="412" y="612"/>
                  </a:lnTo>
                  <a:lnTo>
                    <a:pt x="412" y="612"/>
                  </a:lnTo>
                  <a:lnTo>
                    <a:pt x="406" y="612"/>
                  </a:lnTo>
                  <a:lnTo>
                    <a:pt x="406" y="612"/>
                  </a:lnTo>
                  <a:lnTo>
                    <a:pt x="404" y="615"/>
                  </a:lnTo>
                  <a:lnTo>
                    <a:pt x="402" y="620"/>
                  </a:lnTo>
                  <a:lnTo>
                    <a:pt x="400" y="617"/>
                  </a:lnTo>
                  <a:lnTo>
                    <a:pt x="393" y="616"/>
                  </a:lnTo>
                  <a:lnTo>
                    <a:pt x="386" y="616"/>
                  </a:lnTo>
                  <a:lnTo>
                    <a:pt x="380" y="620"/>
                  </a:lnTo>
                  <a:lnTo>
                    <a:pt x="372" y="622"/>
                  </a:lnTo>
                  <a:lnTo>
                    <a:pt x="366" y="628"/>
                  </a:lnTo>
                  <a:lnTo>
                    <a:pt x="360" y="630"/>
                  </a:lnTo>
                  <a:lnTo>
                    <a:pt x="339" y="659"/>
                  </a:lnTo>
                  <a:lnTo>
                    <a:pt x="334" y="662"/>
                  </a:lnTo>
                  <a:lnTo>
                    <a:pt x="327" y="670"/>
                  </a:lnTo>
                  <a:lnTo>
                    <a:pt x="309" y="682"/>
                  </a:lnTo>
                  <a:lnTo>
                    <a:pt x="297" y="686"/>
                  </a:lnTo>
                  <a:lnTo>
                    <a:pt x="297" y="686"/>
                  </a:lnTo>
                  <a:lnTo>
                    <a:pt x="292" y="685"/>
                  </a:lnTo>
                  <a:lnTo>
                    <a:pt x="289" y="685"/>
                  </a:lnTo>
                  <a:lnTo>
                    <a:pt x="286" y="688"/>
                  </a:lnTo>
                  <a:lnTo>
                    <a:pt x="286" y="688"/>
                  </a:lnTo>
                  <a:lnTo>
                    <a:pt x="283" y="689"/>
                  </a:lnTo>
                  <a:lnTo>
                    <a:pt x="280" y="689"/>
                  </a:lnTo>
                  <a:lnTo>
                    <a:pt x="277" y="690"/>
                  </a:lnTo>
                  <a:lnTo>
                    <a:pt x="277" y="695"/>
                  </a:lnTo>
                  <a:lnTo>
                    <a:pt x="277" y="695"/>
                  </a:lnTo>
                  <a:lnTo>
                    <a:pt x="277" y="706"/>
                  </a:lnTo>
                  <a:lnTo>
                    <a:pt x="276" y="709"/>
                  </a:lnTo>
                  <a:lnTo>
                    <a:pt x="274" y="712"/>
                  </a:lnTo>
                  <a:lnTo>
                    <a:pt x="274" y="712"/>
                  </a:lnTo>
                  <a:lnTo>
                    <a:pt x="260" y="716"/>
                  </a:lnTo>
                  <a:lnTo>
                    <a:pt x="252" y="719"/>
                  </a:lnTo>
                  <a:lnTo>
                    <a:pt x="249" y="720"/>
                  </a:lnTo>
                  <a:lnTo>
                    <a:pt x="249" y="722"/>
                  </a:lnTo>
                  <a:lnTo>
                    <a:pt x="249" y="722"/>
                  </a:lnTo>
                  <a:lnTo>
                    <a:pt x="249" y="725"/>
                  </a:lnTo>
                  <a:lnTo>
                    <a:pt x="250" y="726"/>
                  </a:lnTo>
                  <a:lnTo>
                    <a:pt x="249" y="728"/>
                  </a:lnTo>
                  <a:lnTo>
                    <a:pt x="246" y="730"/>
                  </a:lnTo>
                  <a:lnTo>
                    <a:pt x="246" y="730"/>
                  </a:lnTo>
                  <a:lnTo>
                    <a:pt x="239" y="733"/>
                  </a:lnTo>
                  <a:lnTo>
                    <a:pt x="230" y="736"/>
                  </a:lnTo>
                  <a:lnTo>
                    <a:pt x="223" y="736"/>
                  </a:lnTo>
                  <a:lnTo>
                    <a:pt x="222" y="736"/>
                  </a:lnTo>
                  <a:lnTo>
                    <a:pt x="220" y="735"/>
                  </a:lnTo>
                  <a:lnTo>
                    <a:pt x="220" y="735"/>
                  </a:lnTo>
                  <a:lnTo>
                    <a:pt x="217" y="729"/>
                  </a:lnTo>
                  <a:lnTo>
                    <a:pt x="213" y="725"/>
                  </a:lnTo>
                  <a:lnTo>
                    <a:pt x="213" y="725"/>
                  </a:lnTo>
                  <a:lnTo>
                    <a:pt x="209" y="722"/>
                  </a:lnTo>
                  <a:lnTo>
                    <a:pt x="206" y="720"/>
                  </a:lnTo>
                  <a:lnTo>
                    <a:pt x="202" y="720"/>
                  </a:lnTo>
                  <a:lnTo>
                    <a:pt x="200" y="723"/>
                  </a:lnTo>
                  <a:lnTo>
                    <a:pt x="200" y="723"/>
                  </a:lnTo>
                  <a:lnTo>
                    <a:pt x="200" y="726"/>
                  </a:lnTo>
                  <a:lnTo>
                    <a:pt x="202" y="730"/>
                  </a:lnTo>
                  <a:lnTo>
                    <a:pt x="204" y="736"/>
                  </a:lnTo>
                  <a:lnTo>
                    <a:pt x="204" y="736"/>
                  </a:lnTo>
                  <a:lnTo>
                    <a:pt x="207" y="746"/>
                  </a:lnTo>
                  <a:lnTo>
                    <a:pt x="206" y="752"/>
                  </a:lnTo>
                  <a:lnTo>
                    <a:pt x="204" y="753"/>
                  </a:lnTo>
                  <a:lnTo>
                    <a:pt x="203" y="753"/>
                  </a:lnTo>
                  <a:lnTo>
                    <a:pt x="203" y="753"/>
                  </a:lnTo>
                  <a:lnTo>
                    <a:pt x="193" y="752"/>
                  </a:lnTo>
                  <a:lnTo>
                    <a:pt x="189" y="752"/>
                  </a:lnTo>
                  <a:lnTo>
                    <a:pt x="183" y="753"/>
                  </a:lnTo>
                  <a:lnTo>
                    <a:pt x="183" y="753"/>
                  </a:lnTo>
                  <a:lnTo>
                    <a:pt x="179" y="755"/>
                  </a:lnTo>
                  <a:lnTo>
                    <a:pt x="176" y="753"/>
                  </a:lnTo>
                  <a:lnTo>
                    <a:pt x="172" y="749"/>
                  </a:lnTo>
                  <a:lnTo>
                    <a:pt x="172" y="749"/>
                  </a:lnTo>
                  <a:lnTo>
                    <a:pt x="167" y="743"/>
                  </a:lnTo>
                  <a:lnTo>
                    <a:pt x="166" y="740"/>
                  </a:lnTo>
                  <a:lnTo>
                    <a:pt x="163" y="740"/>
                  </a:lnTo>
                  <a:lnTo>
                    <a:pt x="163" y="740"/>
                  </a:lnTo>
                  <a:lnTo>
                    <a:pt x="162" y="743"/>
                  </a:lnTo>
                  <a:lnTo>
                    <a:pt x="162" y="746"/>
                  </a:lnTo>
                  <a:lnTo>
                    <a:pt x="160" y="750"/>
                  </a:lnTo>
                  <a:lnTo>
                    <a:pt x="159" y="752"/>
                  </a:lnTo>
                  <a:lnTo>
                    <a:pt x="159" y="752"/>
                  </a:lnTo>
                  <a:lnTo>
                    <a:pt x="157" y="750"/>
                  </a:lnTo>
                  <a:lnTo>
                    <a:pt x="156" y="748"/>
                  </a:lnTo>
                  <a:lnTo>
                    <a:pt x="154" y="746"/>
                  </a:lnTo>
                  <a:lnTo>
                    <a:pt x="152" y="746"/>
                  </a:lnTo>
                  <a:lnTo>
                    <a:pt x="152" y="746"/>
                  </a:lnTo>
                  <a:lnTo>
                    <a:pt x="139" y="753"/>
                  </a:lnTo>
                  <a:lnTo>
                    <a:pt x="133" y="758"/>
                  </a:lnTo>
                  <a:lnTo>
                    <a:pt x="130" y="760"/>
                  </a:lnTo>
                  <a:lnTo>
                    <a:pt x="132" y="762"/>
                  </a:lnTo>
                  <a:lnTo>
                    <a:pt x="132" y="762"/>
                  </a:lnTo>
                  <a:lnTo>
                    <a:pt x="134" y="763"/>
                  </a:lnTo>
                  <a:lnTo>
                    <a:pt x="137" y="763"/>
                  </a:lnTo>
                  <a:lnTo>
                    <a:pt x="140" y="763"/>
                  </a:lnTo>
                  <a:lnTo>
                    <a:pt x="142" y="766"/>
                  </a:lnTo>
                  <a:lnTo>
                    <a:pt x="142" y="766"/>
                  </a:lnTo>
                  <a:lnTo>
                    <a:pt x="142" y="768"/>
                  </a:lnTo>
                  <a:lnTo>
                    <a:pt x="140" y="770"/>
                  </a:lnTo>
                  <a:lnTo>
                    <a:pt x="137" y="772"/>
                  </a:lnTo>
                  <a:lnTo>
                    <a:pt x="136" y="775"/>
                  </a:lnTo>
                  <a:lnTo>
                    <a:pt x="140" y="776"/>
                  </a:lnTo>
                  <a:lnTo>
                    <a:pt x="140" y="776"/>
                  </a:lnTo>
                  <a:lnTo>
                    <a:pt x="154" y="778"/>
                  </a:lnTo>
                  <a:lnTo>
                    <a:pt x="160" y="778"/>
                  </a:lnTo>
                  <a:lnTo>
                    <a:pt x="164" y="780"/>
                  </a:lnTo>
                  <a:lnTo>
                    <a:pt x="164" y="780"/>
                  </a:lnTo>
                  <a:lnTo>
                    <a:pt x="166" y="782"/>
                  </a:lnTo>
                  <a:lnTo>
                    <a:pt x="167" y="782"/>
                  </a:lnTo>
                  <a:lnTo>
                    <a:pt x="173" y="782"/>
                  </a:lnTo>
                  <a:lnTo>
                    <a:pt x="179" y="783"/>
                  </a:lnTo>
                  <a:lnTo>
                    <a:pt x="182" y="783"/>
                  </a:lnTo>
                  <a:lnTo>
                    <a:pt x="182" y="785"/>
                  </a:lnTo>
                  <a:lnTo>
                    <a:pt x="182" y="785"/>
                  </a:lnTo>
                  <a:lnTo>
                    <a:pt x="183" y="788"/>
                  </a:lnTo>
                  <a:lnTo>
                    <a:pt x="183" y="789"/>
                  </a:lnTo>
                  <a:lnTo>
                    <a:pt x="186" y="791"/>
                  </a:lnTo>
                  <a:lnTo>
                    <a:pt x="186" y="791"/>
                  </a:lnTo>
                  <a:lnTo>
                    <a:pt x="190" y="791"/>
                  </a:lnTo>
                  <a:lnTo>
                    <a:pt x="194" y="791"/>
                  </a:lnTo>
                  <a:lnTo>
                    <a:pt x="197" y="791"/>
                  </a:lnTo>
                  <a:lnTo>
                    <a:pt x="199" y="791"/>
                  </a:lnTo>
                  <a:lnTo>
                    <a:pt x="197" y="793"/>
                  </a:lnTo>
                  <a:lnTo>
                    <a:pt x="197" y="793"/>
                  </a:lnTo>
                  <a:lnTo>
                    <a:pt x="196" y="795"/>
                  </a:lnTo>
                  <a:lnTo>
                    <a:pt x="193" y="796"/>
                  </a:lnTo>
                  <a:lnTo>
                    <a:pt x="187" y="798"/>
                  </a:lnTo>
                  <a:lnTo>
                    <a:pt x="186" y="799"/>
                  </a:lnTo>
                  <a:lnTo>
                    <a:pt x="186" y="799"/>
                  </a:lnTo>
                  <a:lnTo>
                    <a:pt x="186" y="801"/>
                  </a:lnTo>
                  <a:lnTo>
                    <a:pt x="187" y="803"/>
                  </a:lnTo>
                  <a:lnTo>
                    <a:pt x="187" y="803"/>
                  </a:lnTo>
                  <a:lnTo>
                    <a:pt x="199" y="813"/>
                  </a:lnTo>
                  <a:lnTo>
                    <a:pt x="203" y="818"/>
                  </a:lnTo>
                  <a:lnTo>
                    <a:pt x="209" y="821"/>
                  </a:lnTo>
                  <a:lnTo>
                    <a:pt x="209" y="821"/>
                  </a:lnTo>
                  <a:lnTo>
                    <a:pt x="214" y="822"/>
                  </a:lnTo>
                  <a:lnTo>
                    <a:pt x="216" y="825"/>
                  </a:lnTo>
                  <a:lnTo>
                    <a:pt x="216" y="828"/>
                  </a:lnTo>
                  <a:lnTo>
                    <a:pt x="214" y="833"/>
                  </a:lnTo>
                  <a:lnTo>
                    <a:pt x="214" y="833"/>
                  </a:lnTo>
                  <a:lnTo>
                    <a:pt x="214" y="838"/>
                  </a:lnTo>
                  <a:lnTo>
                    <a:pt x="216" y="839"/>
                  </a:lnTo>
                  <a:lnTo>
                    <a:pt x="217" y="842"/>
                  </a:lnTo>
                  <a:lnTo>
                    <a:pt x="219" y="845"/>
                  </a:lnTo>
                  <a:lnTo>
                    <a:pt x="219" y="845"/>
                  </a:lnTo>
                  <a:lnTo>
                    <a:pt x="217" y="848"/>
                  </a:lnTo>
                  <a:lnTo>
                    <a:pt x="217" y="848"/>
                  </a:lnTo>
                  <a:lnTo>
                    <a:pt x="214" y="846"/>
                  </a:lnTo>
                  <a:lnTo>
                    <a:pt x="212" y="845"/>
                  </a:lnTo>
                  <a:lnTo>
                    <a:pt x="210" y="845"/>
                  </a:lnTo>
                  <a:lnTo>
                    <a:pt x="210" y="845"/>
                  </a:lnTo>
                  <a:lnTo>
                    <a:pt x="210" y="845"/>
                  </a:lnTo>
                  <a:lnTo>
                    <a:pt x="206" y="865"/>
                  </a:lnTo>
                  <a:lnTo>
                    <a:pt x="203" y="885"/>
                  </a:lnTo>
                  <a:lnTo>
                    <a:pt x="203" y="885"/>
                  </a:lnTo>
                  <a:lnTo>
                    <a:pt x="200" y="891"/>
                  </a:lnTo>
                  <a:lnTo>
                    <a:pt x="197" y="896"/>
                  </a:lnTo>
                  <a:lnTo>
                    <a:pt x="193" y="903"/>
                  </a:lnTo>
                  <a:lnTo>
                    <a:pt x="193" y="903"/>
                  </a:lnTo>
                  <a:lnTo>
                    <a:pt x="194" y="905"/>
                  </a:lnTo>
                  <a:lnTo>
                    <a:pt x="192" y="908"/>
                  </a:lnTo>
                  <a:lnTo>
                    <a:pt x="182" y="905"/>
                  </a:lnTo>
                  <a:lnTo>
                    <a:pt x="172" y="905"/>
                  </a:lnTo>
                  <a:lnTo>
                    <a:pt x="162" y="905"/>
                  </a:lnTo>
                  <a:lnTo>
                    <a:pt x="152" y="902"/>
                  </a:lnTo>
                  <a:lnTo>
                    <a:pt x="139" y="905"/>
                  </a:lnTo>
                  <a:lnTo>
                    <a:pt x="127" y="906"/>
                  </a:lnTo>
                  <a:lnTo>
                    <a:pt x="120" y="906"/>
                  </a:lnTo>
                  <a:lnTo>
                    <a:pt x="110" y="901"/>
                  </a:lnTo>
                  <a:lnTo>
                    <a:pt x="104" y="901"/>
                  </a:lnTo>
                  <a:lnTo>
                    <a:pt x="79" y="902"/>
                  </a:lnTo>
                  <a:lnTo>
                    <a:pt x="69" y="902"/>
                  </a:lnTo>
                  <a:lnTo>
                    <a:pt x="61" y="899"/>
                  </a:lnTo>
                  <a:lnTo>
                    <a:pt x="54" y="893"/>
                  </a:lnTo>
                  <a:lnTo>
                    <a:pt x="54" y="893"/>
                  </a:lnTo>
                  <a:lnTo>
                    <a:pt x="49" y="893"/>
                  </a:lnTo>
                  <a:lnTo>
                    <a:pt x="49" y="893"/>
                  </a:lnTo>
                  <a:lnTo>
                    <a:pt x="44" y="895"/>
                  </a:lnTo>
                  <a:lnTo>
                    <a:pt x="40" y="905"/>
                  </a:lnTo>
                  <a:lnTo>
                    <a:pt x="36" y="908"/>
                  </a:lnTo>
                  <a:lnTo>
                    <a:pt x="27" y="909"/>
                  </a:lnTo>
                  <a:lnTo>
                    <a:pt x="20" y="911"/>
                  </a:lnTo>
                  <a:lnTo>
                    <a:pt x="17" y="915"/>
                  </a:lnTo>
                  <a:lnTo>
                    <a:pt x="19" y="922"/>
                  </a:lnTo>
                  <a:lnTo>
                    <a:pt x="23" y="925"/>
                  </a:lnTo>
                  <a:lnTo>
                    <a:pt x="24" y="929"/>
                  </a:lnTo>
                  <a:lnTo>
                    <a:pt x="26" y="935"/>
                  </a:lnTo>
                  <a:lnTo>
                    <a:pt x="26" y="941"/>
                  </a:lnTo>
                  <a:lnTo>
                    <a:pt x="23" y="948"/>
                  </a:lnTo>
                  <a:lnTo>
                    <a:pt x="23" y="949"/>
                  </a:lnTo>
                  <a:lnTo>
                    <a:pt x="23" y="949"/>
                  </a:lnTo>
                  <a:lnTo>
                    <a:pt x="23" y="955"/>
                  </a:lnTo>
                  <a:lnTo>
                    <a:pt x="24" y="962"/>
                  </a:lnTo>
                  <a:lnTo>
                    <a:pt x="24" y="962"/>
                  </a:lnTo>
                  <a:lnTo>
                    <a:pt x="24" y="975"/>
                  </a:lnTo>
                  <a:lnTo>
                    <a:pt x="23" y="979"/>
                  </a:lnTo>
                  <a:lnTo>
                    <a:pt x="21" y="984"/>
                  </a:lnTo>
                  <a:lnTo>
                    <a:pt x="21" y="984"/>
                  </a:lnTo>
                  <a:lnTo>
                    <a:pt x="17" y="991"/>
                  </a:lnTo>
                  <a:lnTo>
                    <a:pt x="16" y="995"/>
                  </a:lnTo>
                  <a:lnTo>
                    <a:pt x="14" y="999"/>
                  </a:lnTo>
                  <a:lnTo>
                    <a:pt x="14" y="999"/>
                  </a:lnTo>
                  <a:lnTo>
                    <a:pt x="13" y="1011"/>
                  </a:lnTo>
                  <a:lnTo>
                    <a:pt x="11" y="1015"/>
                  </a:lnTo>
                  <a:lnTo>
                    <a:pt x="10" y="1016"/>
                  </a:lnTo>
                  <a:lnTo>
                    <a:pt x="10" y="1016"/>
                  </a:lnTo>
                  <a:lnTo>
                    <a:pt x="6" y="1019"/>
                  </a:lnTo>
                  <a:lnTo>
                    <a:pt x="3" y="1025"/>
                  </a:lnTo>
                  <a:lnTo>
                    <a:pt x="0" y="1032"/>
                  </a:lnTo>
                  <a:lnTo>
                    <a:pt x="0" y="1034"/>
                  </a:lnTo>
                  <a:lnTo>
                    <a:pt x="3" y="1035"/>
                  </a:lnTo>
                  <a:lnTo>
                    <a:pt x="3" y="1035"/>
                  </a:lnTo>
                  <a:lnTo>
                    <a:pt x="4" y="1041"/>
                  </a:lnTo>
                  <a:lnTo>
                    <a:pt x="7" y="1044"/>
                  </a:lnTo>
                  <a:lnTo>
                    <a:pt x="10" y="1046"/>
                  </a:lnTo>
                  <a:lnTo>
                    <a:pt x="10" y="1046"/>
                  </a:lnTo>
                  <a:lnTo>
                    <a:pt x="13" y="1046"/>
                  </a:lnTo>
                  <a:lnTo>
                    <a:pt x="14" y="1045"/>
                  </a:lnTo>
                  <a:lnTo>
                    <a:pt x="16" y="1045"/>
                  </a:lnTo>
                  <a:lnTo>
                    <a:pt x="17" y="1046"/>
                  </a:lnTo>
                  <a:lnTo>
                    <a:pt x="17" y="1046"/>
                  </a:lnTo>
                  <a:lnTo>
                    <a:pt x="19" y="1054"/>
                  </a:lnTo>
                  <a:lnTo>
                    <a:pt x="19" y="1056"/>
                  </a:lnTo>
                  <a:lnTo>
                    <a:pt x="17" y="1062"/>
                  </a:lnTo>
                  <a:lnTo>
                    <a:pt x="17" y="1062"/>
                  </a:lnTo>
                  <a:lnTo>
                    <a:pt x="14" y="1069"/>
                  </a:lnTo>
                  <a:lnTo>
                    <a:pt x="13" y="1076"/>
                  </a:lnTo>
                  <a:lnTo>
                    <a:pt x="10" y="1088"/>
                  </a:lnTo>
                  <a:lnTo>
                    <a:pt x="10" y="1088"/>
                  </a:lnTo>
                  <a:lnTo>
                    <a:pt x="10" y="1089"/>
                  </a:lnTo>
                  <a:lnTo>
                    <a:pt x="13" y="1089"/>
                  </a:lnTo>
                  <a:lnTo>
                    <a:pt x="17" y="1088"/>
                  </a:lnTo>
                  <a:lnTo>
                    <a:pt x="21" y="1088"/>
                  </a:lnTo>
                  <a:lnTo>
                    <a:pt x="21" y="1088"/>
                  </a:lnTo>
                  <a:lnTo>
                    <a:pt x="26" y="1089"/>
                  </a:lnTo>
                  <a:lnTo>
                    <a:pt x="30" y="1091"/>
                  </a:lnTo>
                  <a:lnTo>
                    <a:pt x="33" y="1092"/>
                  </a:lnTo>
                  <a:lnTo>
                    <a:pt x="39" y="1092"/>
                  </a:lnTo>
                  <a:lnTo>
                    <a:pt x="39" y="1092"/>
                  </a:lnTo>
                  <a:lnTo>
                    <a:pt x="41" y="1091"/>
                  </a:lnTo>
                  <a:lnTo>
                    <a:pt x="43" y="1091"/>
                  </a:lnTo>
                  <a:lnTo>
                    <a:pt x="44" y="1091"/>
                  </a:lnTo>
                  <a:lnTo>
                    <a:pt x="44" y="1088"/>
                  </a:lnTo>
                  <a:lnTo>
                    <a:pt x="44" y="1088"/>
                  </a:lnTo>
                  <a:lnTo>
                    <a:pt x="44" y="1084"/>
                  </a:lnTo>
                  <a:lnTo>
                    <a:pt x="44" y="1084"/>
                  </a:lnTo>
                  <a:lnTo>
                    <a:pt x="44" y="1084"/>
                  </a:lnTo>
                  <a:lnTo>
                    <a:pt x="46" y="1086"/>
                  </a:lnTo>
                  <a:lnTo>
                    <a:pt x="50" y="1088"/>
                  </a:lnTo>
                  <a:lnTo>
                    <a:pt x="61" y="1089"/>
                  </a:lnTo>
                  <a:lnTo>
                    <a:pt x="61" y="1089"/>
                  </a:lnTo>
                  <a:lnTo>
                    <a:pt x="67" y="1089"/>
                  </a:lnTo>
                  <a:lnTo>
                    <a:pt x="69" y="1092"/>
                  </a:lnTo>
                  <a:lnTo>
                    <a:pt x="70" y="1094"/>
                  </a:lnTo>
                  <a:lnTo>
                    <a:pt x="72" y="1098"/>
                  </a:lnTo>
                  <a:lnTo>
                    <a:pt x="72" y="1098"/>
                  </a:lnTo>
                  <a:lnTo>
                    <a:pt x="74" y="1099"/>
                  </a:lnTo>
                  <a:lnTo>
                    <a:pt x="74" y="1102"/>
                  </a:lnTo>
                  <a:lnTo>
                    <a:pt x="72" y="1109"/>
                  </a:lnTo>
                  <a:lnTo>
                    <a:pt x="72" y="1109"/>
                  </a:lnTo>
                  <a:lnTo>
                    <a:pt x="73" y="1112"/>
                  </a:lnTo>
                  <a:lnTo>
                    <a:pt x="76" y="1114"/>
                  </a:lnTo>
                  <a:lnTo>
                    <a:pt x="80" y="1115"/>
                  </a:lnTo>
                  <a:lnTo>
                    <a:pt x="84" y="1118"/>
                  </a:lnTo>
                  <a:lnTo>
                    <a:pt x="84" y="1118"/>
                  </a:lnTo>
                  <a:lnTo>
                    <a:pt x="87" y="1119"/>
                  </a:lnTo>
                  <a:lnTo>
                    <a:pt x="89" y="1121"/>
                  </a:lnTo>
                  <a:lnTo>
                    <a:pt x="90" y="1124"/>
                  </a:lnTo>
                  <a:lnTo>
                    <a:pt x="90" y="1124"/>
                  </a:lnTo>
                  <a:lnTo>
                    <a:pt x="92" y="1124"/>
                  </a:lnTo>
                  <a:lnTo>
                    <a:pt x="93" y="1124"/>
                  </a:lnTo>
                  <a:lnTo>
                    <a:pt x="94" y="1118"/>
                  </a:lnTo>
                  <a:lnTo>
                    <a:pt x="94" y="1118"/>
                  </a:lnTo>
                  <a:lnTo>
                    <a:pt x="96" y="1115"/>
                  </a:lnTo>
                  <a:lnTo>
                    <a:pt x="97" y="1114"/>
                  </a:lnTo>
                  <a:lnTo>
                    <a:pt x="100" y="1111"/>
                  </a:lnTo>
                  <a:lnTo>
                    <a:pt x="103" y="1108"/>
                  </a:lnTo>
                  <a:lnTo>
                    <a:pt x="103" y="1108"/>
                  </a:lnTo>
                  <a:lnTo>
                    <a:pt x="106" y="1105"/>
                  </a:lnTo>
                  <a:lnTo>
                    <a:pt x="107" y="1105"/>
                  </a:lnTo>
                  <a:lnTo>
                    <a:pt x="109" y="1106"/>
                  </a:lnTo>
                  <a:lnTo>
                    <a:pt x="112" y="1106"/>
                  </a:lnTo>
                  <a:lnTo>
                    <a:pt x="112" y="1106"/>
                  </a:lnTo>
                  <a:lnTo>
                    <a:pt x="114" y="1104"/>
                  </a:lnTo>
                  <a:lnTo>
                    <a:pt x="117" y="1102"/>
                  </a:lnTo>
                  <a:lnTo>
                    <a:pt x="120" y="1099"/>
                  </a:lnTo>
                  <a:lnTo>
                    <a:pt x="123" y="1098"/>
                  </a:lnTo>
                  <a:lnTo>
                    <a:pt x="123" y="1098"/>
                  </a:lnTo>
                  <a:lnTo>
                    <a:pt x="126" y="1096"/>
                  </a:lnTo>
                  <a:lnTo>
                    <a:pt x="129" y="1096"/>
                  </a:lnTo>
                  <a:lnTo>
                    <a:pt x="134" y="1101"/>
                  </a:lnTo>
                  <a:lnTo>
                    <a:pt x="134" y="1101"/>
                  </a:lnTo>
                  <a:lnTo>
                    <a:pt x="136" y="1102"/>
                  </a:lnTo>
                  <a:lnTo>
                    <a:pt x="139" y="1102"/>
                  </a:lnTo>
                  <a:lnTo>
                    <a:pt x="144" y="1098"/>
                  </a:lnTo>
                  <a:lnTo>
                    <a:pt x="144" y="1098"/>
                  </a:lnTo>
                  <a:lnTo>
                    <a:pt x="149" y="1098"/>
                  </a:lnTo>
                  <a:lnTo>
                    <a:pt x="152" y="1098"/>
                  </a:lnTo>
                  <a:lnTo>
                    <a:pt x="153" y="1101"/>
                  </a:lnTo>
                  <a:lnTo>
                    <a:pt x="156" y="1101"/>
                  </a:lnTo>
                  <a:lnTo>
                    <a:pt x="156" y="1101"/>
                  </a:lnTo>
                  <a:lnTo>
                    <a:pt x="159" y="1101"/>
                  </a:lnTo>
                  <a:lnTo>
                    <a:pt x="160" y="1099"/>
                  </a:lnTo>
                  <a:lnTo>
                    <a:pt x="162" y="1098"/>
                  </a:lnTo>
                  <a:lnTo>
                    <a:pt x="164" y="1098"/>
                  </a:lnTo>
                  <a:lnTo>
                    <a:pt x="164" y="1098"/>
                  </a:lnTo>
                  <a:lnTo>
                    <a:pt x="174" y="1101"/>
                  </a:lnTo>
                  <a:lnTo>
                    <a:pt x="176" y="1101"/>
                  </a:lnTo>
                  <a:lnTo>
                    <a:pt x="177" y="1098"/>
                  </a:lnTo>
                  <a:lnTo>
                    <a:pt x="177" y="1098"/>
                  </a:lnTo>
                  <a:lnTo>
                    <a:pt x="177" y="1096"/>
                  </a:lnTo>
                  <a:lnTo>
                    <a:pt x="179" y="1094"/>
                  </a:lnTo>
                  <a:lnTo>
                    <a:pt x="183" y="1088"/>
                  </a:lnTo>
                  <a:lnTo>
                    <a:pt x="192" y="1076"/>
                  </a:lnTo>
                  <a:lnTo>
                    <a:pt x="192" y="1076"/>
                  </a:lnTo>
                  <a:lnTo>
                    <a:pt x="193" y="1075"/>
                  </a:lnTo>
                  <a:lnTo>
                    <a:pt x="194" y="1075"/>
                  </a:lnTo>
                  <a:lnTo>
                    <a:pt x="200" y="1075"/>
                  </a:lnTo>
                  <a:lnTo>
                    <a:pt x="204" y="1076"/>
                  </a:lnTo>
                  <a:lnTo>
                    <a:pt x="209" y="1076"/>
                  </a:lnTo>
                  <a:lnTo>
                    <a:pt x="209" y="1076"/>
                  </a:lnTo>
                  <a:lnTo>
                    <a:pt x="210" y="1075"/>
                  </a:lnTo>
                  <a:lnTo>
                    <a:pt x="210" y="1074"/>
                  </a:lnTo>
                  <a:lnTo>
                    <a:pt x="209" y="1065"/>
                  </a:lnTo>
                  <a:lnTo>
                    <a:pt x="209" y="1065"/>
                  </a:lnTo>
                  <a:lnTo>
                    <a:pt x="209" y="1061"/>
                  </a:lnTo>
                  <a:lnTo>
                    <a:pt x="213" y="1056"/>
                  </a:lnTo>
                  <a:lnTo>
                    <a:pt x="223" y="1049"/>
                  </a:lnTo>
                  <a:lnTo>
                    <a:pt x="223" y="1049"/>
                  </a:lnTo>
                  <a:lnTo>
                    <a:pt x="230" y="1044"/>
                  </a:lnTo>
                  <a:lnTo>
                    <a:pt x="233" y="1042"/>
                  </a:lnTo>
                  <a:lnTo>
                    <a:pt x="234" y="1041"/>
                  </a:lnTo>
                  <a:lnTo>
                    <a:pt x="234" y="1041"/>
                  </a:lnTo>
                  <a:lnTo>
                    <a:pt x="234" y="1038"/>
                  </a:lnTo>
                  <a:lnTo>
                    <a:pt x="233" y="1038"/>
                  </a:lnTo>
                  <a:lnTo>
                    <a:pt x="229" y="1036"/>
                  </a:lnTo>
                  <a:lnTo>
                    <a:pt x="226" y="1035"/>
                  </a:lnTo>
                  <a:lnTo>
                    <a:pt x="226" y="1035"/>
                  </a:lnTo>
                  <a:lnTo>
                    <a:pt x="224" y="1032"/>
                  </a:lnTo>
                  <a:lnTo>
                    <a:pt x="223" y="1028"/>
                  </a:lnTo>
                  <a:lnTo>
                    <a:pt x="223" y="1016"/>
                  </a:lnTo>
                  <a:lnTo>
                    <a:pt x="223" y="1016"/>
                  </a:lnTo>
                  <a:lnTo>
                    <a:pt x="223" y="1014"/>
                  </a:lnTo>
                  <a:lnTo>
                    <a:pt x="226" y="1011"/>
                  </a:lnTo>
                  <a:lnTo>
                    <a:pt x="229" y="1009"/>
                  </a:lnTo>
                  <a:lnTo>
                    <a:pt x="230" y="1005"/>
                  </a:lnTo>
                  <a:lnTo>
                    <a:pt x="230" y="1005"/>
                  </a:lnTo>
                  <a:lnTo>
                    <a:pt x="234" y="999"/>
                  </a:lnTo>
                  <a:lnTo>
                    <a:pt x="240" y="992"/>
                  </a:lnTo>
                  <a:lnTo>
                    <a:pt x="246" y="985"/>
                  </a:lnTo>
                  <a:lnTo>
                    <a:pt x="247" y="981"/>
                  </a:lnTo>
                  <a:lnTo>
                    <a:pt x="249" y="978"/>
                  </a:lnTo>
                  <a:lnTo>
                    <a:pt x="249" y="978"/>
                  </a:lnTo>
                  <a:lnTo>
                    <a:pt x="249" y="975"/>
                  </a:lnTo>
                  <a:lnTo>
                    <a:pt x="250" y="974"/>
                  </a:lnTo>
                  <a:lnTo>
                    <a:pt x="254" y="972"/>
                  </a:lnTo>
                  <a:lnTo>
                    <a:pt x="264" y="971"/>
                  </a:lnTo>
                  <a:lnTo>
                    <a:pt x="264" y="971"/>
                  </a:lnTo>
                  <a:lnTo>
                    <a:pt x="273" y="969"/>
                  </a:lnTo>
                  <a:lnTo>
                    <a:pt x="276" y="968"/>
                  </a:lnTo>
                  <a:lnTo>
                    <a:pt x="280" y="965"/>
                  </a:lnTo>
                  <a:lnTo>
                    <a:pt x="280" y="965"/>
                  </a:lnTo>
                  <a:lnTo>
                    <a:pt x="283" y="962"/>
                  </a:lnTo>
                  <a:lnTo>
                    <a:pt x="287" y="961"/>
                  </a:lnTo>
                  <a:lnTo>
                    <a:pt x="292" y="959"/>
                  </a:lnTo>
                  <a:lnTo>
                    <a:pt x="296" y="958"/>
                  </a:lnTo>
                  <a:lnTo>
                    <a:pt x="296" y="958"/>
                  </a:lnTo>
                  <a:lnTo>
                    <a:pt x="303" y="954"/>
                  </a:lnTo>
                  <a:lnTo>
                    <a:pt x="306" y="952"/>
                  </a:lnTo>
                  <a:lnTo>
                    <a:pt x="309" y="949"/>
                  </a:lnTo>
                  <a:lnTo>
                    <a:pt x="309" y="949"/>
                  </a:lnTo>
                  <a:lnTo>
                    <a:pt x="310" y="945"/>
                  </a:lnTo>
                  <a:lnTo>
                    <a:pt x="310" y="941"/>
                  </a:lnTo>
                  <a:lnTo>
                    <a:pt x="309" y="935"/>
                  </a:lnTo>
                  <a:lnTo>
                    <a:pt x="309" y="935"/>
                  </a:lnTo>
                  <a:lnTo>
                    <a:pt x="309" y="933"/>
                  </a:lnTo>
                  <a:lnTo>
                    <a:pt x="306" y="929"/>
                  </a:lnTo>
                  <a:lnTo>
                    <a:pt x="304" y="923"/>
                  </a:lnTo>
                  <a:lnTo>
                    <a:pt x="306" y="921"/>
                  </a:lnTo>
                  <a:lnTo>
                    <a:pt x="307" y="919"/>
                  </a:lnTo>
                  <a:lnTo>
                    <a:pt x="307" y="919"/>
                  </a:lnTo>
                  <a:lnTo>
                    <a:pt x="312" y="912"/>
                  </a:lnTo>
                  <a:lnTo>
                    <a:pt x="314" y="909"/>
                  </a:lnTo>
                  <a:lnTo>
                    <a:pt x="317" y="906"/>
                  </a:lnTo>
                  <a:lnTo>
                    <a:pt x="317" y="906"/>
                  </a:lnTo>
                  <a:lnTo>
                    <a:pt x="319" y="903"/>
                  </a:lnTo>
                  <a:lnTo>
                    <a:pt x="320" y="901"/>
                  </a:lnTo>
                  <a:lnTo>
                    <a:pt x="322" y="899"/>
                  </a:lnTo>
                  <a:lnTo>
                    <a:pt x="324" y="899"/>
                  </a:lnTo>
                  <a:lnTo>
                    <a:pt x="324" y="899"/>
                  </a:lnTo>
                  <a:lnTo>
                    <a:pt x="327" y="899"/>
                  </a:lnTo>
                  <a:lnTo>
                    <a:pt x="329" y="898"/>
                  </a:lnTo>
                  <a:lnTo>
                    <a:pt x="333" y="898"/>
                  </a:lnTo>
                  <a:lnTo>
                    <a:pt x="339" y="899"/>
                  </a:lnTo>
                  <a:lnTo>
                    <a:pt x="339" y="899"/>
                  </a:lnTo>
                  <a:lnTo>
                    <a:pt x="346" y="902"/>
                  </a:lnTo>
                  <a:lnTo>
                    <a:pt x="349" y="902"/>
                  </a:lnTo>
                  <a:lnTo>
                    <a:pt x="352" y="902"/>
                  </a:lnTo>
                  <a:lnTo>
                    <a:pt x="356" y="905"/>
                  </a:lnTo>
                  <a:lnTo>
                    <a:pt x="356" y="905"/>
                  </a:lnTo>
                  <a:lnTo>
                    <a:pt x="359" y="908"/>
                  </a:lnTo>
                  <a:lnTo>
                    <a:pt x="362" y="908"/>
                  </a:lnTo>
                  <a:lnTo>
                    <a:pt x="369" y="912"/>
                  </a:lnTo>
                  <a:lnTo>
                    <a:pt x="369" y="912"/>
                  </a:lnTo>
                  <a:lnTo>
                    <a:pt x="374" y="915"/>
                  </a:lnTo>
                  <a:lnTo>
                    <a:pt x="376" y="916"/>
                  </a:lnTo>
                  <a:lnTo>
                    <a:pt x="377" y="915"/>
                  </a:lnTo>
                  <a:lnTo>
                    <a:pt x="377" y="915"/>
                  </a:lnTo>
                  <a:lnTo>
                    <a:pt x="384" y="913"/>
                  </a:lnTo>
                  <a:lnTo>
                    <a:pt x="387" y="911"/>
                  </a:lnTo>
                  <a:lnTo>
                    <a:pt x="389" y="909"/>
                  </a:lnTo>
                  <a:lnTo>
                    <a:pt x="389" y="909"/>
                  </a:lnTo>
                  <a:lnTo>
                    <a:pt x="393" y="905"/>
                  </a:lnTo>
                  <a:lnTo>
                    <a:pt x="402" y="899"/>
                  </a:lnTo>
                  <a:lnTo>
                    <a:pt x="417" y="891"/>
                  </a:lnTo>
                  <a:lnTo>
                    <a:pt x="417" y="891"/>
                  </a:lnTo>
                  <a:lnTo>
                    <a:pt x="417" y="891"/>
                  </a:lnTo>
                  <a:lnTo>
                    <a:pt x="420" y="891"/>
                  </a:lnTo>
                  <a:lnTo>
                    <a:pt x="420" y="891"/>
                  </a:lnTo>
                  <a:lnTo>
                    <a:pt x="423" y="889"/>
                  </a:lnTo>
                  <a:lnTo>
                    <a:pt x="425" y="888"/>
                  </a:lnTo>
                  <a:lnTo>
                    <a:pt x="429" y="883"/>
                  </a:lnTo>
                  <a:lnTo>
                    <a:pt x="429" y="883"/>
                  </a:lnTo>
                  <a:lnTo>
                    <a:pt x="433" y="879"/>
                  </a:lnTo>
                  <a:lnTo>
                    <a:pt x="436" y="875"/>
                  </a:lnTo>
                  <a:lnTo>
                    <a:pt x="436" y="875"/>
                  </a:lnTo>
                  <a:lnTo>
                    <a:pt x="437" y="873"/>
                  </a:lnTo>
                  <a:lnTo>
                    <a:pt x="439" y="873"/>
                  </a:lnTo>
                  <a:lnTo>
                    <a:pt x="442" y="873"/>
                  </a:lnTo>
                  <a:lnTo>
                    <a:pt x="445" y="873"/>
                  </a:lnTo>
                  <a:lnTo>
                    <a:pt x="445" y="873"/>
                  </a:lnTo>
                  <a:lnTo>
                    <a:pt x="447" y="873"/>
                  </a:lnTo>
                  <a:lnTo>
                    <a:pt x="452" y="876"/>
                  </a:lnTo>
                  <a:lnTo>
                    <a:pt x="456" y="882"/>
                  </a:lnTo>
                  <a:lnTo>
                    <a:pt x="456" y="882"/>
                  </a:lnTo>
                  <a:lnTo>
                    <a:pt x="459" y="885"/>
                  </a:lnTo>
                  <a:lnTo>
                    <a:pt x="459" y="885"/>
                  </a:lnTo>
                  <a:lnTo>
                    <a:pt x="460" y="886"/>
                  </a:lnTo>
                  <a:lnTo>
                    <a:pt x="460" y="886"/>
                  </a:lnTo>
                  <a:lnTo>
                    <a:pt x="466" y="886"/>
                  </a:lnTo>
                  <a:lnTo>
                    <a:pt x="469" y="886"/>
                  </a:lnTo>
                  <a:lnTo>
                    <a:pt x="472" y="888"/>
                  </a:lnTo>
                  <a:lnTo>
                    <a:pt x="472" y="888"/>
                  </a:lnTo>
                  <a:lnTo>
                    <a:pt x="473" y="891"/>
                  </a:lnTo>
                  <a:lnTo>
                    <a:pt x="475" y="895"/>
                  </a:lnTo>
                  <a:lnTo>
                    <a:pt x="475" y="901"/>
                  </a:lnTo>
                  <a:lnTo>
                    <a:pt x="475" y="901"/>
                  </a:lnTo>
                  <a:lnTo>
                    <a:pt x="476" y="902"/>
                  </a:lnTo>
                  <a:lnTo>
                    <a:pt x="477" y="903"/>
                  </a:lnTo>
                  <a:lnTo>
                    <a:pt x="480" y="905"/>
                  </a:lnTo>
                  <a:lnTo>
                    <a:pt x="480" y="908"/>
                  </a:lnTo>
                  <a:lnTo>
                    <a:pt x="480" y="908"/>
                  </a:lnTo>
                  <a:lnTo>
                    <a:pt x="482" y="911"/>
                  </a:lnTo>
                  <a:lnTo>
                    <a:pt x="482" y="913"/>
                  </a:lnTo>
                  <a:lnTo>
                    <a:pt x="485" y="918"/>
                  </a:lnTo>
                  <a:lnTo>
                    <a:pt x="485" y="918"/>
                  </a:lnTo>
                  <a:lnTo>
                    <a:pt x="490" y="923"/>
                  </a:lnTo>
                  <a:lnTo>
                    <a:pt x="497" y="929"/>
                  </a:lnTo>
                  <a:lnTo>
                    <a:pt x="497" y="929"/>
                  </a:lnTo>
                  <a:lnTo>
                    <a:pt x="506" y="935"/>
                  </a:lnTo>
                  <a:lnTo>
                    <a:pt x="510" y="939"/>
                  </a:lnTo>
                  <a:lnTo>
                    <a:pt x="513" y="943"/>
                  </a:lnTo>
                  <a:lnTo>
                    <a:pt x="513" y="943"/>
                  </a:lnTo>
                  <a:lnTo>
                    <a:pt x="516" y="946"/>
                  </a:lnTo>
                  <a:lnTo>
                    <a:pt x="519" y="949"/>
                  </a:lnTo>
                  <a:lnTo>
                    <a:pt x="523" y="952"/>
                  </a:lnTo>
                  <a:lnTo>
                    <a:pt x="523" y="952"/>
                  </a:lnTo>
                  <a:lnTo>
                    <a:pt x="530" y="958"/>
                  </a:lnTo>
                  <a:lnTo>
                    <a:pt x="536" y="962"/>
                  </a:lnTo>
                  <a:lnTo>
                    <a:pt x="540" y="964"/>
                  </a:lnTo>
                  <a:lnTo>
                    <a:pt x="540" y="964"/>
                  </a:lnTo>
                  <a:lnTo>
                    <a:pt x="550" y="965"/>
                  </a:lnTo>
                  <a:lnTo>
                    <a:pt x="555" y="966"/>
                  </a:lnTo>
                  <a:lnTo>
                    <a:pt x="559" y="968"/>
                  </a:lnTo>
                  <a:lnTo>
                    <a:pt x="559" y="968"/>
                  </a:lnTo>
                  <a:lnTo>
                    <a:pt x="563" y="975"/>
                  </a:lnTo>
                  <a:lnTo>
                    <a:pt x="567" y="978"/>
                  </a:lnTo>
                  <a:lnTo>
                    <a:pt x="572" y="979"/>
                  </a:lnTo>
                  <a:lnTo>
                    <a:pt x="572" y="979"/>
                  </a:lnTo>
                  <a:lnTo>
                    <a:pt x="576" y="979"/>
                  </a:lnTo>
                  <a:lnTo>
                    <a:pt x="579" y="981"/>
                  </a:lnTo>
                  <a:lnTo>
                    <a:pt x="583" y="988"/>
                  </a:lnTo>
                  <a:lnTo>
                    <a:pt x="583" y="988"/>
                  </a:lnTo>
                  <a:lnTo>
                    <a:pt x="585" y="991"/>
                  </a:lnTo>
                  <a:lnTo>
                    <a:pt x="586" y="994"/>
                  </a:lnTo>
                  <a:lnTo>
                    <a:pt x="586" y="998"/>
                  </a:lnTo>
                  <a:lnTo>
                    <a:pt x="586" y="998"/>
                  </a:lnTo>
                  <a:lnTo>
                    <a:pt x="587" y="999"/>
                  </a:lnTo>
                  <a:lnTo>
                    <a:pt x="590" y="1001"/>
                  </a:lnTo>
                  <a:lnTo>
                    <a:pt x="593" y="1001"/>
                  </a:lnTo>
                  <a:lnTo>
                    <a:pt x="596" y="1002"/>
                  </a:lnTo>
                  <a:lnTo>
                    <a:pt x="596" y="1002"/>
                  </a:lnTo>
                  <a:lnTo>
                    <a:pt x="597" y="1005"/>
                  </a:lnTo>
                  <a:lnTo>
                    <a:pt x="600" y="1005"/>
                  </a:lnTo>
                  <a:lnTo>
                    <a:pt x="603" y="1005"/>
                  </a:lnTo>
                  <a:lnTo>
                    <a:pt x="605" y="1006"/>
                  </a:lnTo>
                  <a:lnTo>
                    <a:pt x="605" y="1006"/>
                  </a:lnTo>
                  <a:lnTo>
                    <a:pt x="607" y="1011"/>
                  </a:lnTo>
                  <a:lnTo>
                    <a:pt x="612" y="1019"/>
                  </a:lnTo>
                  <a:lnTo>
                    <a:pt x="615" y="1028"/>
                  </a:lnTo>
                  <a:lnTo>
                    <a:pt x="616" y="1034"/>
                  </a:lnTo>
                  <a:lnTo>
                    <a:pt x="616" y="1034"/>
                  </a:lnTo>
                  <a:lnTo>
                    <a:pt x="615" y="1036"/>
                  </a:lnTo>
                  <a:lnTo>
                    <a:pt x="613" y="1038"/>
                  </a:lnTo>
                  <a:lnTo>
                    <a:pt x="610" y="1041"/>
                  </a:lnTo>
                  <a:lnTo>
                    <a:pt x="610" y="1041"/>
                  </a:lnTo>
                  <a:lnTo>
                    <a:pt x="609" y="1044"/>
                  </a:lnTo>
                  <a:lnTo>
                    <a:pt x="609" y="1045"/>
                  </a:lnTo>
                  <a:lnTo>
                    <a:pt x="610" y="1048"/>
                  </a:lnTo>
                  <a:lnTo>
                    <a:pt x="610" y="1048"/>
                  </a:lnTo>
                  <a:lnTo>
                    <a:pt x="610" y="1051"/>
                  </a:lnTo>
                  <a:lnTo>
                    <a:pt x="609" y="1052"/>
                  </a:lnTo>
                  <a:lnTo>
                    <a:pt x="606" y="1054"/>
                  </a:lnTo>
                  <a:lnTo>
                    <a:pt x="605" y="1056"/>
                  </a:lnTo>
                  <a:lnTo>
                    <a:pt x="605" y="1056"/>
                  </a:lnTo>
                  <a:lnTo>
                    <a:pt x="603" y="1059"/>
                  </a:lnTo>
                  <a:lnTo>
                    <a:pt x="605" y="1062"/>
                  </a:lnTo>
                  <a:lnTo>
                    <a:pt x="609" y="1064"/>
                  </a:lnTo>
                  <a:lnTo>
                    <a:pt x="613" y="1065"/>
                  </a:lnTo>
                  <a:lnTo>
                    <a:pt x="613" y="1065"/>
                  </a:lnTo>
                  <a:lnTo>
                    <a:pt x="615" y="1064"/>
                  </a:lnTo>
                  <a:lnTo>
                    <a:pt x="616" y="1062"/>
                  </a:lnTo>
                  <a:lnTo>
                    <a:pt x="620" y="1058"/>
                  </a:lnTo>
                  <a:lnTo>
                    <a:pt x="623" y="1054"/>
                  </a:lnTo>
                  <a:lnTo>
                    <a:pt x="625" y="1049"/>
                  </a:lnTo>
                  <a:lnTo>
                    <a:pt x="625" y="1049"/>
                  </a:lnTo>
                  <a:lnTo>
                    <a:pt x="626" y="1048"/>
                  </a:lnTo>
                  <a:lnTo>
                    <a:pt x="627" y="1044"/>
                  </a:lnTo>
                  <a:lnTo>
                    <a:pt x="627" y="1038"/>
                  </a:lnTo>
                  <a:lnTo>
                    <a:pt x="627" y="1038"/>
                  </a:lnTo>
                  <a:lnTo>
                    <a:pt x="629" y="1036"/>
                  </a:lnTo>
                  <a:lnTo>
                    <a:pt x="630" y="1035"/>
                  </a:lnTo>
                  <a:lnTo>
                    <a:pt x="635" y="1034"/>
                  </a:lnTo>
                  <a:lnTo>
                    <a:pt x="639" y="1034"/>
                  </a:lnTo>
                  <a:lnTo>
                    <a:pt x="639" y="1034"/>
                  </a:lnTo>
                  <a:lnTo>
                    <a:pt x="640" y="1034"/>
                  </a:lnTo>
                  <a:lnTo>
                    <a:pt x="642" y="1032"/>
                  </a:lnTo>
                  <a:lnTo>
                    <a:pt x="643" y="1029"/>
                  </a:lnTo>
                  <a:lnTo>
                    <a:pt x="640" y="1019"/>
                  </a:lnTo>
                  <a:lnTo>
                    <a:pt x="640" y="1019"/>
                  </a:lnTo>
                  <a:lnTo>
                    <a:pt x="637" y="1015"/>
                  </a:lnTo>
                  <a:lnTo>
                    <a:pt x="635" y="1014"/>
                  </a:lnTo>
                  <a:lnTo>
                    <a:pt x="630" y="1012"/>
                  </a:lnTo>
                  <a:lnTo>
                    <a:pt x="625" y="1011"/>
                  </a:lnTo>
                  <a:lnTo>
                    <a:pt x="625" y="1011"/>
                  </a:lnTo>
                  <a:lnTo>
                    <a:pt x="625" y="1008"/>
                  </a:lnTo>
                  <a:lnTo>
                    <a:pt x="625" y="1005"/>
                  </a:lnTo>
                  <a:lnTo>
                    <a:pt x="627" y="998"/>
                  </a:lnTo>
                  <a:lnTo>
                    <a:pt x="636" y="986"/>
                  </a:lnTo>
                  <a:lnTo>
                    <a:pt x="636" y="986"/>
                  </a:lnTo>
                  <a:lnTo>
                    <a:pt x="637" y="986"/>
                  </a:lnTo>
                  <a:lnTo>
                    <a:pt x="639" y="988"/>
                  </a:lnTo>
                  <a:lnTo>
                    <a:pt x="640" y="991"/>
                  </a:lnTo>
                  <a:lnTo>
                    <a:pt x="643" y="992"/>
                  </a:lnTo>
                  <a:lnTo>
                    <a:pt x="643" y="992"/>
                  </a:lnTo>
                  <a:lnTo>
                    <a:pt x="646" y="994"/>
                  </a:lnTo>
                  <a:lnTo>
                    <a:pt x="650" y="995"/>
                  </a:lnTo>
                  <a:lnTo>
                    <a:pt x="655" y="995"/>
                  </a:lnTo>
                  <a:lnTo>
                    <a:pt x="656" y="998"/>
                  </a:lnTo>
                  <a:lnTo>
                    <a:pt x="656" y="998"/>
                  </a:lnTo>
                  <a:lnTo>
                    <a:pt x="660" y="1004"/>
                  </a:lnTo>
                  <a:lnTo>
                    <a:pt x="665" y="1009"/>
                  </a:lnTo>
                  <a:lnTo>
                    <a:pt x="665" y="1009"/>
                  </a:lnTo>
                  <a:lnTo>
                    <a:pt x="667" y="1011"/>
                  </a:lnTo>
                  <a:lnTo>
                    <a:pt x="669" y="1009"/>
                  </a:lnTo>
                  <a:lnTo>
                    <a:pt x="670" y="1005"/>
                  </a:lnTo>
                  <a:lnTo>
                    <a:pt x="670" y="1001"/>
                  </a:lnTo>
                  <a:lnTo>
                    <a:pt x="670" y="1001"/>
                  </a:lnTo>
                  <a:lnTo>
                    <a:pt x="670" y="996"/>
                  </a:lnTo>
                  <a:lnTo>
                    <a:pt x="669" y="994"/>
                  </a:lnTo>
                  <a:lnTo>
                    <a:pt x="663" y="989"/>
                  </a:lnTo>
                  <a:lnTo>
                    <a:pt x="663" y="989"/>
                  </a:lnTo>
                  <a:lnTo>
                    <a:pt x="657" y="984"/>
                  </a:lnTo>
                  <a:lnTo>
                    <a:pt x="647" y="979"/>
                  </a:lnTo>
                  <a:lnTo>
                    <a:pt x="647" y="979"/>
                  </a:lnTo>
                  <a:lnTo>
                    <a:pt x="643" y="975"/>
                  </a:lnTo>
                  <a:lnTo>
                    <a:pt x="640" y="972"/>
                  </a:lnTo>
                  <a:lnTo>
                    <a:pt x="637" y="971"/>
                  </a:lnTo>
                  <a:lnTo>
                    <a:pt x="632" y="968"/>
                  </a:lnTo>
                  <a:lnTo>
                    <a:pt x="632" y="968"/>
                  </a:lnTo>
                  <a:lnTo>
                    <a:pt x="625" y="966"/>
                  </a:lnTo>
                  <a:lnTo>
                    <a:pt x="619" y="965"/>
                  </a:lnTo>
                  <a:lnTo>
                    <a:pt x="613" y="961"/>
                  </a:lnTo>
                  <a:lnTo>
                    <a:pt x="610" y="958"/>
                  </a:lnTo>
                  <a:lnTo>
                    <a:pt x="610" y="958"/>
                  </a:lnTo>
                  <a:lnTo>
                    <a:pt x="610" y="956"/>
                  </a:lnTo>
                  <a:lnTo>
                    <a:pt x="610" y="954"/>
                  </a:lnTo>
                  <a:lnTo>
                    <a:pt x="613" y="952"/>
                  </a:lnTo>
                  <a:lnTo>
                    <a:pt x="615" y="951"/>
                  </a:lnTo>
                  <a:lnTo>
                    <a:pt x="616" y="949"/>
                  </a:lnTo>
                  <a:lnTo>
                    <a:pt x="615" y="949"/>
                  </a:lnTo>
                  <a:lnTo>
                    <a:pt x="615" y="949"/>
                  </a:lnTo>
                  <a:lnTo>
                    <a:pt x="613" y="948"/>
                  </a:lnTo>
                  <a:lnTo>
                    <a:pt x="607" y="948"/>
                  </a:lnTo>
                  <a:lnTo>
                    <a:pt x="600" y="948"/>
                  </a:lnTo>
                  <a:lnTo>
                    <a:pt x="587" y="945"/>
                  </a:lnTo>
                  <a:lnTo>
                    <a:pt x="587" y="945"/>
                  </a:lnTo>
                  <a:lnTo>
                    <a:pt x="580" y="942"/>
                  </a:lnTo>
                  <a:lnTo>
                    <a:pt x="573" y="936"/>
                  </a:lnTo>
                  <a:lnTo>
                    <a:pt x="569" y="931"/>
                  </a:lnTo>
                  <a:lnTo>
                    <a:pt x="566" y="925"/>
                  </a:lnTo>
                  <a:lnTo>
                    <a:pt x="560" y="912"/>
                  </a:lnTo>
                  <a:lnTo>
                    <a:pt x="559" y="905"/>
                  </a:lnTo>
                  <a:lnTo>
                    <a:pt x="559" y="905"/>
                  </a:lnTo>
                  <a:lnTo>
                    <a:pt x="555" y="901"/>
                  </a:lnTo>
                  <a:lnTo>
                    <a:pt x="545" y="895"/>
                  </a:lnTo>
                  <a:lnTo>
                    <a:pt x="526" y="881"/>
                  </a:lnTo>
                  <a:lnTo>
                    <a:pt x="526" y="881"/>
                  </a:lnTo>
                  <a:lnTo>
                    <a:pt x="522" y="876"/>
                  </a:lnTo>
                  <a:lnTo>
                    <a:pt x="520" y="872"/>
                  </a:lnTo>
                  <a:lnTo>
                    <a:pt x="522" y="865"/>
                  </a:lnTo>
                  <a:lnTo>
                    <a:pt x="522" y="865"/>
                  </a:lnTo>
                  <a:lnTo>
                    <a:pt x="522" y="863"/>
                  </a:lnTo>
                  <a:lnTo>
                    <a:pt x="525" y="862"/>
                  </a:lnTo>
                  <a:lnTo>
                    <a:pt x="526" y="861"/>
                  </a:lnTo>
                  <a:lnTo>
                    <a:pt x="527" y="858"/>
                  </a:lnTo>
                  <a:lnTo>
                    <a:pt x="527" y="858"/>
                  </a:lnTo>
                  <a:lnTo>
                    <a:pt x="527" y="855"/>
                  </a:lnTo>
                  <a:lnTo>
                    <a:pt x="526" y="853"/>
                  </a:lnTo>
                  <a:lnTo>
                    <a:pt x="523" y="851"/>
                  </a:lnTo>
                  <a:lnTo>
                    <a:pt x="522" y="848"/>
                  </a:lnTo>
                  <a:lnTo>
                    <a:pt x="522" y="848"/>
                  </a:lnTo>
                  <a:lnTo>
                    <a:pt x="522" y="845"/>
                  </a:lnTo>
                  <a:lnTo>
                    <a:pt x="525" y="843"/>
                  </a:lnTo>
                  <a:lnTo>
                    <a:pt x="532" y="843"/>
                  </a:lnTo>
                  <a:lnTo>
                    <a:pt x="532" y="843"/>
                  </a:lnTo>
                  <a:lnTo>
                    <a:pt x="535" y="842"/>
                  </a:lnTo>
                  <a:lnTo>
                    <a:pt x="536" y="842"/>
                  </a:lnTo>
                  <a:lnTo>
                    <a:pt x="537" y="841"/>
                  </a:lnTo>
                  <a:lnTo>
                    <a:pt x="540" y="839"/>
                  </a:lnTo>
                  <a:lnTo>
                    <a:pt x="540" y="839"/>
                  </a:lnTo>
                  <a:lnTo>
                    <a:pt x="543" y="838"/>
                  </a:lnTo>
                  <a:lnTo>
                    <a:pt x="543" y="838"/>
                  </a:lnTo>
                  <a:lnTo>
                    <a:pt x="542" y="836"/>
                  </a:lnTo>
                  <a:lnTo>
                    <a:pt x="543" y="832"/>
                  </a:lnTo>
                  <a:lnTo>
                    <a:pt x="543" y="832"/>
                  </a:lnTo>
                  <a:lnTo>
                    <a:pt x="545" y="831"/>
                  </a:lnTo>
                  <a:lnTo>
                    <a:pt x="546" y="829"/>
                  </a:lnTo>
                  <a:lnTo>
                    <a:pt x="549" y="831"/>
                  </a:lnTo>
                  <a:lnTo>
                    <a:pt x="555" y="832"/>
                  </a:lnTo>
                  <a:lnTo>
                    <a:pt x="555" y="829"/>
                  </a:lnTo>
                  <a:lnTo>
                    <a:pt x="555" y="829"/>
                  </a:lnTo>
                  <a:lnTo>
                    <a:pt x="553" y="833"/>
                  </a:lnTo>
                  <a:lnTo>
                    <a:pt x="553" y="833"/>
                  </a:lnTo>
                  <a:lnTo>
                    <a:pt x="555" y="836"/>
                  </a:lnTo>
                  <a:lnTo>
                    <a:pt x="556" y="839"/>
                  </a:lnTo>
                  <a:lnTo>
                    <a:pt x="560" y="843"/>
                  </a:lnTo>
                  <a:lnTo>
                    <a:pt x="559" y="843"/>
                  </a:lnTo>
                  <a:lnTo>
                    <a:pt x="559" y="843"/>
                  </a:lnTo>
                  <a:lnTo>
                    <a:pt x="553" y="846"/>
                  </a:lnTo>
                  <a:lnTo>
                    <a:pt x="552" y="848"/>
                  </a:lnTo>
                  <a:lnTo>
                    <a:pt x="550" y="851"/>
                  </a:lnTo>
                  <a:lnTo>
                    <a:pt x="550" y="851"/>
                  </a:lnTo>
                  <a:lnTo>
                    <a:pt x="550" y="853"/>
                  </a:lnTo>
                  <a:lnTo>
                    <a:pt x="552" y="858"/>
                  </a:lnTo>
                  <a:lnTo>
                    <a:pt x="553" y="859"/>
                  </a:lnTo>
                  <a:lnTo>
                    <a:pt x="556" y="861"/>
                  </a:lnTo>
                  <a:lnTo>
                    <a:pt x="556" y="861"/>
                  </a:lnTo>
                  <a:lnTo>
                    <a:pt x="559" y="861"/>
                  </a:lnTo>
                  <a:lnTo>
                    <a:pt x="560" y="859"/>
                  </a:lnTo>
                  <a:lnTo>
                    <a:pt x="560" y="859"/>
                  </a:lnTo>
                  <a:lnTo>
                    <a:pt x="565" y="858"/>
                  </a:lnTo>
                  <a:lnTo>
                    <a:pt x="565" y="858"/>
                  </a:lnTo>
                  <a:lnTo>
                    <a:pt x="570" y="853"/>
                  </a:lnTo>
                  <a:lnTo>
                    <a:pt x="572" y="853"/>
                  </a:lnTo>
                  <a:lnTo>
                    <a:pt x="576" y="855"/>
                  </a:lnTo>
                  <a:lnTo>
                    <a:pt x="576" y="855"/>
                  </a:lnTo>
                  <a:lnTo>
                    <a:pt x="577" y="858"/>
                  </a:lnTo>
                  <a:lnTo>
                    <a:pt x="579" y="862"/>
                  </a:lnTo>
                  <a:lnTo>
                    <a:pt x="580" y="865"/>
                  </a:lnTo>
                  <a:lnTo>
                    <a:pt x="582" y="868"/>
                  </a:lnTo>
                  <a:lnTo>
                    <a:pt x="582" y="868"/>
                  </a:lnTo>
                  <a:lnTo>
                    <a:pt x="586" y="872"/>
                  </a:lnTo>
                  <a:lnTo>
                    <a:pt x="586" y="872"/>
                  </a:lnTo>
                  <a:lnTo>
                    <a:pt x="587" y="879"/>
                  </a:lnTo>
                  <a:lnTo>
                    <a:pt x="587" y="879"/>
                  </a:lnTo>
                  <a:lnTo>
                    <a:pt x="590" y="881"/>
                  </a:lnTo>
                  <a:lnTo>
                    <a:pt x="593" y="883"/>
                  </a:lnTo>
                  <a:lnTo>
                    <a:pt x="593" y="883"/>
                  </a:lnTo>
                  <a:lnTo>
                    <a:pt x="593" y="886"/>
                  </a:lnTo>
                  <a:lnTo>
                    <a:pt x="593" y="889"/>
                  </a:lnTo>
                  <a:lnTo>
                    <a:pt x="593" y="889"/>
                  </a:lnTo>
                  <a:lnTo>
                    <a:pt x="596" y="892"/>
                  </a:lnTo>
                  <a:lnTo>
                    <a:pt x="599" y="893"/>
                  </a:lnTo>
                  <a:lnTo>
                    <a:pt x="605" y="896"/>
                  </a:lnTo>
                  <a:lnTo>
                    <a:pt x="605" y="896"/>
                  </a:lnTo>
                  <a:lnTo>
                    <a:pt x="610" y="899"/>
                  </a:lnTo>
                  <a:lnTo>
                    <a:pt x="617" y="899"/>
                  </a:lnTo>
                  <a:lnTo>
                    <a:pt x="617" y="899"/>
                  </a:lnTo>
                  <a:lnTo>
                    <a:pt x="617" y="899"/>
                  </a:lnTo>
                  <a:lnTo>
                    <a:pt x="617" y="899"/>
                  </a:lnTo>
                  <a:lnTo>
                    <a:pt x="620" y="901"/>
                  </a:lnTo>
                  <a:lnTo>
                    <a:pt x="623" y="902"/>
                  </a:lnTo>
                  <a:lnTo>
                    <a:pt x="626" y="906"/>
                  </a:lnTo>
                  <a:lnTo>
                    <a:pt x="626" y="906"/>
                  </a:lnTo>
                  <a:lnTo>
                    <a:pt x="630" y="909"/>
                  </a:lnTo>
                  <a:lnTo>
                    <a:pt x="633" y="909"/>
                  </a:lnTo>
                  <a:lnTo>
                    <a:pt x="636" y="909"/>
                  </a:lnTo>
                  <a:lnTo>
                    <a:pt x="639" y="909"/>
                  </a:lnTo>
                  <a:lnTo>
                    <a:pt x="639" y="909"/>
                  </a:lnTo>
                  <a:lnTo>
                    <a:pt x="645" y="911"/>
                  </a:lnTo>
                  <a:lnTo>
                    <a:pt x="649" y="915"/>
                  </a:lnTo>
                  <a:lnTo>
                    <a:pt x="649" y="915"/>
                  </a:lnTo>
                  <a:lnTo>
                    <a:pt x="652" y="918"/>
                  </a:lnTo>
                  <a:lnTo>
                    <a:pt x="653" y="919"/>
                  </a:lnTo>
                  <a:lnTo>
                    <a:pt x="656" y="919"/>
                  </a:lnTo>
                  <a:lnTo>
                    <a:pt x="659" y="922"/>
                  </a:lnTo>
                  <a:lnTo>
                    <a:pt x="659" y="922"/>
                  </a:lnTo>
                  <a:lnTo>
                    <a:pt x="662" y="926"/>
                  </a:lnTo>
                  <a:lnTo>
                    <a:pt x="666" y="929"/>
                  </a:lnTo>
                  <a:lnTo>
                    <a:pt x="669" y="929"/>
                  </a:lnTo>
                  <a:lnTo>
                    <a:pt x="670" y="929"/>
                  </a:lnTo>
                  <a:lnTo>
                    <a:pt x="670" y="928"/>
                  </a:lnTo>
                  <a:lnTo>
                    <a:pt x="670" y="928"/>
                  </a:lnTo>
                  <a:lnTo>
                    <a:pt x="669" y="922"/>
                  </a:lnTo>
                  <a:lnTo>
                    <a:pt x="669" y="918"/>
                  </a:lnTo>
                  <a:lnTo>
                    <a:pt x="670" y="915"/>
                  </a:lnTo>
                  <a:lnTo>
                    <a:pt x="670" y="929"/>
                  </a:lnTo>
                  <a:lnTo>
                    <a:pt x="676" y="933"/>
                  </a:lnTo>
                  <a:lnTo>
                    <a:pt x="680" y="938"/>
                  </a:lnTo>
                  <a:lnTo>
                    <a:pt x="682" y="939"/>
                  </a:lnTo>
                  <a:lnTo>
                    <a:pt x="682" y="939"/>
                  </a:lnTo>
                  <a:lnTo>
                    <a:pt x="683" y="945"/>
                  </a:lnTo>
                  <a:lnTo>
                    <a:pt x="686" y="948"/>
                  </a:lnTo>
                  <a:lnTo>
                    <a:pt x="690" y="951"/>
                  </a:lnTo>
                  <a:lnTo>
                    <a:pt x="690" y="954"/>
                  </a:lnTo>
                  <a:lnTo>
                    <a:pt x="692" y="959"/>
                  </a:lnTo>
                  <a:lnTo>
                    <a:pt x="693" y="964"/>
                  </a:lnTo>
                  <a:lnTo>
                    <a:pt x="693" y="968"/>
                  </a:lnTo>
                  <a:lnTo>
                    <a:pt x="690" y="979"/>
                  </a:lnTo>
                  <a:lnTo>
                    <a:pt x="690" y="989"/>
                  </a:lnTo>
                  <a:lnTo>
                    <a:pt x="693" y="994"/>
                  </a:lnTo>
                  <a:lnTo>
                    <a:pt x="695" y="996"/>
                  </a:lnTo>
                  <a:lnTo>
                    <a:pt x="699" y="999"/>
                  </a:lnTo>
                  <a:lnTo>
                    <a:pt x="699" y="999"/>
                  </a:lnTo>
                  <a:lnTo>
                    <a:pt x="700" y="1001"/>
                  </a:lnTo>
                  <a:lnTo>
                    <a:pt x="702" y="1002"/>
                  </a:lnTo>
                  <a:lnTo>
                    <a:pt x="702" y="1002"/>
                  </a:lnTo>
                  <a:lnTo>
                    <a:pt x="705" y="1006"/>
                  </a:lnTo>
                  <a:lnTo>
                    <a:pt x="706" y="1008"/>
                  </a:lnTo>
                  <a:lnTo>
                    <a:pt x="709" y="1011"/>
                  </a:lnTo>
                  <a:lnTo>
                    <a:pt x="709" y="1011"/>
                  </a:lnTo>
                  <a:lnTo>
                    <a:pt x="712" y="1009"/>
                  </a:lnTo>
                  <a:lnTo>
                    <a:pt x="712" y="1016"/>
                  </a:lnTo>
                  <a:lnTo>
                    <a:pt x="712" y="1016"/>
                  </a:lnTo>
                  <a:lnTo>
                    <a:pt x="712" y="1016"/>
                  </a:lnTo>
                  <a:lnTo>
                    <a:pt x="712" y="1016"/>
                  </a:lnTo>
                  <a:lnTo>
                    <a:pt x="710" y="1011"/>
                  </a:lnTo>
                  <a:lnTo>
                    <a:pt x="709" y="1011"/>
                  </a:lnTo>
                  <a:lnTo>
                    <a:pt x="705" y="1008"/>
                  </a:lnTo>
                  <a:lnTo>
                    <a:pt x="700" y="1011"/>
                  </a:lnTo>
                  <a:lnTo>
                    <a:pt x="700" y="1014"/>
                  </a:lnTo>
                  <a:lnTo>
                    <a:pt x="703" y="1022"/>
                  </a:lnTo>
                  <a:lnTo>
                    <a:pt x="706" y="1025"/>
                  </a:lnTo>
                  <a:lnTo>
                    <a:pt x="709" y="1025"/>
                  </a:lnTo>
                  <a:lnTo>
                    <a:pt x="715" y="1024"/>
                  </a:lnTo>
                  <a:lnTo>
                    <a:pt x="716" y="1025"/>
                  </a:lnTo>
                  <a:lnTo>
                    <a:pt x="716" y="1034"/>
                  </a:lnTo>
                  <a:lnTo>
                    <a:pt x="716" y="1038"/>
                  </a:lnTo>
                  <a:lnTo>
                    <a:pt x="716" y="1038"/>
                  </a:lnTo>
                  <a:lnTo>
                    <a:pt x="719" y="1039"/>
                  </a:lnTo>
                  <a:lnTo>
                    <a:pt x="719" y="1039"/>
                  </a:lnTo>
                  <a:lnTo>
                    <a:pt x="722" y="1042"/>
                  </a:lnTo>
                  <a:lnTo>
                    <a:pt x="723" y="1046"/>
                  </a:lnTo>
                  <a:lnTo>
                    <a:pt x="726" y="1048"/>
                  </a:lnTo>
                  <a:lnTo>
                    <a:pt x="729" y="1041"/>
                  </a:lnTo>
                  <a:lnTo>
                    <a:pt x="730" y="1042"/>
                  </a:lnTo>
                  <a:lnTo>
                    <a:pt x="735" y="1048"/>
                  </a:lnTo>
                  <a:lnTo>
                    <a:pt x="739" y="1052"/>
                  </a:lnTo>
                  <a:lnTo>
                    <a:pt x="746" y="1052"/>
                  </a:lnTo>
                  <a:lnTo>
                    <a:pt x="755" y="1052"/>
                  </a:lnTo>
                  <a:lnTo>
                    <a:pt x="755" y="1052"/>
                  </a:lnTo>
                  <a:lnTo>
                    <a:pt x="752" y="1055"/>
                  </a:lnTo>
                  <a:lnTo>
                    <a:pt x="747" y="1056"/>
                  </a:lnTo>
                  <a:lnTo>
                    <a:pt x="747" y="1056"/>
                  </a:lnTo>
                  <a:lnTo>
                    <a:pt x="745" y="1056"/>
                  </a:lnTo>
                  <a:lnTo>
                    <a:pt x="743" y="1058"/>
                  </a:lnTo>
                  <a:lnTo>
                    <a:pt x="742" y="1059"/>
                  </a:lnTo>
                  <a:lnTo>
                    <a:pt x="742" y="1059"/>
                  </a:lnTo>
                  <a:lnTo>
                    <a:pt x="740" y="1064"/>
                  </a:lnTo>
                  <a:lnTo>
                    <a:pt x="740" y="1064"/>
                  </a:lnTo>
                  <a:lnTo>
                    <a:pt x="739" y="1064"/>
                  </a:lnTo>
                  <a:lnTo>
                    <a:pt x="737" y="1065"/>
                  </a:lnTo>
                  <a:lnTo>
                    <a:pt x="737" y="1065"/>
                  </a:lnTo>
                  <a:lnTo>
                    <a:pt x="736" y="1068"/>
                  </a:lnTo>
                  <a:lnTo>
                    <a:pt x="737" y="1071"/>
                  </a:lnTo>
                  <a:lnTo>
                    <a:pt x="742" y="1074"/>
                  </a:lnTo>
                  <a:lnTo>
                    <a:pt x="742" y="1074"/>
                  </a:lnTo>
                  <a:lnTo>
                    <a:pt x="746" y="1076"/>
                  </a:lnTo>
                  <a:lnTo>
                    <a:pt x="747" y="1076"/>
                  </a:lnTo>
                  <a:lnTo>
                    <a:pt x="749" y="1079"/>
                  </a:lnTo>
                  <a:lnTo>
                    <a:pt x="749" y="1079"/>
                  </a:lnTo>
                  <a:lnTo>
                    <a:pt x="750" y="1088"/>
                  </a:lnTo>
                  <a:lnTo>
                    <a:pt x="750" y="1088"/>
                  </a:lnTo>
                  <a:lnTo>
                    <a:pt x="752" y="1095"/>
                  </a:lnTo>
                  <a:lnTo>
                    <a:pt x="753" y="1098"/>
                  </a:lnTo>
                  <a:lnTo>
                    <a:pt x="755" y="1099"/>
                  </a:lnTo>
                  <a:lnTo>
                    <a:pt x="755" y="1099"/>
                  </a:lnTo>
                  <a:lnTo>
                    <a:pt x="756" y="1099"/>
                  </a:lnTo>
                  <a:lnTo>
                    <a:pt x="757" y="1098"/>
                  </a:lnTo>
                  <a:lnTo>
                    <a:pt x="759" y="1096"/>
                  </a:lnTo>
                  <a:lnTo>
                    <a:pt x="760" y="1095"/>
                  </a:lnTo>
                  <a:lnTo>
                    <a:pt x="760" y="1095"/>
                  </a:lnTo>
                  <a:lnTo>
                    <a:pt x="763" y="1096"/>
                  </a:lnTo>
                  <a:lnTo>
                    <a:pt x="766" y="1099"/>
                  </a:lnTo>
                  <a:lnTo>
                    <a:pt x="766" y="1102"/>
                  </a:lnTo>
                  <a:lnTo>
                    <a:pt x="769" y="1105"/>
                  </a:lnTo>
                  <a:lnTo>
                    <a:pt x="769" y="1105"/>
                  </a:lnTo>
                  <a:lnTo>
                    <a:pt x="770" y="1106"/>
                  </a:lnTo>
                  <a:lnTo>
                    <a:pt x="772" y="1105"/>
                  </a:lnTo>
                  <a:lnTo>
                    <a:pt x="773" y="1102"/>
                  </a:lnTo>
                  <a:lnTo>
                    <a:pt x="775" y="1101"/>
                  </a:lnTo>
                  <a:lnTo>
                    <a:pt x="775" y="1101"/>
                  </a:lnTo>
                  <a:lnTo>
                    <a:pt x="777" y="1101"/>
                  </a:lnTo>
                  <a:lnTo>
                    <a:pt x="779" y="1102"/>
                  </a:lnTo>
                  <a:lnTo>
                    <a:pt x="782" y="1106"/>
                  </a:lnTo>
                  <a:lnTo>
                    <a:pt x="782" y="1106"/>
                  </a:lnTo>
                  <a:lnTo>
                    <a:pt x="783" y="1108"/>
                  </a:lnTo>
                  <a:lnTo>
                    <a:pt x="785" y="1108"/>
                  </a:lnTo>
                  <a:lnTo>
                    <a:pt x="785" y="1108"/>
                  </a:lnTo>
                  <a:lnTo>
                    <a:pt x="785" y="1114"/>
                  </a:lnTo>
                  <a:lnTo>
                    <a:pt x="785" y="1114"/>
                  </a:lnTo>
                  <a:lnTo>
                    <a:pt x="786" y="1114"/>
                  </a:lnTo>
                  <a:lnTo>
                    <a:pt x="788" y="1112"/>
                  </a:lnTo>
                  <a:lnTo>
                    <a:pt x="788" y="1112"/>
                  </a:lnTo>
                  <a:lnTo>
                    <a:pt x="788" y="1111"/>
                  </a:lnTo>
                  <a:lnTo>
                    <a:pt x="788" y="1111"/>
                  </a:lnTo>
                  <a:lnTo>
                    <a:pt x="789" y="1111"/>
                  </a:lnTo>
                  <a:lnTo>
                    <a:pt x="789" y="1111"/>
                  </a:lnTo>
                  <a:lnTo>
                    <a:pt x="790" y="1108"/>
                  </a:lnTo>
                  <a:lnTo>
                    <a:pt x="789" y="1105"/>
                  </a:lnTo>
                  <a:lnTo>
                    <a:pt x="786" y="1101"/>
                  </a:lnTo>
                  <a:lnTo>
                    <a:pt x="786" y="1101"/>
                  </a:lnTo>
                  <a:lnTo>
                    <a:pt x="786" y="1096"/>
                  </a:lnTo>
                  <a:lnTo>
                    <a:pt x="786" y="1096"/>
                  </a:lnTo>
                  <a:lnTo>
                    <a:pt x="785" y="1094"/>
                  </a:lnTo>
                  <a:lnTo>
                    <a:pt x="783" y="1092"/>
                  </a:lnTo>
                  <a:lnTo>
                    <a:pt x="783" y="1092"/>
                  </a:lnTo>
                  <a:lnTo>
                    <a:pt x="782" y="1086"/>
                  </a:lnTo>
                  <a:lnTo>
                    <a:pt x="782" y="1084"/>
                  </a:lnTo>
                  <a:lnTo>
                    <a:pt x="782" y="1082"/>
                  </a:lnTo>
                  <a:lnTo>
                    <a:pt x="782" y="1082"/>
                  </a:lnTo>
                  <a:lnTo>
                    <a:pt x="785" y="1081"/>
                  </a:lnTo>
                  <a:lnTo>
                    <a:pt x="786" y="1082"/>
                  </a:lnTo>
                  <a:lnTo>
                    <a:pt x="790" y="1084"/>
                  </a:lnTo>
                  <a:lnTo>
                    <a:pt x="790" y="1084"/>
                  </a:lnTo>
                  <a:lnTo>
                    <a:pt x="793" y="1084"/>
                  </a:lnTo>
                  <a:lnTo>
                    <a:pt x="795" y="1082"/>
                  </a:lnTo>
                  <a:lnTo>
                    <a:pt x="795" y="1078"/>
                  </a:lnTo>
                  <a:lnTo>
                    <a:pt x="795" y="1078"/>
                  </a:lnTo>
                  <a:lnTo>
                    <a:pt x="796" y="1075"/>
                  </a:lnTo>
                  <a:lnTo>
                    <a:pt x="796" y="1074"/>
                  </a:lnTo>
                  <a:lnTo>
                    <a:pt x="795" y="1072"/>
                  </a:lnTo>
                  <a:lnTo>
                    <a:pt x="795" y="1072"/>
                  </a:lnTo>
                  <a:lnTo>
                    <a:pt x="792" y="1071"/>
                  </a:lnTo>
                  <a:lnTo>
                    <a:pt x="788" y="1069"/>
                  </a:lnTo>
                  <a:lnTo>
                    <a:pt x="788" y="1069"/>
                  </a:lnTo>
                  <a:lnTo>
                    <a:pt x="786" y="1066"/>
                  </a:lnTo>
                  <a:lnTo>
                    <a:pt x="786" y="1066"/>
                  </a:lnTo>
                  <a:lnTo>
                    <a:pt x="783" y="1065"/>
                  </a:lnTo>
                  <a:lnTo>
                    <a:pt x="782" y="1065"/>
                  </a:lnTo>
                  <a:lnTo>
                    <a:pt x="782" y="1065"/>
                  </a:lnTo>
                  <a:lnTo>
                    <a:pt x="779" y="1061"/>
                  </a:lnTo>
                  <a:lnTo>
                    <a:pt x="777" y="1059"/>
                  </a:lnTo>
                  <a:lnTo>
                    <a:pt x="776" y="1059"/>
                  </a:lnTo>
                  <a:lnTo>
                    <a:pt x="776" y="1059"/>
                  </a:lnTo>
                  <a:lnTo>
                    <a:pt x="766" y="1058"/>
                  </a:lnTo>
                  <a:lnTo>
                    <a:pt x="762" y="1056"/>
                  </a:lnTo>
                  <a:lnTo>
                    <a:pt x="759" y="1052"/>
                  </a:lnTo>
                  <a:lnTo>
                    <a:pt x="757" y="1052"/>
                  </a:lnTo>
                  <a:lnTo>
                    <a:pt x="763" y="1051"/>
                  </a:lnTo>
                  <a:lnTo>
                    <a:pt x="769" y="1049"/>
                  </a:lnTo>
                  <a:lnTo>
                    <a:pt x="772" y="1052"/>
                  </a:lnTo>
                  <a:lnTo>
                    <a:pt x="775" y="1055"/>
                  </a:lnTo>
                  <a:lnTo>
                    <a:pt x="779" y="1061"/>
                  </a:lnTo>
                  <a:lnTo>
                    <a:pt x="779" y="1061"/>
                  </a:lnTo>
                  <a:lnTo>
                    <a:pt x="782" y="1062"/>
                  </a:lnTo>
                  <a:lnTo>
                    <a:pt x="782" y="1062"/>
                  </a:lnTo>
                  <a:lnTo>
                    <a:pt x="788" y="1064"/>
                  </a:lnTo>
                  <a:lnTo>
                    <a:pt x="788" y="1064"/>
                  </a:lnTo>
                  <a:lnTo>
                    <a:pt x="792" y="1065"/>
                  </a:lnTo>
                  <a:lnTo>
                    <a:pt x="798" y="1068"/>
                  </a:lnTo>
                  <a:lnTo>
                    <a:pt x="810" y="1069"/>
                  </a:lnTo>
                  <a:lnTo>
                    <a:pt x="808" y="1065"/>
                  </a:lnTo>
                  <a:lnTo>
                    <a:pt x="805" y="1059"/>
                  </a:lnTo>
                  <a:lnTo>
                    <a:pt x="806" y="1054"/>
                  </a:lnTo>
                  <a:lnTo>
                    <a:pt x="806" y="1054"/>
                  </a:lnTo>
                  <a:lnTo>
                    <a:pt x="808" y="1045"/>
                  </a:lnTo>
                  <a:lnTo>
                    <a:pt x="808" y="1045"/>
                  </a:lnTo>
                  <a:lnTo>
                    <a:pt x="806" y="1041"/>
                  </a:lnTo>
                  <a:lnTo>
                    <a:pt x="806" y="1041"/>
                  </a:lnTo>
                  <a:lnTo>
                    <a:pt x="802" y="1041"/>
                  </a:lnTo>
                  <a:lnTo>
                    <a:pt x="802" y="1041"/>
                  </a:lnTo>
                  <a:lnTo>
                    <a:pt x="799" y="1042"/>
                  </a:lnTo>
                  <a:lnTo>
                    <a:pt x="798" y="1046"/>
                  </a:lnTo>
                  <a:lnTo>
                    <a:pt x="793" y="1048"/>
                  </a:lnTo>
                  <a:lnTo>
                    <a:pt x="788" y="1044"/>
                  </a:lnTo>
                  <a:lnTo>
                    <a:pt x="783" y="1034"/>
                  </a:lnTo>
                  <a:lnTo>
                    <a:pt x="783" y="1029"/>
                  </a:lnTo>
                  <a:lnTo>
                    <a:pt x="782" y="1024"/>
                  </a:lnTo>
                  <a:lnTo>
                    <a:pt x="779" y="1019"/>
                  </a:lnTo>
                  <a:lnTo>
                    <a:pt x="777" y="1015"/>
                  </a:lnTo>
                  <a:lnTo>
                    <a:pt x="777" y="1008"/>
                  </a:lnTo>
                  <a:lnTo>
                    <a:pt x="773" y="1002"/>
                  </a:lnTo>
                  <a:lnTo>
                    <a:pt x="772" y="996"/>
                  </a:lnTo>
                  <a:lnTo>
                    <a:pt x="772" y="989"/>
                  </a:lnTo>
                  <a:lnTo>
                    <a:pt x="773" y="988"/>
                  </a:lnTo>
                  <a:lnTo>
                    <a:pt x="777" y="988"/>
                  </a:lnTo>
                  <a:lnTo>
                    <a:pt x="782" y="995"/>
                  </a:lnTo>
                  <a:lnTo>
                    <a:pt x="785" y="999"/>
                  </a:lnTo>
                  <a:lnTo>
                    <a:pt x="789" y="999"/>
                  </a:lnTo>
                  <a:lnTo>
                    <a:pt x="793" y="998"/>
                  </a:lnTo>
                  <a:lnTo>
                    <a:pt x="795" y="991"/>
                  </a:lnTo>
                  <a:lnTo>
                    <a:pt x="796" y="984"/>
                  </a:lnTo>
                  <a:lnTo>
                    <a:pt x="800" y="982"/>
                  </a:lnTo>
                  <a:lnTo>
                    <a:pt x="803" y="979"/>
                  </a:lnTo>
                  <a:lnTo>
                    <a:pt x="806" y="978"/>
                  </a:lnTo>
                  <a:lnTo>
                    <a:pt x="809" y="978"/>
                  </a:lnTo>
                  <a:lnTo>
                    <a:pt x="815" y="975"/>
                  </a:lnTo>
                  <a:lnTo>
                    <a:pt x="822" y="976"/>
                  </a:lnTo>
                  <a:lnTo>
                    <a:pt x="829" y="975"/>
                  </a:lnTo>
                  <a:lnTo>
                    <a:pt x="836" y="975"/>
                  </a:lnTo>
                  <a:lnTo>
                    <a:pt x="839" y="976"/>
                  </a:lnTo>
                  <a:lnTo>
                    <a:pt x="842" y="979"/>
                  </a:lnTo>
                  <a:lnTo>
                    <a:pt x="846" y="979"/>
                  </a:lnTo>
                  <a:lnTo>
                    <a:pt x="848" y="979"/>
                  </a:lnTo>
                  <a:lnTo>
                    <a:pt x="852" y="982"/>
                  </a:lnTo>
                  <a:lnTo>
                    <a:pt x="856" y="984"/>
                  </a:lnTo>
                  <a:lnTo>
                    <a:pt x="859" y="984"/>
                  </a:lnTo>
                  <a:lnTo>
                    <a:pt x="866" y="985"/>
                  </a:lnTo>
                  <a:lnTo>
                    <a:pt x="870" y="986"/>
                  </a:lnTo>
                  <a:lnTo>
                    <a:pt x="878" y="986"/>
                  </a:lnTo>
                  <a:lnTo>
                    <a:pt x="880" y="984"/>
                  </a:lnTo>
                  <a:lnTo>
                    <a:pt x="886" y="975"/>
                  </a:lnTo>
                  <a:lnTo>
                    <a:pt x="893" y="975"/>
                  </a:lnTo>
                  <a:lnTo>
                    <a:pt x="900" y="974"/>
                  </a:lnTo>
                  <a:lnTo>
                    <a:pt x="905" y="974"/>
                  </a:lnTo>
                  <a:lnTo>
                    <a:pt x="912" y="975"/>
                  </a:lnTo>
                  <a:lnTo>
                    <a:pt x="918" y="976"/>
                  </a:lnTo>
                  <a:lnTo>
                    <a:pt x="922" y="978"/>
                  </a:lnTo>
                  <a:lnTo>
                    <a:pt x="922" y="976"/>
                  </a:lnTo>
                  <a:lnTo>
                    <a:pt x="925" y="979"/>
                  </a:lnTo>
                  <a:lnTo>
                    <a:pt x="926" y="982"/>
                  </a:lnTo>
                  <a:lnTo>
                    <a:pt x="919" y="989"/>
                  </a:lnTo>
                  <a:lnTo>
                    <a:pt x="918" y="992"/>
                  </a:lnTo>
                  <a:lnTo>
                    <a:pt x="910" y="992"/>
                  </a:lnTo>
                  <a:lnTo>
                    <a:pt x="900" y="992"/>
                  </a:lnTo>
                  <a:lnTo>
                    <a:pt x="895" y="994"/>
                  </a:lnTo>
                  <a:lnTo>
                    <a:pt x="885" y="992"/>
                  </a:lnTo>
                  <a:lnTo>
                    <a:pt x="868" y="989"/>
                  </a:lnTo>
                  <a:lnTo>
                    <a:pt x="868" y="989"/>
                  </a:lnTo>
                  <a:lnTo>
                    <a:pt x="865" y="996"/>
                  </a:lnTo>
                  <a:lnTo>
                    <a:pt x="863" y="999"/>
                  </a:lnTo>
                  <a:lnTo>
                    <a:pt x="859" y="1004"/>
                  </a:lnTo>
                  <a:lnTo>
                    <a:pt x="859" y="1011"/>
                  </a:lnTo>
                  <a:lnTo>
                    <a:pt x="859" y="1016"/>
                  </a:lnTo>
                  <a:lnTo>
                    <a:pt x="860" y="1018"/>
                  </a:lnTo>
                  <a:lnTo>
                    <a:pt x="870" y="1016"/>
                  </a:lnTo>
                  <a:lnTo>
                    <a:pt x="872" y="1016"/>
                  </a:lnTo>
                  <a:lnTo>
                    <a:pt x="870" y="1025"/>
                  </a:lnTo>
                  <a:lnTo>
                    <a:pt x="870" y="1029"/>
                  </a:lnTo>
                  <a:lnTo>
                    <a:pt x="873" y="1036"/>
                  </a:lnTo>
                  <a:lnTo>
                    <a:pt x="875" y="1056"/>
                  </a:lnTo>
                  <a:lnTo>
                    <a:pt x="876" y="1059"/>
                  </a:lnTo>
                  <a:lnTo>
                    <a:pt x="883" y="1062"/>
                  </a:lnTo>
                  <a:lnTo>
                    <a:pt x="885" y="1065"/>
                  </a:lnTo>
                  <a:lnTo>
                    <a:pt x="883" y="1075"/>
                  </a:lnTo>
                  <a:lnTo>
                    <a:pt x="883" y="1078"/>
                  </a:lnTo>
                  <a:lnTo>
                    <a:pt x="888" y="1081"/>
                  </a:lnTo>
                  <a:lnTo>
                    <a:pt x="892" y="1082"/>
                  </a:lnTo>
                  <a:lnTo>
                    <a:pt x="892" y="1086"/>
                  </a:lnTo>
                  <a:lnTo>
                    <a:pt x="892" y="1086"/>
                  </a:lnTo>
                  <a:lnTo>
                    <a:pt x="893" y="1091"/>
                  </a:lnTo>
                  <a:lnTo>
                    <a:pt x="893" y="1091"/>
                  </a:lnTo>
                  <a:lnTo>
                    <a:pt x="896" y="1094"/>
                  </a:lnTo>
                  <a:lnTo>
                    <a:pt x="899" y="1092"/>
                  </a:lnTo>
                  <a:lnTo>
                    <a:pt x="912" y="1091"/>
                  </a:lnTo>
                  <a:lnTo>
                    <a:pt x="913" y="1094"/>
                  </a:lnTo>
                  <a:lnTo>
                    <a:pt x="913" y="1094"/>
                  </a:lnTo>
                  <a:lnTo>
                    <a:pt x="919" y="1098"/>
                  </a:lnTo>
                  <a:lnTo>
                    <a:pt x="919" y="1098"/>
                  </a:lnTo>
                  <a:lnTo>
                    <a:pt x="920" y="1099"/>
                  </a:lnTo>
                  <a:lnTo>
                    <a:pt x="920" y="1101"/>
                  </a:lnTo>
                  <a:lnTo>
                    <a:pt x="929" y="1101"/>
                  </a:lnTo>
                  <a:lnTo>
                    <a:pt x="929" y="1101"/>
                  </a:lnTo>
                  <a:lnTo>
                    <a:pt x="932" y="1105"/>
                  </a:lnTo>
                  <a:lnTo>
                    <a:pt x="932" y="1105"/>
                  </a:lnTo>
                  <a:lnTo>
                    <a:pt x="935" y="1111"/>
                  </a:lnTo>
                  <a:lnTo>
                    <a:pt x="935" y="1111"/>
                  </a:lnTo>
                  <a:lnTo>
                    <a:pt x="940" y="1117"/>
                  </a:lnTo>
                  <a:lnTo>
                    <a:pt x="943" y="1118"/>
                  </a:lnTo>
                  <a:lnTo>
                    <a:pt x="950" y="1117"/>
                  </a:lnTo>
                  <a:lnTo>
                    <a:pt x="962" y="1115"/>
                  </a:lnTo>
                  <a:lnTo>
                    <a:pt x="965" y="1114"/>
                  </a:lnTo>
                  <a:lnTo>
                    <a:pt x="966" y="1106"/>
                  </a:lnTo>
                  <a:lnTo>
                    <a:pt x="969" y="1096"/>
                  </a:lnTo>
                  <a:lnTo>
                    <a:pt x="970" y="1096"/>
                  </a:lnTo>
                  <a:lnTo>
                    <a:pt x="982" y="1094"/>
                  </a:lnTo>
                  <a:lnTo>
                    <a:pt x="985" y="1095"/>
                  </a:lnTo>
                  <a:lnTo>
                    <a:pt x="990" y="1099"/>
                  </a:lnTo>
                  <a:lnTo>
                    <a:pt x="1000" y="1105"/>
                  </a:lnTo>
                  <a:lnTo>
                    <a:pt x="1006" y="1109"/>
                  </a:lnTo>
                  <a:lnTo>
                    <a:pt x="1012" y="1114"/>
                  </a:lnTo>
                  <a:lnTo>
                    <a:pt x="1015" y="1118"/>
                  </a:lnTo>
                  <a:lnTo>
                    <a:pt x="1018" y="1121"/>
                  </a:lnTo>
                  <a:lnTo>
                    <a:pt x="1028" y="1121"/>
                  </a:lnTo>
                  <a:lnTo>
                    <a:pt x="1033" y="1119"/>
                  </a:lnTo>
                  <a:lnTo>
                    <a:pt x="1042" y="1117"/>
                  </a:lnTo>
                  <a:lnTo>
                    <a:pt x="1050" y="1114"/>
                  </a:lnTo>
                  <a:lnTo>
                    <a:pt x="1060" y="1105"/>
                  </a:lnTo>
                  <a:lnTo>
                    <a:pt x="1065" y="1099"/>
                  </a:lnTo>
                  <a:lnTo>
                    <a:pt x="1066" y="1096"/>
                  </a:lnTo>
                  <a:lnTo>
                    <a:pt x="1069" y="1096"/>
                  </a:lnTo>
                  <a:lnTo>
                    <a:pt x="1082" y="1102"/>
                  </a:lnTo>
                  <a:lnTo>
                    <a:pt x="1086" y="1104"/>
                  </a:lnTo>
                  <a:lnTo>
                    <a:pt x="1090" y="1102"/>
                  </a:lnTo>
                  <a:lnTo>
                    <a:pt x="1090" y="1102"/>
                  </a:lnTo>
                  <a:lnTo>
                    <a:pt x="1098" y="1095"/>
                  </a:lnTo>
                  <a:lnTo>
                    <a:pt x="1098" y="1095"/>
                  </a:lnTo>
                  <a:lnTo>
                    <a:pt x="1100" y="1092"/>
                  </a:lnTo>
                  <a:lnTo>
                    <a:pt x="1102" y="1095"/>
                  </a:lnTo>
                  <a:lnTo>
                    <a:pt x="1102" y="1095"/>
                  </a:lnTo>
                  <a:lnTo>
                    <a:pt x="1103" y="1101"/>
                  </a:lnTo>
                  <a:lnTo>
                    <a:pt x="1103" y="1101"/>
                  </a:lnTo>
                  <a:lnTo>
                    <a:pt x="1102" y="1104"/>
                  </a:lnTo>
                  <a:lnTo>
                    <a:pt x="1102" y="1104"/>
                  </a:lnTo>
                  <a:lnTo>
                    <a:pt x="1099" y="1108"/>
                  </a:lnTo>
                  <a:lnTo>
                    <a:pt x="1099" y="1108"/>
                  </a:lnTo>
                  <a:lnTo>
                    <a:pt x="1096" y="1112"/>
                  </a:lnTo>
                  <a:lnTo>
                    <a:pt x="1096" y="1112"/>
                  </a:lnTo>
                  <a:lnTo>
                    <a:pt x="1098" y="1115"/>
                  </a:lnTo>
                  <a:lnTo>
                    <a:pt x="1098" y="1115"/>
                  </a:lnTo>
                  <a:lnTo>
                    <a:pt x="1100" y="1115"/>
                  </a:lnTo>
                  <a:lnTo>
                    <a:pt x="1100" y="1115"/>
                  </a:lnTo>
                  <a:lnTo>
                    <a:pt x="1103" y="1118"/>
                  </a:lnTo>
                  <a:lnTo>
                    <a:pt x="1102" y="1121"/>
                  </a:lnTo>
                  <a:lnTo>
                    <a:pt x="1103" y="1121"/>
                  </a:lnTo>
                  <a:lnTo>
                    <a:pt x="1103" y="1121"/>
                  </a:lnTo>
                  <a:lnTo>
                    <a:pt x="1100" y="1122"/>
                  </a:lnTo>
                  <a:lnTo>
                    <a:pt x="1098" y="1125"/>
                  </a:lnTo>
                  <a:lnTo>
                    <a:pt x="1099" y="1134"/>
                  </a:lnTo>
                  <a:lnTo>
                    <a:pt x="1099" y="1141"/>
                  </a:lnTo>
                  <a:lnTo>
                    <a:pt x="1099" y="1148"/>
                  </a:lnTo>
                  <a:lnTo>
                    <a:pt x="1100" y="1158"/>
                  </a:lnTo>
                  <a:lnTo>
                    <a:pt x="1105" y="1161"/>
                  </a:lnTo>
                  <a:lnTo>
                    <a:pt x="1108" y="1162"/>
                  </a:lnTo>
                  <a:lnTo>
                    <a:pt x="1108" y="1162"/>
                  </a:lnTo>
                  <a:lnTo>
                    <a:pt x="1106" y="1162"/>
                  </a:lnTo>
                  <a:lnTo>
                    <a:pt x="1106" y="1162"/>
                  </a:lnTo>
                  <a:lnTo>
                    <a:pt x="1103" y="1164"/>
                  </a:lnTo>
                  <a:lnTo>
                    <a:pt x="1102" y="1165"/>
                  </a:lnTo>
                  <a:lnTo>
                    <a:pt x="1100" y="1169"/>
                  </a:lnTo>
                  <a:lnTo>
                    <a:pt x="1100" y="1172"/>
                  </a:lnTo>
                  <a:lnTo>
                    <a:pt x="1100" y="1172"/>
                  </a:lnTo>
                  <a:lnTo>
                    <a:pt x="1098" y="1177"/>
                  </a:lnTo>
                  <a:lnTo>
                    <a:pt x="1095" y="1179"/>
                  </a:lnTo>
                  <a:lnTo>
                    <a:pt x="1092" y="1182"/>
                  </a:lnTo>
                  <a:lnTo>
                    <a:pt x="1090" y="1185"/>
                  </a:lnTo>
                  <a:lnTo>
                    <a:pt x="1090" y="1185"/>
                  </a:lnTo>
                  <a:lnTo>
                    <a:pt x="1089" y="1192"/>
                  </a:lnTo>
                  <a:lnTo>
                    <a:pt x="1088" y="1198"/>
                  </a:lnTo>
                  <a:lnTo>
                    <a:pt x="1088" y="1198"/>
                  </a:lnTo>
                  <a:lnTo>
                    <a:pt x="1083" y="1214"/>
                  </a:lnTo>
                  <a:lnTo>
                    <a:pt x="1083" y="1214"/>
                  </a:lnTo>
                  <a:lnTo>
                    <a:pt x="1082" y="1221"/>
                  </a:lnTo>
                  <a:lnTo>
                    <a:pt x="1082" y="1228"/>
                  </a:lnTo>
                  <a:lnTo>
                    <a:pt x="1082" y="1235"/>
                  </a:lnTo>
                  <a:lnTo>
                    <a:pt x="1080" y="1241"/>
                  </a:lnTo>
                  <a:lnTo>
                    <a:pt x="1080" y="1241"/>
                  </a:lnTo>
                  <a:lnTo>
                    <a:pt x="1076" y="1251"/>
                  </a:lnTo>
                  <a:lnTo>
                    <a:pt x="1076" y="1251"/>
                  </a:lnTo>
                  <a:lnTo>
                    <a:pt x="1072" y="1257"/>
                  </a:lnTo>
                  <a:lnTo>
                    <a:pt x="1072" y="1257"/>
                  </a:lnTo>
                  <a:lnTo>
                    <a:pt x="1070" y="1259"/>
                  </a:lnTo>
                  <a:lnTo>
                    <a:pt x="1070" y="1264"/>
                  </a:lnTo>
                  <a:lnTo>
                    <a:pt x="1073" y="1271"/>
                  </a:lnTo>
                  <a:lnTo>
                    <a:pt x="1073" y="1271"/>
                  </a:lnTo>
                  <a:lnTo>
                    <a:pt x="1078" y="1275"/>
                  </a:lnTo>
                  <a:lnTo>
                    <a:pt x="1082" y="1281"/>
                  </a:lnTo>
                  <a:lnTo>
                    <a:pt x="1082" y="1281"/>
                  </a:lnTo>
                  <a:lnTo>
                    <a:pt x="1083" y="1287"/>
                  </a:lnTo>
                  <a:lnTo>
                    <a:pt x="1086" y="1294"/>
                  </a:lnTo>
                  <a:lnTo>
                    <a:pt x="1086" y="1294"/>
                  </a:lnTo>
                  <a:lnTo>
                    <a:pt x="1089" y="1304"/>
                  </a:lnTo>
                  <a:lnTo>
                    <a:pt x="1092" y="1314"/>
                  </a:lnTo>
                  <a:lnTo>
                    <a:pt x="1092" y="1315"/>
                  </a:lnTo>
                  <a:lnTo>
                    <a:pt x="1086" y="1352"/>
                  </a:lnTo>
                  <a:lnTo>
                    <a:pt x="1086" y="1352"/>
                  </a:lnTo>
                  <a:lnTo>
                    <a:pt x="1092" y="1354"/>
                  </a:lnTo>
                  <a:lnTo>
                    <a:pt x="1098" y="1355"/>
                  </a:lnTo>
                  <a:lnTo>
                    <a:pt x="1103" y="1360"/>
                  </a:lnTo>
                  <a:lnTo>
                    <a:pt x="1115" y="1375"/>
                  </a:lnTo>
                  <a:lnTo>
                    <a:pt x="1122" y="1390"/>
                  </a:lnTo>
                  <a:lnTo>
                    <a:pt x="1130" y="1402"/>
                  </a:lnTo>
                  <a:lnTo>
                    <a:pt x="1133" y="1408"/>
                  </a:lnTo>
                  <a:lnTo>
                    <a:pt x="1138" y="1415"/>
                  </a:lnTo>
                  <a:lnTo>
                    <a:pt x="1142" y="1424"/>
                  </a:lnTo>
                  <a:lnTo>
                    <a:pt x="1148" y="1431"/>
                  </a:lnTo>
                  <a:lnTo>
                    <a:pt x="1153" y="1440"/>
                  </a:lnTo>
                  <a:lnTo>
                    <a:pt x="1156" y="1444"/>
                  </a:lnTo>
                  <a:lnTo>
                    <a:pt x="1156" y="1450"/>
                  </a:lnTo>
                  <a:lnTo>
                    <a:pt x="1156" y="1455"/>
                  </a:lnTo>
                  <a:lnTo>
                    <a:pt x="1161" y="1463"/>
                  </a:lnTo>
                  <a:lnTo>
                    <a:pt x="1173" y="1468"/>
                  </a:lnTo>
                  <a:lnTo>
                    <a:pt x="1183" y="1478"/>
                  </a:lnTo>
                  <a:lnTo>
                    <a:pt x="1196" y="1493"/>
                  </a:lnTo>
                  <a:lnTo>
                    <a:pt x="1196" y="1495"/>
                  </a:lnTo>
                  <a:lnTo>
                    <a:pt x="1193" y="1503"/>
                  </a:lnTo>
                  <a:lnTo>
                    <a:pt x="1195" y="1507"/>
                  </a:lnTo>
                  <a:lnTo>
                    <a:pt x="1196" y="1507"/>
                  </a:lnTo>
                  <a:lnTo>
                    <a:pt x="1201" y="1508"/>
                  </a:lnTo>
                  <a:lnTo>
                    <a:pt x="1205" y="1513"/>
                  </a:lnTo>
                  <a:lnTo>
                    <a:pt x="1209" y="1533"/>
                  </a:lnTo>
                  <a:lnTo>
                    <a:pt x="1209" y="1545"/>
                  </a:lnTo>
                  <a:lnTo>
                    <a:pt x="1208" y="1557"/>
                  </a:lnTo>
                  <a:lnTo>
                    <a:pt x="1208" y="1558"/>
                  </a:lnTo>
                  <a:lnTo>
                    <a:pt x="1221" y="1571"/>
                  </a:lnTo>
                  <a:lnTo>
                    <a:pt x="1223" y="1575"/>
                  </a:lnTo>
                  <a:lnTo>
                    <a:pt x="1223" y="1581"/>
                  </a:lnTo>
                  <a:lnTo>
                    <a:pt x="1226" y="1584"/>
                  </a:lnTo>
                  <a:lnTo>
                    <a:pt x="1235" y="1585"/>
                  </a:lnTo>
                  <a:lnTo>
                    <a:pt x="1241" y="1587"/>
                  </a:lnTo>
                  <a:lnTo>
                    <a:pt x="1243" y="1591"/>
                  </a:lnTo>
                  <a:lnTo>
                    <a:pt x="1255" y="1600"/>
                  </a:lnTo>
                  <a:lnTo>
                    <a:pt x="1258" y="1607"/>
                  </a:lnTo>
                  <a:lnTo>
                    <a:pt x="1262" y="1616"/>
                  </a:lnTo>
                  <a:lnTo>
                    <a:pt x="1265" y="1620"/>
                  </a:lnTo>
                  <a:lnTo>
                    <a:pt x="1266" y="1628"/>
                  </a:lnTo>
                  <a:lnTo>
                    <a:pt x="1272" y="1636"/>
                  </a:lnTo>
                  <a:lnTo>
                    <a:pt x="1273" y="1640"/>
                  </a:lnTo>
                  <a:lnTo>
                    <a:pt x="1275" y="1647"/>
                  </a:lnTo>
                  <a:lnTo>
                    <a:pt x="1279" y="1653"/>
                  </a:lnTo>
                  <a:lnTo>
                    <a:pt x="1296" y="1664"/>
                  </a:lnTo>
                  <a:lnTo>
                    <a:pt x="1296" y="1670"/>
                  </a:lnTo>
                  <a:lnTo>
                    <a:pt x="1298" y="1676"/>
                  </a:lnTo>
                  <a:lnTo>
                    <a:pt x="1298" y="1678"/>
                  </a:lnTo>
                  <a:lnTo>
                    <a:pt x="1303" y="1684"/>
                  </a:lnTo>
                  <a:lnTo>
                    <a:pt x="1306" y="1688"/>
                  </a:lnTo>
                  <a:lnTo>
                    <a:pt x="1306" y="1688"/>
                  </a:lnTo>
                  <a:lnTo>
                    <a:pt x="1308" y="1691"/>
                  </a:lnTo>
                  <a:lnTo>
                    <a:pt x="1308" y="1691"/>
                  </a:lnTo>
                  <a:lnTo>
                    <a:pt x="1311" y="1700"/>
                  </a:lnTo>
                  <a:lnTo>
                    <a:pt x="1312" y="1698"/>
                  </a:lnTo>
                  <a:lnTo>
                    <a:pt x="1311" y="1701"/>
                  </a:lnTo>
                  <a:lnTo>
                    <a:pt x="1309" y="1708"/>
                  </a:lnTo>
                  <a:lnTo>
                    <a:pt x="1308" y="1713"/>
                  </a:lnTo>
                  <a:lnTo>
                    <a:pt x="1309" y="1720"/>
                  </a:lnTo>
                  <a:lnTo>
                    <a:pt x="1311" y="1734"/>
                  </a:lnTo>
                  <a:lnTo>
                    <a:pt x="1312" y="1738"/>
                  </a:lnTo>
                  <a:lnTo>
                    <a:pt x="1316" y="1747"/>
                  </a:lnTo>
                  <a:lnTo>
                    <a:pt x="1318" y="1754"/>
                  </a:lnTo>
                  <a:lnTo>
                    <a:pt x="1318" y="1766"/>
                  </a:lnTo>
                  <a:lnTo>
                    <a:pt x="1322" y="1770"/>
                  </a:lnTo>
                  <a:lnTo>
                    <a:pt x="1325" y="1771"/>
                  </a:lnTo>
                  <a:lnTo>
                    <a:pt x="1325" y="1777"/>
                  </a:lnTo>
                  <a:lnTo>
                    <a:pt x="1323" y="1786"/>
                  </a:lnTo>
                  <a:lnTo>
                    <a:pt x="1323" y="1789"/>
                  </a:lnTo>
                  <a:lnTo>
                    <a:pt x="1325" y="1793"/>
                  </a:lnTo>
                  <a:lnTo>
                    <a:pt x="1326" y="1799"/>
                  </a:lnTo>
                  <a:lnTo>
                    <a:pt x="1328" y="1803"/>
                  </a:lnTo>
                  <a:lnTo>
                    <a:pt x="1331" y="1807"/>
                  </a:lnTo>
                  <a:lnTo>
                    <a:pt x="1338" y="1806"/>
                  </a:lnTo>
                  <a:lnTo>
                    <a:pt x="1343" y="1807"/>
                  </a:lnTo>
                  <a:lnTo>
                    <a:pt x="1348" y="1807"/>
                  </a:lnTo>
                  <a:lnTo>
                    <a:pt x="1355" y="1804"/>
                  </a:lnTo>
                  <a:lnTo>
                    <a:pt x="1362" y="1801"/>
                  </a:lnTo>
                  <a:lnTo>
                    <a:pt x="1368" y="1803"/>
                  </a:lnTo>
                  <a:lnTo>
                    <a:pt x="1371" y="1803"/>
                  </a:lnTo>
                  <a:lnTo>
                    <a:pt x="1373" y="1799"/>
                  </a:lnTo>
                  <a:lnTo>
                    <a:pt x="1376" y="1794"/>
                  </a:lnTo>
                  <a:lnTo>
                    <a:pt x="1389" y="1784"/>
                  </a:lnTo>
                  <a:lnTo>
                    <a:pt x="1392" y="1783"/>
                  </a:lnTo>
                  <a:lnTo>
                    <a:pt x="1408" y="1784"/>
                  </a:lnTo>
                  <a:lnTo>
                    <a:pt x="1413" y="1784"/>
                  </a:lnTo>
                  <a:lnTo>
                    <a:pt x="1418" y="1783"/>
                  </a:lnTo>
                  <a:lnTo>
                    <a:pt x="1429" y="1776"/>
                  </a:lnTo>
                  <a:lnTo>
                    <a:pt x="1436" y="1771"/>
                  </a:lnTo>
                  <a:lnTo>
                    <a:pt x="1441" y="1764"/>
                  </a:lnTo>
                  <a:lnTo>
                    <a:pt x="1446" y="1766"/>
                  </a:lnTo>
                  <a:lnTo>
                    <a:pt x="1453" y="1767"/>
                  </a:lnTo>
                  <a:lnTo>
                    <a:pt x="1462" y="1764"/>
                  </a:lnTo>
                  <a:lnTo>
                    <a:pt x="1466" y="1761"/>
                  </a:lnTo>
                  <a:lnTo>
                    <a:pt x="1472" y="1754"/>
                  </a:lnTo>
                  <a:lnTo>
                    <a:pt x="1472" y="1754"/>
                  </a:lnTo>
                  <a:lnTo>
                    <a:pt x="1476" y="1748"/>
                  </a:lnTo>
                  <a:lnTo>
                    <a:pt x="1476" y="1748"/>
                  </a:lnTo>
                  <a:lnTo>
                    <a:pt x="1488" y="1744"/>
                  </a:lnTo>
                  <a:lnTo>
                    <a:pt x="1495" y="1743"/>
                  </a:lnTo>
                  <a:lnTo>
                    <a:pt x="1495" y="1743"/>
                  </a:lnTo>
                  <a:lnTo>
                    <a:pt x="1499" y="1741"/>
                  </a:lnTo>
                  <a:lnTo>
                    <a:pt x="1499" y="1741"/>
                  </a:lnTo>
                  <a:lnTo>
                    <a:pt x="1502" y="1740"/>
                  </a:lnTo>
                  <a:lnTo>
                    <a:pt x="1502" y="1740"/>
                  </a:lnTo>
                  <a:lnTo>
                    <a:pt x="1506" y="1737"/>
                  </a:lnTo>
                  <a:lnTo>
                    <a:pt x="1506" y="1737"/>
                  </a:lnTo>
                  <a:lnTo>
                    <a:pt x="1516" y="1736"/>
                  </a:lnTo>
                  <a:lnTo>
                    <a:pt x="1526" y="1731"/>
                  </a:lnTo>
                  <a:lnTo>
                    <a:pt x="1532" y="1731"/>
                  </a:lnTo>
                  <a:lnTo>
                    <a:pt x="1545" y="1723"/>
                  </a:lnTo>
                  <a:lnTo>
                    <a:pt x="1554" y="1717"/>
                  </a:lnTo>
                  <a:lnTo>
                    <a:pt x="1555" y="1711"/>
                  </a:lnTo>
                  <a:lnTo>
                    <a:pt x="1555" y="1707"/>
                  </a:lnTo>
                  <a:lnTo>
                    <a:pt x="1554" y="1700"/>
                  </a:lnTo>
                  <a:lnTo>
                    <a:pt x="1555" y="1697"/>
                  </a:lnTo>
                  <a:lnTo>
                    <a:pt x="1562" y="1694"/>
                  </a:lnTo>
                  <a:lnTo>
                    <a:pt x="1572" y="1688"/>
                  </a:lnTo>
                  <a:lnTo>
                    <a:pt x="1584" y="1686"/>
                  </a:lnTo>
                  <a:lnTo>
                    <a:pt x="1591" y="1684"/>
                  </a:lnTo>
                  <a:lnTo>
                    <a:pt x="1599" y="1680"/>
                  </a:lnTo>
                  <a:lnTo>
                    <a:pt x="1604" y="1678"/>
                  </a:lnTo>
                  <a:lnTo>
                    <a:pt x="1616" y="1680"/>
                  </a:lnTo>
                  <a:lnTo>
                    <a:pt x="1621" y="1680"/>
                  </a:lnTo>
                  <a:lnTo>
                    <a:pt x="1624" y="1677"/>
                  </a:lnTo>
                  <a:lnTo>
                    <a:pt x="1624" y="1667"/>
                  </a:lnTo>
                  <a:lnTo>
                    <a:pt x="1625" y="1661"/>
                  </a:lnTo>
                  <a:lnTo>
                    <a:pt x="1629" y="1657"/>
                  </a:lnTo>
                  <a:lnTo>
                    <a:pt x="1644" y="1654"/>
                  </a:lnTo>
                  <a:lnTo>
                    <a:pt x="1652" y="1651"/>
                  </a:lnTo>
                  <a:lnTo>
                    <a:pt x="1656" y="1648"/>
                  </a:lnTo>
                  <a:lnTo>
                    <a:pt x="1661" y="1633"/>
                  </a:lnTo>
                  <a:lnTo>
                    <a:pt x="1664" y="1628"/>
                  </a:lnTo>
                  <a:lnTo>
                    <a:pt x="1668" y="1626"/>
                  </a:lnTo>
                  <a:lnTo>
                    <a:pt x="1684" y="1624"/>
                  </a:lnTo>
                  <a:lnTo>
                    <a:pt x="1691" y="1623"/>
                  </a:lnTo>
                  <a:lnTo>
                    <a:pt x="1692" y="1621"/>
                  </a:lnTo>
                  <a:lnTo>
                    <a:pt x="1689" y="1616"/>
                  </a:lnTo>
                  <a:lnTo>
                    <a:pt x="1684" y="1603"/>
                  </a:lnTo>
                  <a:lnTo>
                    <a:pt x="1682" y="1597"/>
                  </a:lnTo>
                  <a:lnTo>
                    <a:pt x="1685" y="1590"/>
                  </a:lnTo>
                  <a:lnTo>
                    <a:pt x="1685" y="1590"/>
                  </a:lnTo>
                  <a:lnTo>
                    <a:pt x="1689" y="1578"/>
                  </a:lnTo>
                  <a:lnTo>
                    <a:pt x="1689" y="1578"/>
                  </a:lnTo>
                  <a:lnTo>
                    <a:pt x="1691" y="1574"/>
                  </a:lnTo>
                  <a:lnTo>
                    <a:pt x="1694" y="1574"/>
                  </a:lnTo>
                  <a:lnTo>
                    <a:pt x="1702" y="1577"/>
                  </a:lnTo>
                  <a:lnTo>
                    <a:pt x="1706" y="1577"/>
                  </a:lnTo>
                  <a:lnTo>
                    <a:pt x="1708" y="1573"/>
                  </a:lnTo>
                  <a:lnTo>
                    <a:pt x="1715" y="1558"/>
                  </a:lnTo>
                  <a:lnTo>
                    <a:pt x="1722" y="1551"/>
                  </a:lnTo>
                  <a:lnTo>
                    <a:pt x="1726" y="1545"/>
                  </a:lnTo>
                  <a:lnTo>
                    <a:pt x="1728" y="1537"/>
                  </a:lnTo>
                  <a:lnTo>
                    <a:pt x="1729" y="1530"/>
                  </a:lnTo>
                  <a:lnTo>
                    <a:pt x="1734" y="1523"/>
                  </a:lnTo>
                  <a:lnTo>
                    <a:pt x="1734" y="1518"/>
                  </a:lnTo>
                  <a:lnTo>
                    <a:pt x="1728" y="1515"/>
                  </a:lnTo>
                  <a:lnTo>
                    <a:pt x="1724" y="1513"/>
                  </a:lnTo>
                  <a:lnTo>
                    <a:pt x="1718" y="1505"/>
                  </a:lnTo>
                  <a:lnTo>
                    <a:pt x="1706" y="1491"/>
                  </a:lnTo>
                  <a:lnTo>
                    <a:pt x="1702" y="1487"/>
                  </a:lnTo>
                  <a:lnTo>
                    <a:pt x="1694" y="1483"/>
                  </a:lnTo>
                  <a:lnTo>
                    <a:pt x="1686" y="1483"/>
                  </a:lnTo>
                  <a:lnTo>
                    <a:pt x="1678" y="1483"/>
                  </a:lnTo>
                  <a:lnTo>
                    <a:pt x="1672" y="1478"/>
                  </a:lnTo>
                  <a:lnTo>
                    <a:pt x="1662" y="1474"/>
                  </a:lnTo>
                  <a:lnTo>
                    <a:pt x="1658" y="1470"/>
                  </a:lnTo>
                  <a:lnTo>
                    <a:pt x="1658" y="1470"/>
                  </a:lnTo>
                  <a:lnTo>
                    <a:pt x="1652" y="1464"/>
                  </a:lnTo>
                  <a:lnTo>
                    <a:pt x="1652" y="1464"/>
                  </a:lnTo>
                  <a:lnTo>
                    <a:pt x="1646" y="1460"/>
                  </a:lnTo>
                  <a:lnTo>
                    <a:pt x="1646" y="1460"/>
                  </a:lnTo>
                  <a:lnTo>
                    <a:pt x="1645" y="1455"/>
                  </a:lnTo>
                  <a:lnTo>
                    <a:pt x="1645" y="1455"/>
                  </a:lnTo>
                  <a:lnTo>
                    <a:pt x="1641" y="1451"/>
                  </a:lnTo>
                  <a:lnTo>
                    <a:pt x="1641" y="1440"/>
                  </a:lnTo>
                  <a:lnTo>
                    <a:pt x="1636" y="1425"/>
                  </a:lnTo>
                  <a:lnTo>
                    <a:pt x="1636" y="1422"/>
                  </a:lnTo>
                  <a:lnTo>
                    <a:pt x="1639" y="1420"/>
                  </a:lnTo>
                  <a:lnTo>
                    <a:pt x="1639" y="1420"/>
                  </a:lnTo>
                  <a:lnTo>
                    <a:pt x="1641" y="1412"/>
                  </a:lnTo>
                  <a:lnTo>
                    <a:pt x="1641" y="1412"/>
                  </a:lnTo>
                  <a:lnTo>
                    <a:pt x="1638" y="1404"/>
                  </a:lnTo>
                  <a:lnTo>
                    <a:pt x="1635" y="1405"/>
                  </a:lnTo>
                  <a:lnTo>
                    <a:pt x="1629" y="1414"/>
                  </a:lnTo>
                  <a:lnTo>
                    <a:pt x="1628" y="1420"/>
                  </a:lnTo>
                  <a:lnTo>
                    <a:pt x="1632" y="1424"/>
                  </a:lnTo>
                  <a:lnTo>
                    <a:pt x="1632" y="1424"/>
                  </a:lnTo>
                  <a:lnTo>
                    <a:pt x="1626" y="1420"/>
                  </a:lnTo>
                  <a:lnTo>
                    <a:pt x="1626" y="1420"/>
                  </a:lnTo>
                  <a:lnTo>
                    <a:pt x="1625" y="1420"/>
                  </a:lnTo>
                  <a:lnTo>
                    <a:pt x="1622" y="1422"/>
                  </a:lnTo>
                  <a:lnTo>
                    <a:pt x="1618" y="1428"/>
                  </a:lnTo>
                  <a:lnTo>
                    <a:pt x="1611" y="1437"/>
                  </a:lnTo>
                  <a:lnTo>
                    <a:pt x="1611" y="1440"/>
                  </a:lnTo>
                  <a:lnTo>
                    <a:pt x="1605" y="1443"/>
                  </a:lnTo>
                  <a:lnTo>
                    <a:pt x="1601" y="1447"/>
                  </a:lnTo>
                  <a:lnTo>
                    <a:pt x="1599" y="1454"/>
                  </a:lnTo>
                  <a:lnTo>
                    <a:pt x="1595" y="1458"/>
                  </a:lnTo>
                  <a:lnTo>
                    <a:pt x="1589" y="1463"/>
                  </a:lnTo>
                  <a:lnTo>
                    <a:pt x="1586" y="1465"/>
                  </a:lnTo>
                  <a:lnTo>
                    <a:pt x="1585" y="1471"/>
                  </a:lnTo>
                  <a:lnTo>
                    <a:pt x="1571" y="1474"/>
                  </a:lnTo>
                  <a:lnTo>
                    <a:pt x="1559" y="1475"/>
                  </a:lnTo>
                  <a:lnTo>
                    <a:pt x="1552" y="1475"/>
                  </a:lnTo>
                  <a:lnTo>
                    <a:pt x="1549" y="1473"/>
                  </a:lnTo>
                  <a:lnTo>
                    <a:pt x="1542" y="1473"/>
                  </a:lnTo>
                  <a:lnTo>
                    <a:pt x="1542" y="1473"/>
                  </a:lnTo>
                  <a:lnTo>
                    <a:pt x="1535" y="1477"/>
                  </a:lnTo>
                  <a:lnTo>
                    <a:pt x="1535" y="1477"/>
                  </a:lnTo>
                  <a:lnTo>
                    <a:pt x="1531" y="1477"/>
                  </a:lnTo>
                  <a:lnTo>
                    <a:pt x="1528" y="1475"/>
                  </a:lnTo>
                  <a:lnTo>
                    <a:pt x="1528" y="1475"/>
                  </a:lnTo>
                  <a:lnTo>
                    <a:pt x="1528" y="1477"/>
                  </a:lnTo>
                  <a:lnTo>
                    <a:pt x="1528" y="1477"/>
                  </a:lnTo>
                  <a:lnTo>
                    <a:pt x="1528" y="1478"/>
                  </a:lnTo>
                  <a:lnTo>
                    <a:pt x="1526" y="1475"/>
                  </a:lnTo>
                  <a:lnTo>
                    <a:pt x="1524" y="1468"/>
                  </a:lnTo>
                  <a:lnTo>
                    <a:pt x="1522" y="1464"/>
                  </a:lnTo>
                  <a:lnTo>
                    <a:pt x="1515" y="1463"/>
                  </a:lnTo>
                  <a:lnTo>
                    <a:pt x="1512" y="1455"/>
                  </a:lnTo>
                  <a:lnTo>
                    <a:pt x="1509" y="1457"/>
                  </a:lnTo>
                  <a:lnTo>
                    <a:pt x="1509" y="1457"/>
                  </a:lnTo>
                  <a:lnTo>
                    <a:pt x="1519" y="1448"/>
                  </a:lnTo>
                  <a:lnTo>
                    <a:pt x="1519" y="1448"/>
                  </a:lnTo>
                  <a:lnTo>
                    <a:pt x="1521" y="1447"/>
                  </a:lnTo>
                  <a:lnTo>
                    <a:pt x="1521" y="1444"/>
                  </a:lnTo>
                  <a:lnTo>
                    <a:pt x="1522" y="1438"/>
                  </a:lnTo>
                  <a:lnTo>
                    <a:pt x="1522" y="1438"/>
                  </a:lnTo>
                  <a:lnTo>
                    <a:pt x="1522" y="1435"/>
                  </a:lnTo>
                  <a:lnTo>
                    <a:pt x="1521" y="1434"/>
                  </a:lnTo>
                  <a:lnTo>
                    <a:pt x="1518" y="1432"/>
                  </a:lnTo>
                  <a:lnTo>
                    <a:pt x="1518" y="1432"/>
                  </a:lnTo>
                  <a:lnTo>
                    <a:pt x="1518" y="1430"/>
                  </a:lnTo>
                  <a:lnTo>
                    <a:pt x="1518" y="1425"/>
                  </a:lnTo>
                  <a:lnTo>
                    <a:pt x="1518" y="1418"/>
                  </a:lnTo>
                  <a:lnTo>
                    <a:pt x="1518" y="1418"/>
                  </a:lnTo>
                  <a:lnTo>
                    <a:pt x="1518" y="1415"/>
                  </a:lnTo>
                  <a:lnTo>
                    <a:pt x="1516" y="1414"/>
                  </a:lnTo>
                  <a:lnTo>
                    <a:pt x="1514" y="1412"/>
                  </a:lnTo>
                  <a:lnTo>
                    <a:pt x="1514" y="1412"/>
                  </a:lnTo>
                  <a:lnTo>
                    <a:pt x="1511" y="1410"/>
                  </a:lnTo>
                  <a:lnTo>
                    <a:pt x="1509" y="1408"/>
                  </a:lnTo>
                  <a:lnTo>
                    <a:pt x="1506" y="1408"/>
                  </a:lnTo>
                  <a:lnTo>
                    <a:pt x="1506" y="1408"/>
                  </a:lnTo>
                  <a:lnTo>
                    <a:pt x="1504" y="1408"/>
                  </a:lnTo>
                  <a:lnTo>
                    <a:pt x="1502" y="1410"/>
                  </a:lnTo>
                  <a:lnTo>
                    <a:pt x="1499" y="1414"/>
                  </a:lnTo>
                  <a:lnTo>
                    <a:pt x="1499" y="1414"/>
                  </a:lnTo>
                  <a:lnTo>
                    <a:pt x="1499" y="1420"/>
                  </a:lnTo>
                  <a:lnTo>
                    <a:pt x="1498" y="1424"/>
                  </a:lnTo>
                  <a:lnTo>
                    <a:pt x="1498" y="1424"/>
                  </a:lnTo>
                  <a:lnTo>
                    <a:pt x="1498" y="1427"/>
                  </a:lnTo>
                  <a:lnTo>
                    <a:pt x="1498" y="1430"/>
                  </a:lnTo>
                  <a:lnTo>
                    <a:pt x="1498" y="1430"/>
                  </a:lnTo>
                  <a:lnTo>
                    <a:pt x="1496" y="1434"/>
                  </a:lnTo>
                  <a:lnTo>
                    <a:pt x="1495" y="1437"/>
                  </a:lnTo>
                  <a:lnTo>
                    <a:pt x="1495" y="1434"/>
                  </a:lnTo>
                  <a:lnTo>
                    <a:pt x="1488" y="1430"/>
                  </a:lnTo>
                  <a:lnTo>
                    <a:pt x="1482" y="1425"/>
                  </a:lnTo>
                  <a:lnTo>
                    <a:pt x="1476" y="1420"/>
                  </a:lnTo>
                  <a:lnTo>
                    <a:pt x="1473" y="1417"/>
                  </a:lnTo>
                  <a:lnTo>
                    <a:pt x="1478" y="1410"/>
                  </a:lnTo>
                  <a:lnTo>
                    <a:pt x="1469" y="1404"/>
                  </a:lnTo>
                  <a:lnTo>
                    <a:pt x="1466" y="1400"/>
                  </a:lnTo>
                  <a:lnTo>
                    <a:pt x="1468" y="1400"/>
                  </a:lnTo>
                  <a:lnTo>
                    <a:pt x="1476" y="1400"/>
                  </a:lnTo>
                  <a:lnTo>
                    <a:pt x="1479" y="1397"/>
                  </a:lnTo>
                  <a:lnTo>
                    <a:pt x="1478" y="1390"/>
                  </a:lnTo>
                  <a:lnTo>
                    <a:pt x="1463" y="1380"/>
                  </a:lnTo>
                  <a:lnTo>
                    <a:pt x="1458" y="1377"/>
                  </a:lnTo>
                  <a:lnTo>
                    <a:pt x="1456" y="1372"/>
                  </a:lnTo>
                  <a:lnTo>
                    <a:pt x="1456" y="1370"/>
                  </a:lnTo>
                  <a:lnTo>
                    <a:pt x="1452" y="1367"/>
                  </a:lnTo>
                  <a:lnTo>
                    <a:pt x="1445" y="1365"/>
                  </a:lnTo>
                  <a:lnTo>
                    <a:pt x="1443" y="1362"/>
                  </a:lnTo>
                  <a:lnTo>
                    <a:pt x="1443" y="1355"/>
                  </a:lnTo>
                  <a:lnTo>
                    <a:pt x="1438" y="1354"/>
                  </a:lnTo>
                  <a:lnTo>
                    <a:pt x="1435" y="1351"/>
                  </a:lnTo>
                  <a:lnTo>
                    <a:pt x="1433" y="1345"/>
                  </a:lnTo>
                  <a:lnTo>
                    <a:pt x="1431" y="1338"/>
                  </a:lnTo>
                  <a:lnTo>
                    <a:pt x="1429" y="1340"/>
                  </a:lnTo>
                  <a:lnTo>
                    <a:pt x="1429" y="1340"/>
                  </a:lnTo>
                  <a:lnTo>
                    <a:pt x="1431" y="1338"/>
                  </a:lnTo>
                  <a:lnTo>
                    <a:pt x="1431" y="1338"/>
                  </a:lnTo>
                  <a:lnTo>
                    <a:pt x="1432" y="1337"/>
                  </a:lnTo>
                  <a:lnTo>
                    <a:pt x="1432" y="1334"/>
                  </a:lnTo>
                  <a:lnTo>
                    <a:pt x="1432" y="1334"/>
                  </a:lnTo>
                  <a:lnTo>
                    <a:pt x="1429" y="1330"/>
                  </a:lnTo>
                  <a:lnTo>
                    <a:pt x="1429" y="1330"/>
                  </a:lnTo>
                  <a:lnTo>
                    <a:pt x="1421" y="1321"/>
                  </a:lnTo>
                  <a:lnTo>
                    <a:pt x="1418" y="1317"/>
                  </a:lnTo>
                  <a:lnTo>
                    <a:pt x="1419" y="1311"/>
                  </a:lnTo>
                  <a:lnTo>
                    <a:pt x="1422" y="1301"/>
                  </a:lnTo>
                  <a:lnTo>
                    <a:pt x="1423" y="1300"/>
                  </a:lnTo>
                  <a:lnTo>
                    <a:pt x="1422" y="1295"/>
                  </a:lnTo>
                  <a:lnTo>
                    <a:pt x="1422" y="1295"/>
                  </a:lnTo>
                  <a:lnTo>
                    <a:pt x="1422" y="1295"/>
                  </a:lnTo>
                  <a:lnTo>
                    <a:pt x="1422" y="1295"/>
                  </a:lnTo>
                  <a:lnTo>
                    <a:pt x="1423" y="1300"/>
                  </a:lnTo>
                  <a:lnTo>
                    <a:pt x="1423" y="1300"/>
                  </a:lnTo>
                  <a:lnTo>
                    <a:pt x="1426" y="1301"/>
                  </a:lnTo>
                  <a:lnTo>
                    <a:pt x="1426" y="1301"/>
                  </a:lnTo>
                  <a:lnTo>
                    <a:pt x="1429" y="1298"/>
                  </a:lnTo>
                  <a:lnTo>
                    <a:pt x="1433" y="1297"/>
                  </a:lnTo>
                  <a:lnTo>
                    <a:pt x="1438" y="1291"/>
                  </a:lnTo>
                  <a:lnTo>
                    <a:pt x="1443" y="1291"/>
                  </a:lnTo>
                  <a:lnTo>
                    <a:pt x="1446" y="1292"/>
                  </a:lnTo>
                  <a:lnTo>
                    <a:pt x="1446" y="1292"/>
                  </a:lnTo>
                  <a:lnTo>
                    <a:pt x="1449" y="1295"/>
                  </a:lnTo>
                  <a:lnTo>
                    <a:pt x="1449" y="1295"/>
                  </a:lnTo>
                  <a:lnTo>
                    <a:pt x="1453" y="1295"/>
                  </a:lnTo>
                  <a:lnTo>
                    <a:pt x="1453" y="1295"/>
                  </a:lnTo>
                  <a:lnTo>
                    <a:pt x="1458" y="1292"/>
                  </a:lnTo>
                  <a:lnTo>
                    <a:pt x="1463" y="1290"/>
                  </a:lnTo>
                  <a:lnTo>
                    <a:pt x="1469" y="1290"/>
                  </a:lnTo>
                  <a:lnTo>
                    <a:pt x="1471" y="1291"/>
                  </a:lnTo>
                  <a:lnTo>
                    <a:pt x="1471" y="1291"/>
                  </a:lnTo>
                  <a:lnTo>
                    <a:pt x="1469" y="1297"/>
                  </a:lnTo>
                  <a:lnTo>
                    <a:pt x="1469" y="1297"/>
                  </a:lnTo>
                  <a:lnTo>
                    <a:pt x="1469" y="1301"/>
                  </a:lnTo>
                  <a:lnTo>
                    <a:pt x="1469" y="1301"/>
                  </a:lnTo>
                  <a:lnTo>
                    <a:pt x="1472" y="1304"/>
                  </a:lnTo>
                  <a:lnTo>
                    <a:pt x="1472" y="1304"/>
                  </a:lnTo>
                  <a:lnTo>
                    <a:pt x="1475" y="1304"/>
                  </a:lnTo>
                  <a:lnTo>
                    <a:pt x="1475" y="1304"/>
                  </a:lnTo>
                  <a:lnTo>
                    <a:pt x="1476" y="1307"/>
                  </a:lnTo>
                  <a:lnTo>
                    <a:pt x="1478" y="1310"/>
                  </a:lnTo>
                  <a:lnTo>
                    <a:pt x="1482" y="1317"/>
                  </a:lnTo>
                  <a:lnTo>
                    <a:pt x="1486" y="1322"/>
                  </a:lnTo>
                  <a:lnTo>
                    <a:pt x="1489" y="1324"/>
                  </a:lnTo>
                  <a:lnTo>
                    <a:pt x="1492" y="1328"/>
                  </a:lnTo>
                  <a:lnTo>
                    <a:pt x="1495" y="1332"/>
                  </a:lnTo>
                  <a:lnTo>
                    <a:pt x="1495" y="1332"/>
                  </a:lnTo>
                  <a:lnTo>
                    <a:pt x="1495" y="1338"/>
                  </a:lnTo>
                  <a:lnTo>
                    <a:pt x="1495" y="1338"/>
                  </a:lnTo>
                  <a:lnTo>
                    <a:pt x="1496" y="1341"/>
                  </a:lnTo>
                  <a:lnTo>
                    <a:pt x="1499" y="1348"/>
                  </a:lnTo>
                  <a:lnTo>
                    <a:pt x="1505" y="1355"/>
                  </a:lnTo>
                  <a:lnTo>
                    <a:pt x="1508" y="1358"/>
                  </a:lnTo>
                  <a:lnTo>
                    <a:pt x="1508" y="1358"/>
                  </a:lnTo>
                  <a:lnTo>
                    <a:pt x="1512" y="1360"/>
                  </a:lnTo>
                  <a:lnTo>
                    <a:pt x="1512" y="1360"/>
                  </a:lnTo>
                  <a:lnTo>
                    <a:pt x="1519" y="1360"/>
                  </a:lnTo>
                  <a:lnTo>
                    <a:pt x="1524" y="1362"/>
                  </a:lnTo>
                  <a:lnTo>
                    <a:pt x="1531" y="1367"/>
                  </a:lnTo>
                  <a:lnTo>
                    <a:pt x="1534" y="1367"/>
                  </a:lnTo>
                  <a:lnTo>
                    <a:pt x="1536" y="1370"/>
                  </a:lnTo>
                  <a:lnTo>
                    <a:pt x="1538" y="1375"/>
                  </a:lnTo>
                  <a:lnTo>
                    <a:pt x="1538" y="1375"/>
                  </a:lnTo>
                  <a:lnTo>
                    <a:pt x="1542" y="1378"/>
                  </a:lnTo>
                  <a:lnTo>
                    <a:pt x="1542" y="1378"/>
                  </a:lnTo>
                  <a:lnTo>
                    <a:pt x="1559" y="1387"/>
                  </a:lnTo>
                  <a:lnTo>
                    <a:pt x="1562" y="1390"/>
                  </a:lnTo>
                  <a:lnTo>
                    <a:pt x="1562" y="1390"/>
                  </a:lnTo>
                  <a:lnTo>
                    <a:pt x="1566" y="1391"/>
                  </a:lnTo>
                  <a:lnTo>
                    <a:pt x="1572" y="1394"/>
                  </a:lnTo>
                  <a:lnTo>
                    <a:pt x="1582" y="1395"/>
                  </a:lnTo>
                  <a:lnTo>
                    <a:pt x="1588" y="1400"/>
                  </a:lnTo>
                  <a:lnTo>
                    <a:pt x="1591" y="1401"/>
                  </a:lnTo>
                  <a:lnTo>
                    <a:pt x="1599" y="1400"/>
                  </a:lnTo>
                  <a:lnTo>
                    <a:pt x="1602" y="1397"/>
                  </a:lnTo>
                  <a:lnTo>
                    <a:pt x="1606" y="1395"/>
                  </a:lnTo>
                  <a:lnTo>
                    <a:pt x="1605" y="1400"/>
                  </a:lnTo>
                  <a:lnTo>
                    <a:pt x="1608" y="1401"/>
                  </a:lnTo>
                  <a:lnTo>
                    <a:pt x="1612" y="1398"/>
                  </a:lnTo>
                  <a:lnTo>
                    <a:pt x="1618" y="1392"/>
                  </a:lnTo>
                  <a:lnTo>
                    <a:pt x="1622" y="1391"/>
                  </a:lnTo>
                  <a:lnTo>
                    <a:pt x="1632" y="1390"/>
                  </a:lnTo>
                  <a:lnTo>
                    <a:pt x="1634" y="1390"/>
                  </a:lnTo>
                  <a:lnTo>
                    <a:pt x="1632" y="1384"/>
                  </a:lnTo>
                  <a:lnTo>
                    <a:pt x="1628" y="1384"/>
                  </a:lnTo>
                  <a:lnTo>
                    <a:pt x="1625" y="1382"/>
                  </a:lnTo>
                  <a:lnTo>
                    <a:pt x="1628" y="1381"/>
                  </a:lnTo>
                  <a:lnTo>
                    <a:pt x="1629" y="1380"/>
                  </a:lnTo>
                  <a:lnTo>
                    <a:pt x="1646" y="1381"/>
                  </a:lnTo>
                  <a:lnTo>
                    <a:pt x="1649" y="1385"/>
                  </a:lnTo>
                  <a:lnTo>
                    <a:pt x="1651" y="1391"/>
                  </a:lnTo>
                  <a:lnTo>
                    <a:pt x="1656" y="1401"/>
                  </a:lnTo>
                  <a:lnTo>
                    <a:pt x="1659" y="1404"/>
                  </a:lnTo>
                  <a:lnTo>
                    <a:pt x="1658" y="1408"/>
                  </a:lnTo>
                  <a:lnTo>
                    <a:pt x="1658" y="1415"/>
                  </a:lnTo>
                  <a:lnTo>
                    <a:pt x="1658" y="1420"/>
                  </a:lnTo>
                  <a:lnTo>
                    <a:pt x="1662" y="1421"/>
                  </a:lnTo>
                  <a:lnTo>
                    <a:pt x="1668" y="1422"/>
                  </a:lnTo>
                  <a:lnTo>
                    <a:pt x="1674" y="1424"/>
                  </a:lnTo>
                  <a:lnTo>
                    <a:pt x="1679" y="1427"/>
                  </a:lnTo>
                  <a:lnTo>
                    <a:pt x="1686" y="1427"/>
                  </a:lnTo>
                  <a:lnTo>
                    <a:pt x="1686" y="1427"/>
                  </a:lnTo>
                  <a:lnTo>
                    <a:pt x="1698" y="1427"/>
                  </a:lnTo>
                  <a:lnTo>
                    <a:pt x="1698" y="1427"/>
                  </a:lnTo>
                  <a:lnTo>
                    <a:pt x="1701" y="1428"/>
                  </a:lnTo>
                  <a:lnTo>
                    <a:pt x="1704" y="1432"/>
                  </a:lnTo>
                  <a:lnTo>
                    <a:pt x="1708" y="1432"/>
                  </a:lnTo>
                  <a:lnTo>
                    <a:pt x="1714" y="1431"/>
                  </a:lnTo>
                  <a:lnTo>
                    <a:pt x="1718" y="1428"/>
                  </a:lnTo>
                  <a:lnTo>
                    <a:pt x="1725" y="1434"/>
                  </a:lnTo>
                  <a:lnTo>
                    <a:pt x="1729" y="1437"/>
                  </a:lnTo>
                  <a:lnTo>
                    <a:pt x="1734" y="1435"/>
                  </a:lnTo>
                  <a:lnTo>
                    <a:pt x="1734" y="1435"/>
                  </a:lnTo>
                  <a:lnTo>
                    <a:pt x="1738" y="1432"/>
                  </a:lnTo>
                  <a:lnTo>
                    <a:pt x="1738" y="1432"/>
                  </a:lnTo>
                  <a:lnTo>
                    <a:pt x="1742" y="1430"/>
                  </a:lnTo>
                  <a:lnTo>
                    <a:pt x="1744" y="1432"/>
                  </a:lnTo>
                  <a:lnTo>
                    <a:pt x="1745" y="1434"/>
                  </a:lnTo>
                  <a:lnTo>
                    <a:pt x="1754" y="1437"/>
                  </a:lnTo>
                  <a:lnTo>
                    <a:pt x="1766" y="1440"/>
                  </a:lnTo>
                  <a:lnTo>
                    <a:pt x="1768" y="1437"/>
                  </a:lnTo>
                  <a:lnTo>
                    <a:pt x="1769" y="1432"/>
                  </a:lnTo>
                  <a:lnTo>
                    <a:pt x="1771" y="1428"/>
                  </a:lnTo>
                  <a:lnTo>
                    <a:pt x="1771" y="1420"/>
                  </a:lnTo>
                  <a:lnTo>
                    <a:pt x="1772" y="1412"/>
                  </a:lnTo>
                  <a:lnTo>
                    <a:pt x="1785" y="1404"/>
                  </a:lnTo>
                  <a:lnTo>
                    <a:pt x="1791" y="1394"/>
                  </a:lnTo>
                  <a:lnTo>
                    <a:pt x="1796" y="1394"/>
                  </a:lnTo>
                  <a:lnTo>
                    <a:pt x="1809" y="1395"/>
                  </a:lnTo>
                  <a:lnTo>
                    <a:pt x="1812" y="1394"/>
                  </a:lnTo>
                  <a:lnTo>
                    <a:pt x="1811" y="1387"/>
                  </a:lnTo>
                  <a:lnTo>
                    <a:pt x="1809" y="1375"/>
                  </a:lnTo>
                  <a:lnTo>
                    <a:pt x="1804" y="1380"/>
                  </a:lnTo>
                  <a:lnTo>
                    <a:pt x="1795" y="1377"/>
                  </a:lnTo>
                  <a:lnTo>
                    <a:pt x="1788" y="1342"/>
                  </a:lnTo>
                  <a:lnTo>
                    <a:pt x="1782" y="1341"/>
                  </a:lnTo>
                  <a:lnTo>
                    <a:pt x="1768" y="1340"/>
                  </a:lnTo>
                  <a:lnTo>
                    <a:pt x="1762" y="1334"/>
                  </a:lnTo>
                  <a:lnTo>
                    <a:pt x="1755" y="1321"/>
                  </a:lnTo>
                  <a:lnTo>
                    <a:pt x="1755" y="1321"/>
                  </a:lnTo>
                  <a:lnTo>
                    <a:pt x="1749" y="1314"/>
                  </a:lnTo>
                  <a:lnTo>
                    <a:pt x="1745" y="1308"/>
                  </a:lnTo>
                  <a:lnTo>
                    <a:pt x="1742" y="1302"/>
                  </a:lnTo>
                  <a:lnTo>
                    <a:pt x="1748" y="1305"/>
                  </a:lnTo>
                  <a:lnTo>
                    <a:pt x="1761" y="1310"/>
                  </a:lnTo>
                  <a:lnTo>
                    <a:pt x="1778" y="1312"/>
                  </a:lnTo>
                  <a:lnTo>
                    <a:pt x="1785" y="1312"/>
                  </a:lnTo>
                  <a:lnTo>
                    <a:pt x="1792" y="1314"/>
                  </a:lnTo>
                  <a:lnTo>
                    <a:pt x="1804" y="1314"/>
                  </a:lnTo>
                  <a:lnTo>
                    <a:pt x="1814" y="1311"/>
                  </a:lnTo>
                  <a:lnTo>
                    <a:pt x="1821" y="1310"/>
                  </a:lnTo>
                  <a:lnTo>
                    <a:pt x="1826" y="1308"/>
                  </a:lnTo>
                  <a:lnTo>
                    <a:pt x="1835" y="1310"/>
                  </a:lnTo>
                  <a:lnTo>
                    <a:pt x="1844" y="1308"/>
                  </a:lnTo>
                  <a:lnTo>
                    <a:pt x="1852" y="1307"/>
                  </a:lnTo>
                  <a:lnTo>
                    <a:pt x="1862" y="1304"/>
                  </a:lnTo>
                  <a:lnTo>
                    <a:pt x="1867" y="1302"/>
                  </a:lnTo>
                  <a:lnTo>
                    <a:pt x="1868" y="1295"/>
                  </a:lnTo>
                  <a:lnTo>
                    <a:pt x="1869" y="1287"/>
                  </a:lnTo>
                  <a:lnTo>
                    <a:pt x="1868" y="1281"/>
                  </a:lnTo>
                  <a:lnTo>
                    <a:pt x="1869" y="1274"/>
                  </a:lnTo>
                  <a:lnTo>
                    <a:pt x="1874" y="1264"/>
                  </a:lnTo>
                  <a:lnTo>
                    <a:pt x="1878" y="1259"/>
                  </a:lnTo>
                  <a:lnTo>
                    <a:pt x="1884" y="1258"/>
                  </a:lnTo>
                  <a:lnTo>
                    <a:pt x="1888" y="1258"/>
                  </a:lnTo>
                  <a:lnTo>
                    <a:pt x="1897" y="1261"/>
                  </a:lnTo>
                  <a:lnTo>
                    <a:pt x="1897" y="1261"/>
                  </a:lnTo>
                  <a:lnTo>
                    <a:pt x="1898" y="1262"/>
                  </a:lnTo>
                  <a:lnTo>
                    <a:pt x="1899" y="1261"/>
                  </a:lnTo>
                  <a:lnTo>
                    <a:pt x="1901" y="1258"/>
                  </a:lnTo>
                  <a:lnTo>
                    <a:pt x="1901" y="1258"/>
                  </a:lnTo>
                  <a:lnTo>
                    <a:pt x="1901" y="1254"/>
                  </a:lnTo>
                  <a:lnTo>
                    <a:pt x="1901" y="1251"/>
                  </a:lnTo>
                  <a:lnTo>
                    <a:pt x="1902" y="1248"/>
                  </a:lnTo>
                  <a:lnTo>
                    <a:pt x="1905" y="1247"/>
                  </a:lnTo>
                  <a:lnTo>
                    <a:pt x="1914" y="1245"/>
                  </a:lnTo>
                  <a:lnTo>
                    <a:pt x="1921" y="1247"/>
                  </a:lnTo>
                  <a:lnTo>
                    <a:pt x="1928" y="1248"/>
                  </a:lnTo>
                  <a:lnTo>
                    <a:pt x="1932" y="1245"/>
                  </a:lnTo>
                  <a:lnTo>
                    <a:pt x="1932" y="1245"/>
                  </a:lnTo>
                  <a:lnTo>
                    <a:pt x="1934" y="1242"/>
                  </a:lnTo>
                  <a:lnTo>
                    <a:pt x="1937" y="1238"/>
                  </a:lnTo>
                  <a:lnTo>
                    <a:pt x="1937" y="1238"/>
                  </a:lnTo>
                  <a:lnTo>
                    <a:pt x="1937" y="1231"/>
                  </a:lnTo>
                  <a:lnTo>
                    <a:pt x="1935" y="1225"/>
                  </a:lnTo>
                  <a:lnTo>
                    <a:pt x="1935" y="1222"/>
                  </a:lnTo>
                  <a:lnTo>
                    <a:pt x="1937" y="1219"/>
                  </a:lnTo>
                  <a:lnTo>
                    <a:pt x="1937" y="1212"/>
                  </a:lnTo>
                  <a:lnTo>
                    <a:pt x="1937" y="1208"/>
                  </a:lnTo>
                  <a:lnTo>
                    <a:pt x="1937" y="1208"/>
                  </a:lnTo>
                  <a:lnTo>
                    <a:pt x="1938" y="1207"/>
                  </a:lnTo>
                  <a:lnTo>
                    <a:pt x="1938" y="1207"/>
                  </a:lnTo>
                  <a:lnTo>
                    <a:pt x="1941" y="1205"/>
                  </a:lnTo>
                  <a:lnTo>
                    <a:pt x="1947" y="1205"/>
                  </a:lnTo>
                  <a:lnTo>
                    <a:pt x="1951" y="1205"/>
                  </a:lnTo>
                  <a:lnTo>
                    <a:pt x="1952" y="1201"/>
                  </a:lnTo>
                  <a:lnTo>
                    <a:pt x="1952" y="1195"/>
                  </a:lnTo>
                  <a:lnTo>
                    <a:pt x="1947" y="1191"/>
                  </a:lnTo>
                  <a:lnTo>
                    <a:pt x="1944" y="1188"/>
                  </a:lnTo>
                  <a:lnTo>
                    <a:pt x="1942" y="1187"/>
                  </a:lnTo>
                  <a:lnTo>
                    <a:pt x="1938" y="1184"/>
                  </a:lnTo>
                  <a:lnTo>
                    <a:pt x="1941" y="1179"/>
                  </a:lnTo>
                  <a:lnTo>
                    <a:pt x="1941" y="1179"/>
                  </a:lnTo>
                  <a:lnTo>
                    <a:pt x="1945" y="1178"/>
                  </a:lnTo>
                  <a:lnTo>
                    <a:pt x="1945" y="1178"/>
                  </a:lnTo>
                  <a:lnTo>
                    <a:pt x="1955" y="1181"/>
                  </a:lnTo>
                  <a:lnTo>
                    <a:pt x="1955" y="1181"/>
                  </a:lnTo>
                  <a:lnTo>
                    <a:pt x="1961" y="1179"/>
                  </a:lnTo>
                  <a:lnTo>
                    <a:pt x="1961" y="1179"/>
                  </a:lnTo>
                  <a:lnTo>
                    <a:pt x="1967" y="1179"/>
                  </a:lnTo>
                  <a:lnTo>
                    <a:pt x="1965" y="1174"/>
                  </a:lnTo>
                  <a:lnTo>
                    <a:pt x="1964" y="1167"/>
                  </a:lnTo>
                  <a:lnTo>
                    <a:pt x="1964" y="1162"/>
                  </a:lnTo>
                  <a:lnTo>
                    <a:pt x="1968" y="1158"/>
                  </a:lnTo>
                  <a:lnTo>
                    <a:pt x="1971" y="1152"/>
                  </a:lnTo>
                  <a:lnTo>
                    <a:pt x="1972" y="1144"/>
                  </a:lnTo>
                  <a:lnTo>
                    <a:pt x="1972" y="1139"/>
                  </a:lnTo>
                  <a:lnTo>
                    <a:pt x="1969" y="1132"/>
                  </a:lnTo>
                  <a:lnTo>
                    <a:pt x="1968" y="1127"/>
                  </a:lnTo>
                  <a:lnTo>
                    <a:pt x="1965" y="1124"/>
                  </a:lnTo>
                  <a:lnTo>
                    <a:pt x="1959" y="1122"/>
                  </a:lnTo>
                  <a:lnTo>
                    <a:pt x="1965" y="1109"/>
                  </a:lnTo>
                  <a:lnTo>
                    <a:pt x="1971" y="1106"/>
                  </a:lnTo>
                  <a:lnTo>
                    <a:pt x="1975" y="1106"/>
                  </a:lnTo>
                  <a:lnTo>
                    <a:pt x="1982" y="1096"/>
                  </a:lnTo>
                  <a:lnTo>
                    <a:pt x="1988" y="1095"/>
                  </a:lnTo>
                  <a:lnTo>
                    <a:pt x="1997" y="1094"/>
                  </a:lnTo>
                  <a:lnTo>
                    <a:pt x="2005" y="1095"/>
                  </a:lnTo>
                  <a:lnTo>
                    <a:pt x="2012" y="1094"/>
                  </a:lnTo>
                  <a:lnTo>
                    <a:pt x="2024" y="1095"/>
                  </a:lnTo>
                  <a:lnTo>
                    <a:pt x="2028" y="1089"/>
                  </a:lnTo>
                  <a:lnTo>
                    <a:pt x="2031" y="1084"/>
                  </a:lnTo>
                  <a:lnTo>
                    <a:pt x="2034" y="1081"/>
                  </a:lnTo>
                  <a:lnTo>
                    <a:pt x="2038" y="1086"/>
                  </a:lnTo>
                  <a:lnTo>
                    <a:pt x="2045" y="1079"/>
                  </a:lnTo>
                  <a:lnTo>
                    <a:pt x="2045" y="1075"/>
                  </a:lnTo>
                  <a:lnTo>
                    <a:pt x="2039" y="1068"/>
                  </a:lnTo>
                  <a:lnTo>
                    <a:pt x="2045" y="1059"/>
                  </a:lnTo>
                  <a:lnTo>
                    <a:pt x="2045" y="1058"/>
                  </a:lnTo>
                  <a:lnTo>
                    <a:pt x="2045" y="1056"/>
                  </a:lnTo>
                  <a:lnTo>
                    <a:pt x="2031" y="1049"/>
                  </a:lnTo>
                  <a:lnTo>
                    <a:pt x="2024" y="1045"/>
                  </a:lnTo>
                  <a:lnTo>
                    <a:pt x="2021" y="1041"/>
                  </a:lnTo>
                  <a:lnTo>
                    <a:pt x="2004" y="1041"/>
                  </a:lnTo>
                  <a:lnTo>
                    <a:pt x="1997" y="1031"/>
                  </a:lnTo>
                  <a:lnTo>
                    <a:pt x="1998" y="1028"/>
                  </a:lnTo>
                  <a:lnTo>
                    <a:pt x="2002" y="1028"/>
                  </a:lnTo>
                  <a:lnTo>
                    <a:pt x="2002" y="1028"/>
                  </a:lnTo>
                  <a:lnTo>
                    <a:pt x="2001" y="1024"/>
                  </a:lnTo>
                  <a:lnTo>
                    <a:pt x="2001" y="1019"/>
                  </a:lnTo>
                  <a:lnTo>
                    <a:pt x="2001" y="1019"/>
                  </a:lnTo>
                  <a:lnTo>
                    <a:pt x="2001" y="1018"/>
                  </a:lnTo>
                  <a:lnTo>
                    <a:pt x="2004" y="1018"/>
                  </a:lnTo>
                  <a:lnTo>
                    <a:pt x="2004" y="1018"/>
                  </a:lnTo>
                  <a:lnTo>
                    <a:pt x="2004" y="1015"/>
                  </a:lnTo>
                  <a:lnTo>
                    <a:pt x="2005" y="1012"/>
                  </a:lnTo>
                  <a:lnTo>
                    <a:pt x="2005" y="1012"/>
                  </a:lnTo>
                  <a:lnTo>
                    <a:pt x="2005" y="1009"/>
                  </a:lnTo>
                  <a:lnTo>
                    <a:pt x="2004" y="1006"/>
                  </a:lnTo>
                  <a:lnTo>
                    <a:pt x="2004" y="1006"/>
                  </a:lnTo>
                  <a:lnTo>
                    <a:pt x="2002" y="1004"/>
                  </a:lnTo>
                  <a:lnTo>
                    <a:pt x="2002" y="1001"/>
                  </a:lnTo>
                  <a:lnTo>
                    <a:pt x="2002" y="1001"/>
                  </a:lnTo>
                  <a:lnTo>
                    <a:pt x="2004" y="998"/>
                  </a:lnTo>
                  <a:lnTo>
                    <a:pt x="2005" y="995"/>
                  </a:lnTo>
                  <a:lnTo>
                    <a:pt x="2005" y="995"/>
                  </a:lnTo>
                  <a:lnTo>
                    <a:pt x="2008" y="994"/>
                  </a:lnTo>
                  <a:lnTo>
                    <a:pt x="2011" y="994"/>
                  </a:lnTo>
                  <a:lnTo>
                    <a:pt x="2011" y="995"/>
                  </a:lnTo>
                  <a:lnTo>
                    <a:pt x="2011" y="995"/>
                  </a:lnTo>
                  <a:lnTo>
                    <a:pt x="2014" y="995"/>
                  </a:lnTo>
                  <a:lnTo>
                    <a:pt x="2014" y="995"/>
                  </a:lnTo>
                  <a:lnTo>
                    <a:pt x="2014" y="994"/>
                  </a:lnTo>
                  <a:lnTo>
                    <a:pt x="2014" y="994"/>
                  </a:lnTo>
                  <a:lnTo>
                    <a:pt x="2015" y="991"/>
                  </a:lnTo>
                  <a:lnTo>
                    <a:pt x="2015" y="991"/>
                  </a:lnTo>
                  <a:lnTo>
                    <a:pt x="2017" y="986"/>
                  </a:lnTo>
                  <a:lnTo>
                    <a:pt x="2018" y="985"/>
                  </a:lnTo>
                  <a:lnTo>
                    <a:pt x="2021" y="984"/>
                  </a:lnTo>
                  <a:lnTo>
                    <a:pt x="2021" y="984"/>
                  </a:lnTo>
                  <a:lnTo>
                    <a:pt x="2028" y="984"/>
                  </a:lnTo>
                  <a:lnTo>
                    <a:pt x="2028" y="984"/>
                  </a:lnTo>
                  <a:lnTo>
                    <a:pt x="2029" y="985"/>
                  </a:lnTo>
                  <a:lnTo>
                    <a:pt x="2029" y="985"/>
                  </a:lnTo>
                  <a:lnTo>
                    <a:pt x="2029" y="984"/>
                  </a:lnTo>
                  <a:lnTo>
                    <a:pt x="2029" y="984"/>
                  </a:lnTo>
                  <a:lnTo>
                    <a:pt x="2031" y="984"/>
                  </a:lnTo>
                  <a:lnTo>
                    <a:pt x="2031" y="984"/>
                  </a:lnTo>
                  <a:lnTo>
                    <a:pt x="2034" y="981"/>
                  </a:lnTo>
                  <a:lnTo>
                    <a:pt x="2037" y="979"/>
                  </a:lnTo>
                  <a:lnTo>
                    <a:pt x="2037" y="979"/>
                  </a:lnTo>
                  <a:lnTo>
                    <a:pt x="2039" y="979"/>
                  </a:lnTo>
                  <a:lnTo>
                    <a:pt x="2039" y="979"/>
                  </a:lnTo>
                  <a:lnTo>
                    <a:pt x="2042" y="982"/>
                  </a:lnTo>
                  <a:lnTo>
                    <a:pt x="2044" y="984"/>
                  </a:lnTo>
                  <a:lnTo>
                    <a:pt x="2044" y="984"/>
                  </a:lnTo>
                  <a:lnTo>
                    <a:pt x="2045" y="986"/>
                  </a:lnTo>
                  <a:lnTo>
                    <a:pt x="2047" y="988"/>
                  </a:lnTo>
                  <a:lnTo>
                    <a:pt x="2047" y="988"/>
                  </a:lnTo>
                  <a:lnTo>
                    <a:pt x="2052" y="989"/>
                  </a:lnTo>
                  <a:lnTo>
                    <a:pt x="2052" y="989"/>
                  </a:lnTo>
                  <a:lnTo>
                    <a:pt x="2058" y="988"/>
                  </a:lnTo>
                  <a:lnTo>
                    <a:pt x="2058" y="988"/>
                  </a:lnTo>
                  <a:lnTo>
                    <a:pt x="2059" y="982"/>
                  </a:lnTo>
                  <a:lnTo>
                    <a:pt x="2059" y="982"/>
                  </a:lnTo>
                  <a:lnTo>
                    <a:pt x="2061" y="974"/>
                  </a:lnTo>
                  <a:lnTo>
                    <a:pt x="2061" y="974"/>
                  </a:lnTo>
                  <a:lnTo>
                    <a:pt x="2064" y="968"/>
                  </a:lnTo>
                  <a:lnTo>
                    <a:pt x="2067" y="966"/>
                  </a:lnTo>
                  <a:lnTo>
                    <a:pt x="2069" y="965"/>
                  </a:lnTo>
                  <a:lnTo>
                    <a:pt x="2069" y="965"/>
                  </a:lnTo>
                  <a:lnTo>
                    <a:pt x="2071" y="965"/>
                  </a:lnTo>
                  <a:lnTo>
                    <a:pt x="2072" y="965"/>
                  </a:lnTo>
                  <a:lnTo>
                    <a:pt x="2072" y="965"/>
                  </a:lnTo>
                  <a:lnTo>
                    <a:pt x="2074" y="964"/>
                  </a:lnTo>
                  <a:lnTo>
                    <a:pt x="2074" y="964"/>
                  </a:lnTo>
                  <a:lnTo>
                    <a:pt x="2075" y="962"/>
                  </a:lnTo>
                  <a:lnTo>
                    <a:pt x="2077" y="962"/>
                  </a:lnTo>
                  <a:lnTo>
                    <a:pt x="2077" y="962"/>
                  </a:lnTo>
                  <a:lnTo>
                    <a:pt x="2079" y="964"/>
                  </a:lnTo>
                  <a:lnTo>
                    <a:pt x="2081" y="965"/>
                  </a:lnTo>
                  <a:lnTo>
                    <a:pt x="2081" y="965"/>
                  </a:lnTo>
                  <a:lnTo>
                    <a:pt x="2084" y="966"/>
                  </a:lnTo>
                  <a:lnTo>
                    <a:pt x="2084" y="966"/>
                  </a:lnTo>
                  <a:lnTo>
                    <a:pt x="2085" y="966"/>
                  </a:lnTo>
                  <a:lnTo>
                    <a:pt x="2087" y="965"/>
                  </a:lnTo>
                  <a:lnTo>
                    <a:pt x="2087" y="965"/>
                  </a:lnTo>
                  <a:lnTo>
                    <a:pt x="2089" y="964"/>
                  </a:lnTo>
                  <a:lnTo>
                    <a:pt x="2094" y="962"/>
                  </a:lnTo>
                  <a:lnTo>
                    <a:pt x="2094" y="962"/>
                  </a:lnTo>
                  <a:lnTo>
                    <a:pt x="2097" y="962"/>
                  </a:lnTo>
                  <a:lnTo>
                    <a:pt x="2097" y="962"/>
                  </a:lnTo>
                  <a:lnTo>
                    <a:pt x="2101" y="966"/>
                  </a:lnTo>
                  <a:lnTo>
                    <a:pt x="2101" y="966"/>
                  </a:lnTo>
                  <a:lnTo>
                    <a:pt x="2101" y="966"/>
                  </a:lnTo>
                  <a:lnTo>
                    <a:pt x="2101" y="966"/>
                  </a:lnTo>
                  <a:lnTo>
                    <a:pt x="2104" y="962"/>
                  </a:lnTo>
                  <a:lnTo>
                    <a:pt x="2104" y="962"/>
                  </a:lnTo>
                  <a:lnTo>
                    <a:pt x="2105" y="958"/>
                  </a:lnTo>
                  <a:lnTo>
                    <a:pt x="2108" y="956"/>
                  </a:lnTo>
                  <a:lnTo>
                    <a:pt x="2108" y="956"/>
                  </a:lnTo>
                  <a:lnTo>
                    <a:pt x="2109" y="956"/>
                  </a:lnTo>
                  <a:lnTo>
                    <a:pt x="2109" y="956"/>
                  </a:lnTo>
                  <a:lnTo>
                    <a:pt x="2108" y="952"/>
                  </a:lnTo>
                  <a:lnTo>
                    <a:pt x="2109" y="948"/>
                  </a:lnTo>
                  <a:lnTo>
                    <a:pt x="2109" y="948"/>
                  </a:lnTo>
                  <a:lnTo>
                    <a:pt x="2114" y="946"/>
                  </a:lnTo>
                  <a:lnTo>
                    <a:pt x="2117" y="945"/>
                  </a:lnTo>
                  <a:lnTo>
                    <a:pt x="2117" y="945"/>
                  </a:lnTo>
                  <a:lnTo>
                    <a:pt x="2121" y="943"/>
                  </a:lnTo>
                  <a:lnTo>
                    <a:pt x="2121" y="943"/>
                  </a:lnTo>
                  <a:lnTo>
                    <a:pt x="2124" y="939"/>
                  </a:lnTo>
                  <a:lnTo>
                    <a:pt x="2124" y="939"/>
                  </a:lnTo>
                  <a:lnTo>
                    <a:pt x="2125" y="938"/>
                  </a:lnTo>
                  <a:lnTo>
                    <a:pt x="2128" y="936"/>
                  </a:lnTo>
                  <a:lnTo>
                    <a:pt x="2128" y="926"/>
                  </a:lnTo>
                  <a:lnTo>
                    <a:pt x="2128" y="926"/>
                  </a:lnTo>
                  <a:lnTo>
                    <a:pt x="2127" y="922"/>
                  </a:lnTo>
                  <a:lnTo>
                    <a:pt x="2127" y="922"/>
                  </a:lnTo>
                  <a:lnTo>
                    <a:pt x="2128" y="918"/>
                  </a:lnTo>
                  <a:lnTo>
                    <a:pt x="2128" y="913"/>
                  </a:lnTo>
                  <a:lnTo>
                    <a:pt x="2128" y="913"/>
                  </a:lnTo>
                  <a:lnTo>
                    <a:pt x="2129" y="909"/>
                  </a:lnTo>
                  <a:lnTo>
                    <a:pt x="2128" y="906"/>
                  </a:lnTo>
                  <a:lnTo>
                    <a:pt x="2128" y="895"/>
                  </a:lnTo>
                  <a:lnTo>
                    <a:pt x="2128" y="895"/>
                  </a:lnTo>
                  <a:lnTo>
                    <a:pt x="2125" y="889"/>
                  </a:lnTo>
                  <a:lnTo>
                    <a:pt x="2121" y="885"/>
                  </a:lnTo>
                  <a:lnTo>
                    <a:pt x="2121" y="885"/>
                  </a:lnTo>
                  <a:lnTo>
                    <a:pt x="2117" y="881"/>
                  </a:lnTo>
                  <a:lnTo>
                    <a:pt x="2115" y="878"/>
                  </a:lnTo>
                  <a:lnTo>
                    <a:pt x="2115" y="875"/>
                  </a:lnTo>
                  <a:lnTo>
                    <a:pt x="2109" y="875"/>
                  </a:lnTo>
                  <a:lnTo>
                    <a:pt x="2108" y="871"/>
                  </a:lnTo>
                  <a:lnTo>
                    <a:pt x="2107" y="868"/>
                  </a:lnTo>
                  <a:lnTo>
                    <a:pt x="2095" y="863"/>
                  </a:lnTo>
                  <a:lnTo>
                    <a:pt x="2097" y="859"/>
                  </a:lnTo>
                  <a:lnTo>
                    <a:pt x="2098" y="858"/>
                  </a:lnTo>
                  <a:lnTo>
                    <a:pt x="2098" y="858"/>
                  </a:lnTo>
                  <a:lnTo>
                    <a:pt x="2098" y="858"/>
                  </a:lnTo>
                  <a:lnTo>
                    <a:pt x="2098" y="858"/>
                  </a:lnTo>
                  <a:lnTo>
                    <a:pt x="2099" y="853"/>
                  </a:lnTo>
                  <a:lnTo>
                    <a:pt x="2102" y="852"/>
                  </a:lnTo>
                  <a:lnTo>
                    <a:pt x="2105" y="849"/>
                  </a:lnTo>
                  <a:lnTo>
                    <a:pt x="2107" y="849"/>
                  </a:lnTo>
                  <a:lnTo>
                    <a:pt x="2107" y="849"/>
                  </a:lnTo>
                  <a:lnTo>
                    <a:pt x="2111" y="849"/>
                  </a:lnTo>
                  <a:lnTo>
                    <a:pt x="2111" y="849"/>
                  </a:lnTo>
                  <a:lnTo>
                    <a:pt x="2115" y="848"/>
                  </a:lnTo>
                  <a:lnTo>
                    <a:pt x="2115" y="848"/>
                  </a:lnTo>
                  <a:lnTo>
                    <a:pt x="2117" y="846"/>
                  </a:lnTo>
                  <a:lnTo>
                    <a:pt x="2117" y="846"/>
                  </a:lnTo>
                  <a:lnTo>
                    <a:pt x="2118" y="845"/>
                  </a:lnTo>
                  <a:lnTo>
                    <a:pt x="2122" y="845"/>
                  </a:lnTo>
                  <a:lnTo>
                    <a:pt x="2122" y="845"/>
                  </a:lnTo>
                  <a:lnTo>
                    <a:pt x="2125" y="843"/>
                  </a:lnTo>
                  <a:lnTo>
                    <a:pt x="2125" y="843"/>
                  </a:lnTo>
                  <a:lnTo>
                    <a:pt x="2129" y="842"/>
                  </a:lnTo>
                  <a:lnTo>
                    <a:pt x="2129" y="842"/>
                  </a:lnTo>
                  <a:lnTo>
                    <a:pt x="2132" y="841"/>
                  </a:lnTo>
                  <a:lnTo>
                    <a:pt x="2132" y="841"/>
                  </a:lnTo>
                  <a:lnTo>
                    <a:pt x="2135" y="841"/>
                  </a:lnTo>
                  <a:lnTo>
                    <a:pt x="2135" y="841"/>
                  </a:lnTo>
                  <a:lnTo>
                    <a:pt x="2137" y="841"/>
                  </a:lnTo>
                  <a:lnTo>
                    <a:pt x="2139" y="842"/>
                  </a:lnTo>
                  <a:lnTo>
                    <a:pt x="2139" y="842"/>
                  </a:lnTo>
                  <a:lnTo>
                    <a:pt x="2142" y="845"/>
                  </a:lnTo>
                  <a:lnTo>
                    <a:pt x="2145" y="848"/>
                  </a:lnTo>
                  <a:lnTo>
                    <a:pt x="2148" y="848"/>
                  </a:lnTo>
                  <a:lnTo>
                    <a:pt x="2148" y="848"/>
                  </a:lnTo>
                  <a:lnTo>
                    <a:pt x="2154" y="846"/>
                  </a:lnTo>
                  <a:lnTo>
                    <a:pt x="2152" y="846"/>
                  </a:lnTo>
                  <a:lnTo>
                    <a:pt x="2147" y="845"/>
                  </a:lnTo>
                  <a:lnTo>
                    <a:pt x="2145" y="845"/>
                  </a:lnTo>
                  <a:lnTo>
                    <a:pt x="2144" y="796"/>
                  </a:lnTo>
                  <a:lnTo>
                    <a:pt x="2147" y="793"/>
                  </a:lnTo>
                  <a:lnTo>
                    <a:pt x="2148" y="793"/>
                  </a:lnTo>
                  <a:lnTo>
                    <a:pt x="2148" y="793"/>
                  </a:lnTo>
                  <a:lnTo>
                    <a:pt x="2148" y="793"/>
                  </a:lnTo>
                  <a:lnTo>
                    <a:pt x="2148" y="791"/>
                  </a:lnTo>
                  <a:lnTo>
                    <a:pt x="2148" y="791"/>
                  </a:lnTo>
                  <a:lnTo>
                    <a:pt x="2148" y="791"/>
                  </a:lnTo>
                  <a:lnTo>
                    <a:pt x="2149" y="788"/>
                  </a:lnTo>
                  <a:lnTo>
                    <a:pt x="2152" y="786"/>
                  </a:lnTo>
                  <a:lnTo>
                    <a:pt x="2152" y="786"/>
                  </a:lnTo>
                  <a:lnTo>
                    <a:pt x="2155" y="786"/>
                  </a:lnTo>
                  <a:lnTo>
                    <a:pt x="2158" y="788"/>
                  </a:lnTo>
                  <a:lnTo>
                    <a:pt x="2158" y="788"/>
                  </a:lnTo>
                  <a:lnTo>
                    <a:pt x="2162" y="791"/>
                  </a:lnTo>
                  <a:lnTo>
                    <a:pt x="2162" y="791"/>
                  </a:lnTo>
                  <a:lnTo>
                    <a:pt x="2165" y="792"/>
                  </a:lnTo>
                  <a:lnTo>
                    <a:pt x="2169" y="793"/>
                  </a:lnTo>
                  <a:lnTo>
                    <a:pt x="2172" y="795"/>
                  </a:lnTo>
                  <a:lnTo>
                    <a:pt x="2172" y="795"/>
                  </a:lnTo>
                  <a:lnTo>
                    <a:pt x="2179" y="795"/>
                  </a:lnTo>
                  <a:lnTo>
                    <a:pt x="2179" y="795"/>
                  </a:lnTo>
                  <a:lnTo>
                    <a:pt x="2184" y="795"/>
                  </a:lnTo>
                  <a:lnTo>
                    <a:pt x="2184" y="795"/>
                  </a:lnTo>
                  <a:lnTo>
                    <a:pt x="2187" y="793"/>
                  </a:lnTo>
                  <a:lnTo>
                    <a:pt x="2192" y="793"/>
                  </a:lnTo>
                  <a:lnTo>
                    <a:pt x="2192" y="793"/>
                  </a:lnTo>
                  <a:lnTo>
                    <a:pt x="2195" y="795"/>
                  </a:lnTo>
                  <a:lnTo>
                    <a:pt x="2197" y="796"/>
                  </a:lnTo>
                  <a:lnTo>
                    <a:pt x="2197" y="796"/>
                  </a:lnTo>
                  <a:lnTo>
                    <a:pt x="2197" y="798"/>
                  </a:lnTo>
                  <a:lnTo>
                    <a:pt x="2197" y="798"/>
                  </a:lnTo>
                  <a:lnTo>
                    <a:pt x="2197" y="798"/>
                  </a:lnTo>
                  <a:lnTo>
                    <a:pt x="2197" y="798"/>
                  </a:lnTo>
                  <a:lnTo>
                    <a:pt x="2198" y="796"/>
                  </a:lnTo>
                  <a:lnTo>
                    <a:pt x="2198" y="796"/>
                  </a:lnTo>
                  <a:lnTo>
                    <a:pt x="2204" y="796"/>
                  </a:lnTo>
                  <a:lnTo>
                    <a:pt x="2205" y="795"/>
                  </a:lnTo>
                  <a:lnTo>
                    <a:pt x="2204" y="789"/>
                  </a:lnTo>
                  <a:lnTo>
                    <a:pt x="2202" y="785"/>
                  </a:lnTo>
                  <a:lnTo>
                    <a:pt x="2198" y="780"/>
                  </a:lnTo>
                  <a:lnTo>
                    <a:pt x="2191" y="772"/>
                  </a:lnTo>
                  <a:lnTo>
                    <a:pt x="2189" y="766"/>
                  </a:lnTo>
                  <a:lnTo>
                    <a:pt x="2191" y="762"/>
                  </a:lnTo>
                  <a:lnTo>
                    <a:pt x="2194" y="760"/>
                  </a:lnTo>
                  <a:lnTo>
                    <a:pt x="2194" y="760"/>
                  </a:lnTo>
                  <a:lnTo>
                    <a:pt x="2194" y="760"/>
                  </a:lnTo>
                  <a:lnTo>
                    <a:pt x="2194" y="760"/>
                  </a:lnTo>
                  <a:lnTo>
                    <a:pt x="2194" y="758"/>
                  </a:lnTo>
                  <a:lnTo>
                    <a:pt x="2194" y="758"/>
                  </a:lnTo>
                  <a:lnTo>
                    <a:pt x="2197" y="755"/>
                  </a:lnTo>
                  <a:lnTo>
                    <a:pt x="2199" y="755"/>
                  </a:lnTo>
                  <a:lnTo>
                    <a:pt x="2201" y="755"/>
                  </a:lnTo>
                  <a:lnTo>
                    <a:pt x="2201" y="755"/>
                  </a:lnTo>
                  <a:lnTo>
                    <a:pt x="2208" y="755"/>
                  </a:lnTo>
                  <a:lnTo>
                    <a:pt x="2208" y="755"/>
                  </a:lnTo>
                  <a:lnTo>
                    <a:pt x="2211" y="755"/>
                  </a:lnTo>
                  <a:lnTo>
                    <a:pt x="2211" y="755"/>
                  </a:lnTo>
                  <a:lnTo>
                    <a:pt x="2212" y="755"/>
                  </a:lnTo>
                  <a:lnTo>
                    <a:pt x="2211" y="753"/>
                  </a:lnTo>
                  <a:lnTo>
                    <a:pt x="2208" y="750"/>
                  </a:lnTo>
                  <a:lnTo>
                    <a:pt x="2208" y="748"/>
                  </a:lnTo>
                  <a:lnTo>
                    <a:pt x="2209" y="745"/>
                  </a:lnTo>
                  <a:lnTo>
                    <a:pt x="2212" y="740"/>
                  </a:lnTo>
                  <a:lnTo>
                    <a:pt x="2215" y="738"/>
                  </a:lnTo>
                  <a:lnTo>
                    <a:pt x="2215" y="738"/>
                  </a:lnTo>
                  <a:lnTo>
                    <a:pt x="2215" y="738"/>
                  </a:lnTo>
                  <a:lnTo>
                    <a:pt x="2215" y="738"/>
                  </a:lnTo>
                  <a:lnTo>
                    <a:pt x="2215" y="736"/>
                  </a:lnTo>
                  <a:lnTo>
                    <a:pt x="2214" y="736"/>
                  </a:lnTo>
                  <a:lnTo>
                    <a:pt x="2214" y="736"/>
                  </a:lnTo>
                  <a:lnTo>
                    <a:pt x="2214" y="736"/>
                  </a:lnTo>
                  <a:lnTo>
                    <a:pt x="2215" y="736"/>
                  </a:lnTo>
                  <a:lnTo>
                    <a:pt x="2215" y="736"/>
                  </a:lnTo>
                  <a:lnTo>
                    <a:pt x="2215" y="736"/>
                  </a:lnTo>
                  <a:lnTo>
                    <a:pt x="2215" y="736"/>
                  </a:lnTo>
                  <a:lnTo>
                    <a:pt x="2218" y="733"/>
                  </a:lnTo>
                  <a:lnTo>
                    <a:pt x="2218" y="733"/>
                  </a:lnTo>
                  <a:lnTo>
                    <a:pt x="2221" y="732"/>
                  </a:lnTo>
                  <a:lnTo>
                    <a:pt x="2221" y="730"/>
                  </a:lnTo>
                  <a:lnTo>
                    <a:pt x="2222" y="729"/>
                  </a:lnTo>
                  <a:lnTo>
                    <a:pt x="2224" y="729"/>
                  </a:lnTo>
                  <a:lnTo>
                    <a:pt x="2227" y="730"/>
                  </a:lnTo>
                  <a:lnTo>
                    <a:pt x="2225" y="732"/>
                  </a:lnTo>
                  <a:lnTo>
                    <a:pt x="2225" y="732"/>
                  </a:lnTo>
                  <a:lnTo>
                    <a:pt x="2225" y="732"/>
                  </a:lnTo>
                  <a:lnTo>
                    <a:pt x="2225" y="732"/>
                  </a:lnTo>
                  <a:lnTo>
                    <a:pt x="2227" y="733"/>
                  </a:lnTo>
                  <a:lnTo>
                    <a:pt x="2227" y="733"/>
                  </a:lnTo>
                  <a:lnTo>
                    <a:pt x="2230" y="735"/>
                  </a:lnTo>
                  <a:lnTo>
                    <a:pt x="2230" y="736"/>
                  </a:lnTo>
                  <a:lnTo>
                    <a:pt x="2235" y="738"/>
                  </a:lnTo>
                  <a:lnTo>
                    <a:pt x="2237" y="738"/>
                  </a:lnTo>
                  <a:lnTo>
                    <a:pt x="2237" y="738"/>
                  </a:lnTo>
                  <a:lnTo>
                    <a:pt x="2237" y="738"/>
                  </a:lnTo>
                  <a:lnTo>
                    <a:pt x="2237" y="738"/>
                  </a:lnTo>
                  <a:lnTo>
                    <a:pt x="2237" y="732"/>
                  </a:lnTo>
                  <a:lnTo>
                    <a:pt x="2240" y="730"/>
                  </a:lnTo>
                  <a:lnTo>
                    <a:pt x="2240" y="730"/>
                  </a:lnTo>
                  <a:lnTo>
                    <a:pt x="2247" y="729"/>
                  </a:lnTo>
                  <a:lnTo>
                    <a:pt x="2247" y="729"/>
                  </a:lnTo>
                  <a:lnTo>
                    <a:pt x="2251" y="730"/>
                  </a:lnTo>
                  <a:lnTo>
                    <a:pt x="2254" y="732"/>
                  </a:lnTo>
                  <a:lnTo>
                    <a:pt x="2257" y="732"/>
                  </a:lnTo>
                  <a:lnTo>
                    <a:pt x="2260" y="729"/>
                  </a:lnTo>
                  <a:lnTo>
                    <a:pt x="2260" y="729"/>
                  </a:lnTo>
                  <a:lnTo>
                    <a:pt x="2262" y="725"/>
                  </a:lnTo>
                  <a:lnTo>
                    <a:pt x="2264" y="723"/>
                  </a:lnTo>
                  <a:lnTo>
                    <a:pt x="2267" y="722"/>
                  </a:lnTo>
                  <a:lnTo>
                    <a:pt x="2270" y="718"/>
                  </a:lnTo>
                  <a:lnTo>
                    <a:pt x="2270" y="718"/>
                  </a:lnTo>
                  <a:lnTo>
                    <a:pt x="2271" y="715"/>
                  </a:lnTo>
                  <a:lnTo>
                    <a:pt x="2271" y="713"/>
                  </a:lnTo>
                  <a:lnTo>
                    <a:pt x="2271" y="713"/>
                  </a:lnTo>
                  <a:lnTo>
                    <a:pt x="2274" y="712"/>
                  </a:lnTo>
                  <a:lnTo>
                    <a:pt x="2274" y="712"/>
                  </a:lnTo>
                  <a:lnTo>
                    <a:pt x="2280" y="709"/>
                  </a:lnTo>
                  <a:lnTo>
                    <a:pt x="2282" y="709"/>
                  </a:lnTo>
                  <a:lnTo>
                    <a:pt x="2285" y="709"/>
                  </a:lnTo>
                  <a:lnTo>
                    <a:pt x="2288" y="706"/>
                  </a:lnTo>
                  <a:lnTo>
                    <a:pt x="2288" y="706"/>
                  </a:lnTo>
                  <a:lnTo>
                    <a:pt x="2291" y="702"/>
                  </a:lnTo>
                  <a:lnTo>
                    <a:pt x="2295" y="698"/>
                  </a:lnTo>
                  <a:lnTo>
                    <a:pt x="2301" y="695"/>
                  </a:lnTo>
                  <a:lnTo>
                    <a:pt x="2308" y="693"/>
                  </a:lnTo>
                  <a:lnTo>
                    <a:pt x="2308" y="693"/>
                  </a:lnTo>
                  <a:lnTo>
                    <a:pt x="2318" y="692"/>
                  </a:lnTo>
                  <a:lnTo>
                    <a:pt x="2322" y="692"/>
                  </a:lnTo>
                  <a:lnTo>
                    <a:pt x="2328" y="695"/>
                  </a:lnTo>
                  <a:lnTo>
                    <a:pt x="2328" y="695"/>
                  </a:lnTo>
                  <a:lnTo>
                    <a:pt x="2331" y="696"/>
                  </a:lnTo>
                  <a:lnTo>
                    <a:pt x="2335" y="698"/>
                  </a:lnTo>
                  <a:lnTo>
                    <a:pt x="2344" y="698"/>
                  </a:lnTo>
                  <a:lnTo>
                    <a:pt x="2352" y="698"/>
                  </a:lnTo>
                  <a:lnTo>
                    <a:pt x="2358" y="698"/>
                  </a:lnTo>
                  <a:lnTo>
                    <a:pt x="2358" y="698"/>
                  </a:lnTo>
                  <a:lnTo>
                    <a:pt x="2360" y="699"/>
                  </a:lnTo>
                  <a:lnTo>
                    <a:pt x="2361" y="700"/>
                  </a:lnTo>
                  <a:lnTo>
                    <a:pt x="2364" y="706"/>
                  </a:lnTo>
                  <a:lnTo>
                    <a:pt x="2368" y="712"/>
                  </a:lnTo>
                  <a:lnTo>
                    <a:pt x="2371" y="713"/>
                  </a:lnTo>
                  <a:lnTo>
                    <a:pt x="2375" y="715"/>
                  </a:lnTo>
                  <a:lnTo>
                    <a:pt x="2375" y="715"/>
                  </a:lnTo>
                  <a:lnTo>
                    <a:pt x="2384" y="715"/>
                  </a:lnTo>
                  <a:lnTo>
                    <a:pt x="2394" y="712"/>
                  </a:lnTo>
                  <a:lnTo>
                    <a:pt x="2402" y="712"/>
                  </a:lnTo>
                  <a:lnTo>
                    <a:pt x="2408" y="712"/>
                  </a:lnTo>
                  <a:lnTo>
                    <a:pt x="2414" y="713"/>
                  </a:lnTo>
                  <a:lnTo>
                    <a:pt x="2414" y="713"/>
                  </a:lnTo>
                  <a:lnTo>
                    <a:pt x="2431" y="719"/>
                  </a:lnTo>
                  <a:lnTo>
                    <a:pt x="2437" y="720"/>
                  </a:lnTo>
                  <a:lnTo>
                    <a:pt x="2442" y="720"/>
                  </a:lnTo>
                  <a:lnTo>
                    <a:pt x="2442" y="720"/>
                  </a:lnTo>
                  <a:lnTo>
                    <a:pt x="2451" y="716"/>
                  </a:lnTo>
                  <a:lnTo>
                    <a:pt x="2452" y="715"/>
                  </a:lnTo>
                  <a:lnTo>
                    <a:pt x="2454" y="713"/>
                  </a:lnTo>
                  <a:lnTo>
                    <a:pt x="2452" y="710"/>
                  </a:lnTo>
                  <a:lnTo>
                    <a:pt x="2452" y="708"/>
                  </a:lnTo>
                  <a:lnTo>
                    <a:pt x="2452" y="708"/>
                  </a:lnTo>
                  <a:lnTo>
                    <a:pt x="2448" y="700"/>
                  </a:lnTo>
                  <a:lnTo>
                    <a:pt x="2442" y="696"/>
                  </a:lnTo>
                  <a:lnTo>
                    <a:pt x="2442" y="696"/>
                  </a:lnTo>
                  <a:lnTo>
                    <a:pt x="2438" y="693"/>
                  </a:lnTo>
                  <a:lnTo>
                    <a:pt x="2435" y="689"/>
                  </a:lnTo>
                  <a:lnTo>
                    <a:pt x="2434" y="686"/>
                  </a:lnTo>
                  <a:lnTo>
                    <a:pt x="2432" y="680"/>
                  </a:lnTo>
                  <a:lnTo>
                    <a:pt x="2432" y="680"/>
                  </a:lnTo>
                  <a:lnTo>
                    <a:pt x="2432" y="678"/>
                  </a:lnTo>
                  <a:lnTo>
                    <a:pt x="2434" y="675"/>
                  </a:lnTo>
                  <a:lnTo>
                    <a:pt x="2437" y="669"/>
                  </a:lnTo>
                  <a:lnTo>
                    <a:pt x="2440" y="665"/>
                  </a:lnTo>
                  <a:lnTo>
                    <a:pt x="2441" y="662"/>
                  </a:lnTo>
                  <a:lnTo>
                    <a:pt x="2440" y="660"/>
                  </a:lnTo>
                  <a:lnTo>
                    <a:pt x="2440" y="660"/>
                  </a:lnTo>
                  <a:lnTo>
                    <a:pt x="2438" y="658"/>
                  </a:lnTo>
                  <a:lnTo>
                    <a:pt x="2438" y="655"/>
                  </a:lnTo>
                  <a:lnTo>
                    <a:pt x="2441" y="652"/>
                  </a:lnTo>
                  <a:lnTo>
                    <a:pt x="2441" y="652"/>
                  </a:lnTo>
                  <a:lnTo>
                    <a:pt x="2442" y="652"/>
                  </a:lnTo>
                  <a:lnTo>
                    <a:pt x="2444" y="655"/>
                  </a:lnTo>
                  <a:lnTo>
                    <a:pt x="2448" y="656"/>
                  </a:lnTo>
                  <a:lnTo>
                    <a:pt x="2454" y="659"/>
                  </a:lnTo>
                  <a:lnTo>
                    <a:pt x="2454" y="659"/>
                  </a:lnTo>
                  <a:lnTo>
                    <a:pt x="2467" y="663"/>
                  </a:lnTo>
                  <a:lnTo>
                    <a:pt x="2472" y="665"/>
                  </a:lnTo>
                  <a:lnTo>
                    <a:pt x="2480" y="665"/>
                  </a:lnTo>
                  <a:lnTo>
                    <a:pt x="2480" y="665"/>
                  </a:lnTo>
                  <a:lnTo>
                    <a:pt x="2484" y="663"/>
                  </a:lnTo>
                  <a:lnTo>
                    <a:pt x="2488" y="665"/>
                  </a:lnTo>
                  <a:lnTo>
                    <a:pt x="2498" y="669"/>
                  </a:lnTo>
                  <a:lnTo>
                    <a:pt x="2498" y="669"/>
                  </a:lnTo>
                  <a:lnTo>
                    <a:pt x="2505" y="672"/>
                  </a:lnTo>
                  <a:lnTo>
                    <a:pt x="2512" y="673"/>
                  </a:lnTo>
                  <a:lnTo>
                    <a:pt x="2521" y="673"/>
                  </a:lnTo>
                  <a:lnTo>
                    <a:pt x="2521" y="673"/>
                  </a:lnTo>
                  <a:lnTo>
                    <a:pt x="2522" y="673"/>
                  </a:lnTo>
                  <a:lnTo>
                    <a:pt x="2524" y="675"/>
                  </a:lnTo>
                  <a:lnTo>
                    <a:pt x="2525" y="680"/>
                  </a:lnTo>
                  <a:lnTo>
                    <a:pt x="2528" y="686"/>
                  </a:lnTo>
                  <a:lnTo>
                    <a:pt x="2531" y="690"/>
                  </a:lnTo>
                  <a:lnTo>
                    <a:pt x="2531" y="690"/>
                  </a:lnTo>
                  <a:lnTo>
                    <a:pt x="2540" y="698"/>
                  </a:lnTo>
                  <a:lnTo>
                    <a:pt x="2544" y="699"/>
                  </a:lnTo>
                  <a:lnTo>
                    <a:pt x="2547" y="700"/>
                  </a:lnTo>
                  <a:lnTo>
                    <a:pt x="2547" y="700"/>
                  </a:lnTo>
                  <a:lnTo>
                    <a:pt x="2555" y="703"/>
                  </a:lnTo>
                  <a:lnTo>
                    <a:pt x="2570" y="708"/>
                  </a:lnTo>
                  <a:lnTo>
                    <a:pt x="2570" y="708"/>
                  </a:lnTo>
                  <a:lnTo>
                    <a:pt x="2581" y="712"/>
                  </a:lnTo>
                  <a:lnTo>
                    <a:pt x="2585" y="712"/>
                  </a:lnTo>
                  <a:lnTo>
                    <a:pt x="2590" y="709"/>
                  </a:lnTo>
                  <a:lnTo>
                    <a:pt x="2590" y="709"/>
                  </a:lnTo>
                  <a:lnTo>
                    <a:pt x="2594" y="705"/>
                  </a:lnTo>
                  <a:lnTo>
                    <a:pt x="2601" y="703"/>
                  </a:lnTo>
                  <a:lnTo>
                    <a:pt x="2613" y="700"/>
                  </a:lnTo>
                  <a:lnTo>
                    <a:pt x="2613" y="700"/>
                  </a:lnTo>
                  <a:lnTo>
                    <a:pt x="2615" y="700"/>
                  </a:lnTo>
                  <a:lnTo>
                    <a:pt x="2617" y="700"/>
                  </a:lnTo>
                  <a:lnTo>
                    <a:pt x="2620" y="703"/>
                  </a:lnTo>
                  <a:lnTo>
                    <a:pt x="2621" y="706"/>
                  </a:lnTo>
                  <a:lnTo>
                    <a:pt x="2623" y="706"/>
                  </a:lnTo>
                  <a:lnTo>
                    <a:pt x="2625" y="706"/>
                  </a:lnTo>
                  <a:lnTo>
                    <a:pt x="2625" y="706"/>
                  </a:lnTo>
                  <a:lnTo>
                    <a:pt x="2630" y="703"/>
                  </a:lnTo>
                  <a:lnTo>
                    <a:pt x="2634" y="702"/>
                  </a:lnTo>
                  <a:lnTo>
                    <a:pt x="2638" y="702"/>
                  </a:lnTo>
                  <a:lnTo>
                    <a:pt x="2644" y="705"/>
                  </a:lnTo>
                  <a:lnTo>
                    <a:pt x="2644" y="705"/>
                  </a:lnTo>
                  <a:lnTo>
                    <a:pt x="2654" y="712"/>
                  </a:lnTo>
                  <a:lnTo>
                    <a:pt x="2658" y="713"/>
                  </a:lnTo>
                  <a:lnTo>
                    <a:pt x="2664" y="715"/>
                  </a:lnTo>
                  <a:lnTo>
                    <a:pt x="2664" y="715"/>
                  </a:lnTo>
                  <a:lnTo>
                    <a:pt x="2670" y="713"/>
                  </a:lnTo>
                  <a:lnTo>
                    <a:pt x="2674" y="713"/>
                  </a:lnTo>
                  <a:lnTo>
                    <a:pt x="2675" y="712"/>
                  </a:lnTo>
                  <a:lnTo>
                    <a:pt x="2678" y="715"/>
                  </a:lnTo>
                  <a:lnTo>
                    <a:pt x="2678" y="715"/>
                  </a:lnTo>
                  <a:lnTo>
                    <a:pt x="2678" y="718"/>
                  </a:lnTo>
                  <a:lnTo>
                    <a:pt x="2678" y="720"/>
                  </a:lnTo>
                  <a:lnTo>
                    <a:pt x="2678" y="723"/>
                  </a:lnTo>
                  <a:lnTo>
                    <a:pt x="2683" y="725"/>
                  </a:lnTo>
                  <a:lnTo>
                    <a:pt x="2683" y="725"/>
                  </a:lnTo>
                  <a:lnTo>
                    <a:pt x="2690" y="730"/>
                  </a:lnTo>
                  <a:lnTo>
                    <a:pt x="2694" y="732"/>
                  </a:lnTo>
                  <a:lnTo>
                    <a:pt x="2698" y="732"/>
                  </a:lnTo>
                  <a:lnTo>
                    <a:pt x="2698" y="732"/>
                  </a:lnTo>
                  <a:lnTo>
                    <a:pt x="2704" y="733"/>
                  </a:lnTo>
                  <a:lnTo>
                    <a:pt x="2710" y="735"/>
                  </a:lnTo>
                  <a:lnTo>
                    <a:pt x="2715" y="736"/>
                  </a:lnTo>
                  <a:lnTo>
                    <a:pt x="2723" y="738"/>
                  </a:lnTo>
                  <a:lnTo>
                    <a:pt x="2723" y="738"/>
                  </a:lnTo>
                  <a:lnTo>
                    <a:pt x="2735" y="739"/>
                  </a:lnTo>
                  <a:lnTo>
                    <a:pt x="2741" y="739"/>
                  </a:lnTo>
                  <a:lnTo>
                    <a:pt x="2747" y="738"/>
                  </a:lnTo>
                  <a:lnTo>
                    <a:pt x="2747" y="738"/>
                  </a:lnTo>
                  <a:lnTo>
                    <a:pt x="2751" y="736"/>
                  </a:lnTo>
                  <a:lnTo>
                    <a:pt x="2753" y="736"/>
                  </a:lnTo>
                  <a:lnTo>
                    <a:pt x="2753" y="738"/>
                  </a:lnTo>
                  <a:lnTo>
                    <a:pt x="2755" y="736"/>
                  </a:lnTo>
                  <a:lnTo>
                    <a:pt x="2755" y="736"/>
                  </a:lnTo>
                  <a:lnTo>
                    <a:pt x="2755" y="735"/>
                  </a:lnTo>
                  <a:lnTo>
                    <a:pt x="2757" y="732"/>
                  </a:lnTo>
                  <a:lnTo>
                    <a:pt x="2760" y="730"/>
                  </a:lnTo>
                  <a:lnTo>
                    <a:pt x="2760" y="730"/>
                  </a:lnTo>
                  <a:lnTo>
                    <a:pt x="2768" y="730"/>
                  </a:lnTo>
                  <a:lnTo>
                    <a:pt x="2774" y="730"/>
                  </a:lnTo>
                  <a:lnTo>
                    <a:pt x="2777" y="730"/>
                  </a:lnTo>
                  <a:lnTo>
                    <a:pt x="2777" y="730"/>
                  </a:lnTo>
                  <a:lnTo>
                    <a:pt x="2783" y="728"/>
                  </a:lnTo>
                  <a:lnTo>
                    <a:pt x="2791" y="726"/>
                  </a:lnTo>
                  <a:lnTo>
                    <a:pt x="2791" y="726"/>
                  </a:lnTo>
                  <a:lnTo>
                    <a:pt x="2795" y="725"/>
                  </a:lnTo>
                  <a:lnTo>
                    <a:pt x="2797" y="723"/>
                  </a:lnTo>
                  <a:lnTo>
                    <a:pt x="2798" y="720"/>
                  </a:lnTo>
                  <a:lnTo>
                    <a:pt x="2800" y="716"/>
                  </a:lnTo>
                  <a:lnTo>
                    <a:pt x="2800" y="716"/>
                  </a:lnTo>
                  <a:lnTo>
                    <a:pt x="2805" y="709"/>
                  </a:lnTo>
                  <a:lnTo>
                    <a:pt x="2808" y="708"/>
                  </a:lnTo>
                  <a:lnTo>
                    <a:pt x="2813" y="706"/>
                  </a:lnTo>
                  <a:lnTo>
                    <a:pt x="2813" y="706"/>
                  </a:lnTo>
                  <a:lnTo>
                    <a:pt x="2824" y="705"/>
                  </a:lnTo>
                  <a:lnTo>
                    <a:pt x="2828" y="705"/>
                  </a:lnTo>
                  <a:lnTo>
                    <a:pt x="2833" y="708"/>
                  </a:lnTo>
                  <a:lnTo>
                    <a:pt x="2833" y="708"/>
                  </a:lnTo>
                  <a:lnTo>
                    <a:pt x="2835" y="710"/>
                  </a:lnTo>
                  <a:lnTo>
                    <a:pt x="2835" y="713"/>
                  </a:lnTo>
                  <a:lnTo>
                    <a:pt x="2837" y="716"/>
                  </a:lnTo>
                  <a:lnTo>
                    <a:pt x="2843" y="716"/>
                  </a:lnTo>
                  <a:lnTo>
                    <a:pt x="2843" y="716"/>
                  </a:lnTo>
                  <a:lnTo>
                    <a:pt x="2848" y="716"/>
                  </a:lnTo>
                  <a:lnTo>
                    <a:pt x="2851" y="716"/>
                  </a:lnTo>
                  <a:lnTo>
                    <a:pt x="2854" y="715"/>
                  </a:lnTo>
                  <a:lnTo>
                    <a:pt x="2860" y="713"/>
                  </a:lnTo>
                  <a:lnTo>
                    <a:pt x="2860" y="713"/>
                  </a:lnTo>
                  <a:lnTo>
                    <a:pt x="2865" y="713"/>
                  </a:lnTo>
                  <a:lnTo>
                    <a:pt x="2868" y="715"/>
                  </a:lnTo>
                  <a:lnTo>
                    <a:pt x="2871" y="716"/>
                  </a:lnTo>
                  <a:lnTo>
                    <a:pt x="2873" y="718"/>
                  </a:lnTo>
                  <a:lnTo>
                    <a:pt x="2873" y="718"/>
                  </a:lnTo>
                  <a:lnTo>
                    <a:pt x="2875" y="720"/>
                  </a:lnTo>
                  <a:lnTo>
                    <a:pt x="2884" y="725"/>
                  </a:lnTo>
                  <a:lnTo>
                    <a:pt x="2884" y="725"/>
                  </a:lnTo>
                  <a:lnTo>
                    <a:pt x="2885" y="722"/>
                  </a:lnTo>
                  <a:lnTo>
                    <a:pt x="2884" y="725"/>
                  </a:lnTo>
                  <a:lnTo>
                    <a:pt x="2884" y="725"/>
                  </a:lnTo>
                  <a:lnTo>
                    <a:pt x="2894" y="729"/>
                  </a:lnTo>
                  <a:lnTo>
                    <a:pt x="2900" y="729"/>
                  </a:lnTo>
                  <a:lnTo>
                    <a:pt x="2905" y="728"/>
                  </a:lnTo>
                  <a:lnTo>
                    <a:pt x="2905" y="728"/>
                  </a:lnTo>
                  <a:lnTo>
                    <a:pt x="2907" y="728"/>
                  </a:lnTo>
                  <a:lnTo>
                    <a:pt x="2907" y="728"/>
                  </a:lnTo>
                  <a:lnTo>
                    <a:pt x="2913" y="723"/>
                  </a:lnTo>
                  <a:lnTo>
                    <a:pt x="2915" y="720"/>
                  </a:lnTo>
                  <a:lnTo>
                    <a:pt x="2918" y="718"/>
                  </a:lnTo>
                  <a:lnTo>
                    <a:pt x="2923" y="715"/>
                  </a:lnTo>
                  <a:lnTo>
                    <a:pt x="2923" y="715"/>
                  </a:lnTo>
                  <a:lnTo>
                    <a:pt x="2928" y="712"/>
                  </a:lnTo>
                  <a:lnTo>
                    <a:pt x="2930" y="709"/>
                  </a:lnTo>
                  <a:lnTo>
                    <a:pt x="2928" y="706"/>
                  </a:lnTo>
                  <a:lnTo>
                    <a:pt x="2925" y="703"/>
                  </a:lnTo>
                  <a:lnTo>
                    <a:pt x="2925" y="703"/>
                  </a:lnTo>
                  <a:lnTo>
                    <a:pt x="2921" y="698"/>
                  </a:lnTo>
                  <a:lnTo>
                    <a:pt x="2917" y="688"/>
                  </a:lnTo>
                  <a:lnTo>
                    <a:pt x="2915" y="682"/>
                  </a:lnTo>
                  <a:lnTo>
                    <a:pt x="2915" y="676"/>
                  </a:lnTo>
                  <a:lnTo>
                    <a:pt x="2915" y="672"/>
                  </a:lnTo>
                  <a:lnTo>
                    <a:pt x="2918" y="666"/>
                  </a:lnTo>
                  <a:lnTo>
                    <a:pt x="2918" y="666"/>
                  </a:lnTo>
                  <a:lnTo>
                    <a:pt x="2921" y="662"/>
                  </a:lnTo>
                  <a:lnTo>
                    <a:pt x="2923" y="659"/>
                  </a:lnTo>
                  <a:lnTo>
                    <a:pt x="2924" y="650"/>
                  </a:lnTo>
                  <a:lnTo>
                    <a:pt x="2923" y="646"/>
                  </a:lnTo>
                  <a:lnTo>
                    <a:pt x="2923" y="643"/>
                  </a:lnTo>
                  <a:lnTo>
                    <a:pt x="2908" y="639"/>
                  </a:lnTo>
                  <a:lnTo>
                    <a:pt x="2908" y="639"/>
                  </a:lnTo>
                  <a:lnTo>
                    <a:pt x="2907" y="639"/>
                  </a:lnTo>
                  <a:lnTo>
                    <a:pt x="2907" y="639"/>
                  </a:lnTo>
                  <a:lnTo>
                    <a:pt x="2905" y="639"/>
                  </a:lnTo>
                  <a:lnTo>
                    <a:pt x="2905" y="639"/>
                  </a:lnTo>
                  <a:lnTo>
                    <a:pt x="2903" y="640"/>
                  </a:lnTo>
                  <a:lnTo>
                    <a:pt x="2900" y="640"/>
                  </a:lnTo>
                  <a:lnTo>
                    <a:pt x="2898" y="639"/>
                  </a:lnTo>
                  <a:lnTo>
                    <a:pt x="2898" y="639"/>
                  </a:lnTo>
                  <a:lnTo>
                    <a:pt x="2897" y="636"/>
                  </a:lnTo>
                  <a:lnTo>
                    <a:pt x="2898" y="635"/>
                  </a:lnTo>
                  <a:lnTo>
                    <a:pt x="2901" y="633"/>
                  </a:lnTo>
                  <a:lnTo>
                    <a:pt x="2904" y="629"/>
                  </a:lnTo>
                  <a:lnTo>
                    <a:pt x="2904" y="629"/>
                  </a:lnTo>
                  <a:lnTo>
                    <a:pt x="2907" y="622"/>
                  </a:lnTo>
                  <a:lnTo>
                    <a:pt x="2910" y="622"/>
                  </a:lnTo>
                  <a:lnTo>
                    <a:pt x="2913" y="620"/>
                  </a:lnTo>
                  <a:lnTo>
                    <a:pt x="2913" y="620"/>
                  </a:lnTo>
                  <a:lnTo>
                    <a:pt x="2915" y="620"/>
                  </a:lnTo>
                  <a:lnTo>
                    <a:pt x="2917" y="619"/>
                  </a:lnTo>
                  <a:lnTo>
                    <a:pt x="2925" y="620"/>
                  </a:lnTo>
                  <a:lnTo>
                    <a:pt x="2938" y="620"/>
                  </a:lnTo>
                  <a:lnTo>
                    <a:pt x="2938" y="620"/>
                  </a:lnTo>
                  <a:lnTo>
                    <a:pt x="2943" y="619"/>
                  </a:lnTo>
                  <a:lnTo>
                    <a:pt x="2943" y="619"/>
                  </a:lnTo>
                  <a:lnTo>
                    <a:pt x="2950" y="613"/>
                  </a:lnTo>
                  <a:lnTo>
                    <a:pt x="2953" y="612"/>
                  </a:lnTo>
                  <a:lnTo>
                    <a:pt x="2957" y="612"/>
                  </a:lnTo>
                  <a:lnTo>
                    <a:pt x="2957" y="612"/>
                  </a:lnTo>
                  <a:lnTo>
                    <a:pt x="2961" y="612"/>
                  </a:lnTo>
                  <a:lnTo>
                    <a:pt x="2970" y="613"/>
                  </a:lnTo>
                  <a:lnTo>
                    <a:pt x="2983" y="623"/>
                  </a:lnTo>
                  <a:lnTo>
                    <a:pt x="2990" y="625"/>
                  </a:lnTo>
                  <a:lnTo>
                    <a:pt x="2998" y="625"/>
                  </a:lnTo>
                  <a:lnTo>
                    <a:pt x="3014" y="623"/>
                  </a:lnTo>
                  <a:lnTo>
                    <a:pt x="3020" y="626"/>
                  </a:lnTo>
                  <a:lnTo>
                    <a:pt x="3033" y="633"/>
                  </a:lnTo>
                  <a:lnTo>
                    <a:pt x="3046" y="642"/>
                  </a:lnTo>
                  <a:lnTo>
                    <a:pt x="3056" y="648"/>
                  </a:lnTo>
                  <a:lnTo>
                    <a:pt x="3073" y="665"/>
                  </a:lnTo>
                  <a:lnTo>
                    <a:pt x="3086" y="679"/>
                  </a:lnTo>
                  <a:lnTo>
                    <a:pt x="3094" y="686"/>
                  </a:lnTo>
                  <a:lnTo>
                    <a:pt x="3106" y="693"/>
                  </a:lnTo>
                  <a:lnTo>
                    <a:pt x="3108" y="696"/>
                  </a:lnTo>
                  <a:lnTo>
                    <a:pt x="3114" y="703"/>
                  </a:lnTo>
                  <a:lnTo>
                    <a:pt x="3121" y="710"/>
                  </a:lnTo>
                  <a:lnTo>
                    <a:pt x="3124" y="720"/>
                  </a:lnTo>
                  <a:lnTo>
                    <a:pt x="3127" y="722"/>
                  </a:lnTo>
                  <a:lnTo>
                    <a:pt x="3131" y="723"/>
                  </a:lnTo>
                  <a:lnTo>
                    <a:pt x="3131" y="723"/>
                  </a:lnTo>
                  <a:lnTo>
                    <a:pt x="3140" y="723"/>
                  </a:lnTo>
                  <a:lnTo>
                    <a:pt x="3143" y="723"/>
                  </a:lnTo>
                  <a:lnTo>
                    <a:pt x="3148" y="723"/>
                  </a:lnTo>
                  <a:lnTo>
                    <a:pt x="3157" y="726"/>
                  </a:lnTo>
                  <a:lnTo>
                    <a:pt x="3164" y="730"/>
                  </a:lnTo>
                  <a:lnTo>
                    <a:pt x="3176" y="735"/>
                  </a:lnTo>
                  <a:lnTo>
                    <a:pt x="3188" y="736"/>
                  </a:lnTo>
                  <a:lnTo>
                    <a:pt x="3201" y="743"/>
                  </a:lnTo>
                  <a:lnTo>
                    <a:pt x="3204" y="745"/>
                  </a:lnTo>
                  <a:lnTo>
                    <a:pt x="3207" y="743"/>
                  </a:lnTo>
                  <a:lnTo>
                    <a:pt x="3213" y="750"/>
                  </a:lnTo>
                  <a:lnTo>
                    <a:pt x="3216" y="756"/>
                  </a:lnTo>
                  <a:lnTo>
                    <a:pt x="3218" y="760"/>
                  </a:lnTo>
                  <a:lnTo>
                    <a:pt x="3220" y="760"/>
                  </a:lnTo>
                  <a:lnTo>
                    <a:pt x="3220" y="760"/>
                  </a:lnTo>
                  <a:lnTo>
                    <a:pt x="3221" y="759"/>
                  </a:lnTo>
                  <a:lnTo>
                    <a:pt x="3223" y="760"/>
                  </a:lnTo>
                  <a:lnTo>
                    <a:pt x="3224" y="762"/>
                  </a:lnTo>
                  <a:lnTo>
                    <a:pt x="3228" y="760"/>
                  </a:lnTo>
                  <a:lnTo>
                    <a:pt x="3230" y="760"/>
                  </a:lnTo>
                  <a:lnTo>
                    <a:pt x="3234" y="776"/>
                  </a:lnTo>
                  <a:lnTo>
                    <a:pt x="3238" y="782"/>
                  </a:lnTo>
                  <a:lnTo>
                    <a:pt x="3243" y="783"/>
                  </a:lnTo>
                  <a:lnTo>
                    <a:pt x="3243" y="783"/>
                  </a:lnTo>
                  <a:lnTo>
                    <a:pt x="3247" y="785"/>
                  </a:lnTo>
                  <a:lnTo>
                    <a:pt x="3248" y="785"/>
                  </a:lnTo>
                  <a:lnTo>
                    <a:pt x="3248" y="785"/>
                  </a:lnTo>
                  <a:lnTo>
                    <a:pt x="3248" y="785"/>
                  </a:lnTo>
                  <a:lnTo>
                    <a:pt x="3248" y="785"/>
                  </a:lnTo>
                  <a:lnTo>
                    <a:pt x="3257" y="785"/>
                  </a:lnTo>
                  <a:lnTo>
                    <a:pt x="3260" y="785"/>
                  </a:lnTo>
                  <a:lnTo>
                    <a:pt x="3263" y="783"/>
                  </a:lnTo>
                  <a:lnTo>
                    <a:pt x="3263" y="783"/>
                  </a:lnTo>
                  <a:lnTo>
                    <a:pt x="3268" y="776"/>
                  </a:lnTo>
                  <a:lnTo>
                    <a:pt x="3271" y="773"/>
                  </a:lnTo>
                  <a:lnTo>
                    <a:pt x="3276" y="770"/>
                  </a:lnTo>
                  <a:lnTo>
                    <a:pt x="3276" y="770"/>
                  </a:lnTo>
                  <a:lnTo>
                    <a:pt x="3283" y="769"/>
                  </a:lnTo>
                  <a:lnTo>
                    <a:pt x="3284" y="769"/>
                  </a:lnTo>
                  <a:lnTo>
                    <a:pt x="3287" y="765"/>
                  </a:lnTo>
                  <a:lnTo>
                    <a:pt x="3287" y="765"/>
                  </a:lnTo>
                  <a:lnTo>
                    <a:pt x="3290" y="762"/>
                  </a:lnTo>
                  <a:lnTo>
                    <a:pt x="3294" y="760"/>
                  </a:lnTo>
                  <a:lnTo>
                    <a:pt x="3300" y="762"/>
                  </a:lnTo>
                  <a:lnTo>
                    <a:pt x="3300" y="762"/>
                  </a:lnTo>
                  <a:lnTo>
                    <a:pt x="3307" y="762"/>
                  </a:lnTo>
                  <a:lnTo>
                    <a:pt x="3314" y="763"/>
                  </a:lnTo>
                  <a:lnTo>
                    <a:pt x="3317" y="766"/>
                  </a:lnTo>
                  <a:lnTo>
                    <a:pt x="3317" y="766"/>
                  </a:lnTo>
                  <a:lnTo>
                    <a:pt x="3319" y="772"/>
                  </a:lnTo>
                  <a:lnTo>
                    <a:pt x="3319" y="772"/>
                  </a:lnTo>
                  <a:lnTo>
                    <a:pt x="3321" y="775"/>
                  </a:lnTo>
                  <a:lnTo>
                    <a:pt x="3329" y="779"/>
                  </a:lnTo>
                  <a:lnTo>
                    <a:pt x="3329" y="783"/>
                  </a:lnTo>
                  <a:lnTo>
                    <a:pt x="3326" y="793"/>
                  </a:lnTo>
                  <a:lnTo>
                    <a:pt x="3326" y="801"/>
                  </a:lnTo>
                  <a:lnTo>
                    <a:pt x="3329" y="808"/>
                  </a:lnTo>
                  <a:lnTo>
                    <a:pt x="3333" y="812"/>
                  </a:lnTo>
                  <a:lnTo>
                    <a:pt x="3334" y="818"/>
                  </a:lnTo>
                  <a:lnTo>
                    <a:pt x="3331" y="841"/>
                  </a:lnTo>
                  <a:lnTo>
                    <a:pt x="3331" y="856"/>
                  </a:lnTo>
                  <a:lnTo>
                    <a:pt x="3331" y="859"/>
                  </a:lnTo>
                  <a:lnTo>
                    <a:pt x="3327" y="859"/>
                  </a:lnTo>
                  <a:lnTo>
                    <a:pt x="3326" y="858"/>
                  </a:lnTo>
                  <a:lnTo>
                    <a:pt x="3326" y="858"/>
                  </a:lnTo>
                  <a:lnTo>
                    <a:pt x="3323" y="859"/>
                  </a:lnTo>
                  <a:lnTo>
                    <a:pt x="3321" y="858"/>
                  </a:lnTo>
                  <a:lnTo>
                    <a:pt x="3314" y="855"/>
                  </a:lnTo>
                  <a:lnTo>
                    <a:pt x="3314" y="855"/>
                  </a:lnTo>
                  <a:lnTo>
                    <a:pt x="3304" y="851"/>
                  </a:lnTo>
                  <a:lnTo>
                    <a:pt x="3304" y="851"/>
                  </a:lnTo>
                  <a:lnTo>
                    <a:pt x="3300" y="856"/>
                  </a:lnTo>
                  <a:lnTo>
                    <a:pt x="3294" y="862"/>
                  </a:lnTo>
                  <a:lnTo>
                    <a:pt x="3291" y="863"/>
                  </a:lnTo>
                  <a:lnTo>
                    <a:pt x="3303" y="878"/>
                  </a:lnTo>
                  <a:lnTo>
                    <a:pt x="3307" y="881"/>
                  </a:lnTo>
                  <a:lnTo>
                    <a:pt x="3311" y="883"/>
                  </a:lnTo>
                  <a:lnTo>
                    <a:pt x="3314" y="898"/>
                  </a:lnTo>
                  <a:lnTo>
                    <a:pt x="3319" y="902"/>
                  </a:lnTo>
                  <a:lnTo>
                    <a:pt x="3323" y="906"/>
                  </a:lnTo>
                  <a:lnTo>
                    <a:pt x="3326" y="918"/>
                  </a:lnTo>
                  <a:lnTo>
                    <a:pt x="3323" y="919"/>
                  </a:lnTo>
                  <a:lnTo>
                    <a:pt x="3323" y="919"/>
                  </a:lnTo>
                  <a:lnTo>
                    <a:pt x="3319" y="919"/>
                  </a:lnTo>
                  <a:lnTo>
                    <a:pt x="3319" y="919"/>
                  </a:lnTo>
                  <a:lnTo>
                    <a:pt x="3317" y="919"/>
                  </a:lnTo>
                  <a:lnTo>
                    <a:pt x="3319" y="921"/>
                  </a:lnTo>
                  <a:lnTo>
                    <a:pt x="3319" y="921"/>
                  </a:lnTo>
                  <a:lnTo>
                    <a:pt x="3319" y="922"/>
                  </a:lnTo>
                  <a:lnTo>
                    <a:pt x="3319" y="923"/>
                  </a:lnTo>
                  <a:lnTo>
                    <a:pt x="3319" y="923"/>
                  </a:lnTo>
                  <a:lnTo>
                    <a:pt x="3319" y="923"/>
                  </a:lnTo>
                  <a:lnTo>
                    <a:pt x="3320" y="926"/>
                  </a:lnTo>
                  <a:lnTo>
                    <a:pt x="3320" y="926"/>
                  </a:lnTo>
                  <a:lnTo>
                    <a:pt x="3323" y="926"/>
                  </a:lnTo>
                  <a:lnTo>
                    <a:pt x="3323" y="926"/>
                  </a:lnTo>
                  <a:lnTo>
                    <a:pt x="3326" y="926"/>
                  </a:lnTo>
                  <a:lnTo>
                    <a:pt x="3327" y="923"/>
                  </a:lnTo>
                  <a:lnTo>
                    <a:pt x="3329" y="916"/>
                  </a:lnTo>
                  <a:lnTo>
                    <a:pt x="3329" y="916"/>
                  </a:lnTo>
                  <a:lnTo>
                    <a:pt x="3330" y="909"/>
                  </a:lnTo>
                  <a:lnTo>
                    <a:pt x="3330" y="906"/>
                  </a:lnTo>
                  <a:lnTo>
                    <a:pt x="3333" y="908"/>
                  </a:lnTo>
                  <a:lnTo>
                    <a:pt x="3333" y="908"/>
                  </a:lnTo>
                  <a:lnTo>
                    <a:pt x="3337" y="912"/>
                  </a:lnTo>
                  <a:lnTo>
                    <a:pt x="3340" y="912"/>
                  </a:lnTo>
                  <a:lnTo>
                    <a:pt x="3341" y="911"/>
                  </a:lnTo>
                  <a:lnTo>
                    <a:pt x="3341" y="911"/>
                  </a:lnTo>
                  <a:lnTo>
                    <a:pt x="3344" y="908"/>
                  </a:lnTo>
                  <a:lnTo>
                    <a:pt x="3346" y="909"/>
                  </a:lnTo>
                  <a:lnTo>
                    <a:pt x="3346" y="912"/>
                  </a:lnTo>
                  <a:lnTo>
                    <a:pt x="3346" y="912"/>
                  </a:lnTo>
                  <a:lnTo>
                    <a:pt x="3346" y="918"/>
                  </a:lnTo>
                  <a:lnTo>
                    <a:pt x="3347" y="919"/>
                  </a:lnTo>
                  <a:lnTo>
                    <a:pt x="3351" y="921"/>
                  </a:lnTo>
                  <a:lnTo>
                    <a:pt x="3351" y="921"/>
                  </a:lnTo>
                  <a:lnTo>
                    <a:pt x="3361" y="921"/>
                  </a:lnTo>
                  <a:lnTo>
                    <a:pt x="3366" y="922"/>
                  </a:lnTo>
                  <a:lnTo>
                    <a:pt x="3369" y="923"/>
                  </a:lnTo>
                  <a:lnTo>
                    <a:pt x="3369" y="923"/>
                  </a:lnTo>
                  <a:lnTo>
                    <a:pt x="3370" y="926"/>
                  </a:lnTo>
                  <a:lnTo>
                    <a:pt x="3371" y="928"/>
                  </a:lnTo>
                  <a:lnTo>
                    <a:pt x="3379" y="923"/>
                  </a:lnTo>
                  <a:lnTo>
                    <a:pt x="3379" y="923"/>
                  </a:lnTo>
                  <a:lnTo>
                    <a:pt x="3393" y="913"/>
                  </a:lnTo>
                  <a:lnTo>
                    <a:pt x="3399" y="909"/>
                  </a:lnTo>
                  <a:lnTo>
                    <a:pt x="3400" y="905"/>
                  </a:lnTo>
                  <a:lnTo>
                    <a:pt x="3401" y="902"/>
                  </a:lnTo>
                  <a:lnTo>
                    <a:pt x="3401" y="902"/>
                  </a:lnTo>
                  <a:lnTo>
                    <a:pt x="3404" y="886"/>
                  </a:lnTo>
                  <a:lnTo>
                    <a:pt x="3407" y="879"/>
                  </a:lnTo>
                  <a:lnTo>
                    <a:pt x="3409" y="875"/>
                  </a:lnTo>
                  <a:lnTo>
                    <a:pt x="3409" y="875"/>
                  </a:lnTo>
                  <a:lnTo>
                    <a:pt x="3411" y="872"/>
                  </a:lnTo>
                  <a:lnTo>
                    <a:pt x="3413" y="868"/>
                  </a:lnTo>
                  <a:lnTo>
                    <a:pt x="3413" y="858"/>
                  </a:lnTo>
                  <a:lnTo>
                    <a:pt x="3413" y="858"/>
                  </a:lnTo>
                  <a:lnTo>
                    <a:pt x="3414" y="853"/>
                  </a:lnTo>
                  <a:lnTo>
                    <a:pt x="3417" y="848"/>
                  </a:lnTo>
                  <a:lnTo>
                    <a:pt x="3420" y="842"/>
                  </a:lnTo>
                  <a:lnTo>
                    <a:pt x="3421" y="836"/>
                  </a:lnTo>
                  <a:lnTo>
                    <a:pt x="3421" y="836"/>
                  </a:lnTo>
                  <a:lnTo>
                    <a:pt x="3421" y="825"/>
                  </a:lnTo>
                  <a:lnTo>
                    <a:pt x="3421" y="809"/>
                  </a:lnTo>
                  <a:lnTo>
                    <a:pt x="3421" y="809"/>
                  </a:lnTo>
                  <a:lnTo>
                    <a:pt x="3420" y="795"/>
                  </a:lnTo>
                  <a:lnTo>
                    <a:pt x="3421" y="792"/>
                  </a:lnTo>
                  <a:lnTo>
                    <a:pt x="3421" y="789"/>
                  </a:lnTo>
                  <a:lnTo>
                    <a:pt x="3421" y="789"/>
                  </a:lnTo>
                  <a:lnTo>
                    <a:pt x="3423" y="786"/>
                  </a:lnTo>
                  <a:lnTo>
                    <a:pt x="3424" y="783"/>
                  </a:lnTo>
                  <a:lnTo>
                    <a:pt x="3426" y="773"/>
                  </a:lnTo>
                  <a:lnTo>
                    <a:pt x="3426" y="773"/>
                  </a:lnTo>
                  <a:lnTo>
                    <a:pt x="3427" y="765"/>
                  </a:lnTo>
                  <a:lnTo>
                    <a:pt x="3429" y="756"/>
                  </a:lnTo>
                  <a:lnTo>
                    <a:pt x="3429" y="756"/>
                  </a:lnTo>
                  <a:lnTo>
                    <a:pt x="3427" y="752"/>
                  </a:lnTo>
                  <a:lnTo>
                    <a:pt x="3424" y="748"/>
                  </a:lnTo>
                  <a:lnTo>
                    <a:pt x="3420" y="742"/>
                  </a:lnTo>
                  <a:lnTo>
                    <a:pt x="3419" y="736"/>
                  </a:lnTo>
                  <a:lnTo>
                    <a:pt x="3419" y="736"/>
                  </a:lnTo>
                  <a:lnTo>
                    <a:pt x="3417" y="728"/>
                  </a:lnTo>
                  <a:lnTo>
                    <a:pt x="3416" y="725"/>
                  </a:lnTo>
                  <a:lnTo>
                    <a:pt x="3413" y="722"/>
                  </a:lnTo>
                  <a:lnTo>
                    <a:pt x="3413" y="722"/>
                  </a:lnTo>
                  <a:lnTo>
                    <a:pt x="3409" y="719"/>
                  </a:lnTo>
                  <a:lnTo>
                    <a:pt x="3409" y="718"/>
                  </a:lnTo>
                  <a:lnTo>
                    <a:pt x="3407" y="715"/>
                  </a:lnTo>
                  <a:lnTo>
                    <a:pt x="3406" y="710"/>
                  </a:lnTo>
                  <a:lnTo>
                    <a:pt x="3406" y="710"/>
                  </a:lnTo>
                  <a:lnTo>
                    <a:pt x="3397" y="700"/>
                  </a:lnTo>
                  <a:lnTo>
                    <a:pt x="3393" y="695"/>
                  </a:lnTo>
                  <a:lnTo>
                    <a:pt x="3390" y="688"/>
                  </a:lnTo>
                  <a:lnTo>
                    <a:pt x="3390" y="688"/>
                  </a:lnTo>
                  <a:lnTo>
                    <a:pt x="3389" y="682"/>
                  </a:lnTo>
                  <a:lnTo>
                    <a:pt x="3387" y="679"/>
                  </a:lnTo>
                  <a:lnTo>
                    <a:pt x="3384" y="678"/>
                  </a:lnTo>
                  <a:lnTo>
                    <a:pt x="3384" y="678"/>
                  </a:lnTo>
                  <a:lnTo>
                    <a:pt x="3386" y="668"/>
                  </a:lnTo>
                  <a:lnTo>
                    <a:pt x="3386" y="662"/>
                  </a:lnTo>
                  <a:lnTo>
                    <a:pt x="3384" y="660"/>
                  </a:lnTo>
                  <a:lnTo>
                    <a:pt x="3384" y="659"/>
                  </a:lnTo>
                  <a:lnTo>
                    <a:pt x="3384" y="659"/>
                  </a:lnTo>
                  <a:lnTo>
                    <a:pt x="3377" y="655"/>
                  </a:lnTo>
                  <a:lnTo>
                    <a:pt x="3373" y="652"/>
                  </a:lnTo>
                  <a:lnTo>
                    <a:pt x="3370" y="649"/>
                  </a:lnTo>
                  <a:lnTo>
                    <a:pt x="3370" y="649"/>
                  </a:lnTo>
                  <a:lnTo>
                    <a:pt x="3369" y="646"/>
                  </a:lnTo>
                  <a:lnTo>
                    <a:pt x="3369" y="643"/>
                  </a:lnTo>
                  <a:lnTo>
                    <a:pt x="3369" y="642"/>
                  </a:lnTo>
                  <a:lnTo>
                    <a:pt x="3366" y="639"/>
                  </a:lnTo>
                  <a:lnTo>
                    <a:pt x="3366" y="639"/>
                  </a:lnTo>
                  <a:lnTo>
                    <a:pt x="3361" y="638"/>
                  </a:lnTo>
                  <a:lnTo>
                    <a:pt x="3356" y="636"/>
                  </a:lnTo>
                  <a:lnTo>
                    <a:pt x="3350" y="633"/>
                  </a:lnTo>
                  <a:lnTo>
                    <a:pt x="3346" y="630"/>
                  </a:lnTo>
                  <a:lnTo>
                    <a:pt x="3346" y="630"/>
                  </a:lnTo>
                  <a:lnTo>
                    <a:pt x="3346" y="629"/>
                  </a:lnTo>
                  <a:lnTo>
                    <a:pt x="3346" y="629"/>
                  </a:lnTo>
                  <a:lnTo>
                    <a:pt x="3351" y="629"/>
                  </a:lnTo>
                  <a:lnTo>
                    <a:pt x="3351" y="629"/>
                  </a:lnTo>
                  <a:lnTo>
                    <a:pt x="3356" y="630"/>
                  </a:lnTo>
                  <a:lnTo>
                    <a:pt x="3357" y="630"/>
                  </a:lnTo>
                  <a:lnTo>
                    <a:pt x="3359" y="629"/>
                  </a:lnTo>
                  <a:lnTo>
                    <a:pt x="3359" y="629"/>
                  </a:lnTo>
                  <a:lnTo>
                    <a:pt x="3359" y="628"/>
                  </a:lnTo>
                  <a:lnTo>
                    <a:pt x="3356" y="626"/>
                  </a:lnTo>
                  <a:lnTo>
                    <a:pt x="3344" y="619"/>
                  </a:lnTo>
                  <a:lnTo>
                    <a:pt x="3344" y="619"/>
                  </a:lnTo>
                  <a:lnTo>
                    <a:pt x="3339" y="616"/>
                  </a:lnTo>
                  <a:lnTo>
                    <a:pt x="3336" y="615"/>
                  </a:lnTo>
                  <a:lnTo>
                    <a:pt x="3333" y="615"/>
                  </a:lnTo>
                  <a:lnTo>
                    <a:pt x="3327" y="610"/>
                  </a:lnTo>
                  <a:lnTo>
                    <a:pt x="3327" y="610"/>
                  </a:lnTo>
                  <a:lnTo>
                    <a:pt x="3314" y="600"/>
                  </a:lnTo>
                  <a:lnTo>
                    <a:pt x="3304" y="595"/>
                  </a:lnTo>
                  <a:lnTo>
                    <a:pt x="3304" y="595"/>
                  </a:lnTo>
                  <a:lnTo>
                    <a:pt x="3300" y="593"/>
                  </a:lnTo>
                  <a:lnTo>
                    <a:pt x="3296" y="593"/>
                  </a:lnTo>
                  <a:lnTo>
                    <a:pt x="3290" y="595"/>
                  </a:lnTo>
                  <a:lnTo>
                    <a:pt x="3290" y="595"/>
                  </a:lnTo>
                  <a:lnTo>
                    <a:pt x="3287" y="595"/>
                  </a:lnTo>
                  <a:lnTo>
                    <a:pt x="3284" y="595"/>
                  </a:lnTo>
                  <a:lnTo>
                    <a:pt x="3277" y="592"/>
                  </a:lnTo>
                  <a:lnTo>
                    <a:pt x="3277" y="592"/>
                  </a:lnTo>
                  <a:lnTo>
                    <a:pt x="3274" y="592"/>
                  </a:lnTo>
                  <a:lnTo>
                    <a:pt x="3273" y="593"/>
                  </a:lnTo>
                  <a:lnTo>
                    <a:pt x="3274" y="596"/>
                  </a:lnTo>
                  <a:lnTo>
                    <a:pt x="3277" y="599"/>
                  </a:lnTo>
                  <a:lnTo>
                    <a:pt x="3277" y="599"/>
                  </a:lnTo>
                  <a:lnTo>
                    <a:pt x="3280" y="602"/>
                  </a:lnTo>
                  <a:lnTo>
                    <a:pt x="3281" y="605"/>
                  </a:lnTo>
                  <a:lnTo>
                    <a:pt x="3281" y="609"/>
                  </a:lnTo>
                  <a:lnTo>
                    <a:pt x="3280" y="612"/>
                  </a:lnTo>
                  <a:lnTo>
                    <a:pt x="3280" y="612"/>
                  </a:lnTo>
                  <a:lnTo>
                    <a:pt x="3278" y="615"/>
                  </a:lnTo>
                  <a:lnTo>
                    <a:pt x="3277" y="615"/>
                  </a:lnTo>
                  <a:lnTo>
                    <a:pt x="3271" y="615"/>
                  </a:lnTo>
                  <a:lnTo>
                    <a:pt x="3271" y="615"/>
                  </a:lnTo>
                  <a:lnTo>
                    <a:pt x="3264" y="615"/>
                  </a:lnTo>
                  <a:lnTo>
                    <a:pt x="3261" y="615"/>
                  </a:lnTo>
                  <a:lnTo>
                    <a:pt x="3258" y="612"/>
                  </a:lnTo>
                  <a:lnTo>
                    <a:pt x="3258" y="612"/>
                  </a:lnTo>
                  <a:lnTo>
                    <a:pt x="3258" y="610"/>
                  </a:lnTo>
                  <a:lnTo>
                    <a:pt x="3260" y="609"/>
                  </a:lnTo>
                  <a:lnTo>
                    <a:pt x="3260" y="606"/>
                  </a:lnTo>
                  <a:lnTo>
                    <a:pt x="3258" y="603"/>
                  </a:lnTo>
                  <a:lnTo>
                    <a:pt x="3258" y="603"/>
                  </a:lnTo>
                  <a:lnTo>
                    <a:pt x="3257" y="602"/>
                  </a:lnTo>
                  <a:lnTo>
                    <a:pt x="3254" y="600"/>
                  </a:lnTo>
                  <a:lnTo>
                    <a:pt x="3251" y="600"/>
                  </a:lnTo>
                  <a:lnTo>
                    <a:pt x="3250" y="599"/>
                  </a:lnTo>
                  <a:lnTo>
                    <a:pt x="3250" y="599"/>
                  </a:lnTo>
                  <a:lnTo>
                    <a:pt x="3251" y="596"/>
                  </a:lnTo>
                  <a:lnTo>
                    <a:pt x="3253" y="595"/>
                  </a:lnTo>
                  <a:lnTo>
                    <a:pt x="3254" y="592"/>
                  </a:lnTo>
                  <a:lnTo>
                    <a:pt x="3253" y="589"/>
                  </a:lnTo>
                  <a:lnTo>
                    <a:pt x="3253" y="589"/>
                  </a:lnTo>
                  <a:lnTo>
                    <a:pt x="3248" y="586"/>
                  </a:lnTo>
                  <a:lnTo>
                    <a:pt x="3246" y="586"/>
                  </a:lnTo>
                  <a:lnTo>
                    <a:pt x="3244" y="587"/>
                  </a:lnTo>
                  <a:lnTo>
                    <a:pt x="3243" y="590"/>
                  </a:lnTo>
                  <a:lnTo>
                    <a:pt x="3243" y="590"/>
                  </a:lnTo>
                  <a:lnTo>
                    <a:pt x="3243" y="593"/>
                  </a:lnTo>
                  <a:lnTo>
                    <a:pt x="3243" y="595"/>
                  </a:lnTo>
                  <a:lnTo>
                    <a:pt x="3241" y="596"/>
                  </a:lnTo>
                  <a:lnTo>
                    <a:pt x="3241" y="597"/>
                  </a:lnTo>
                  <a:lnTo>
                    <a:pt x="3241" y="597"/>
                  </a:lnTo>
                  <a:lnTo>
                    <a:pt x="3243" y="600"/>
                  </a:lnTo>
                  <a:lnTo>
                    <a:pt x="3248" y="603"/>
                  </a:lnTo>
                  <a:lnTo>
                    <a:pt x="3248" y="603"/>
                  </a:lnTo>
                  <a:lnTo>
                    <a:pt x="3251" y="606"/>
                  </a:lnTo>
                  <a:lnTo>
                    <a:pt x="3247" y="607"/>
                  </a:lnTo>
                  <a:lnTo>
                    <a:pt x="3247" y="607"/>
                  </a:lnTo>
                  <a:lnTo>
                    <a:pt x="3244" y="609"/>
                  </a:lnTo>
                  <a:lnTo>
                    <a:pt x="3240" y="609"/>
                  </a:lnTo>
                  <a:lnTo>
                    <a:pt x="3237" y="607"/>
                  </a:lnTo>
                  <a:lnTo>
                    <a:pt x="3236" y="602"/>
                  </a:lnTo>
                  <a:lnTo>
                    <a:pt x="3236" y="602"/>
                  </a:lnTo>
                  <a:lnTo>
                    <a:pt x="3234" y="596"/>
                  </a:lnTo>
                  <a:lnTo>
                    <a:pt x="3233" y="592"/>
                  </a:lnTo>
                  <a:lnTo>
                    <a:pt x="3231" y="587"/>
                  </a:lnTo>
                  <a:lnTo>
                    <a:pt x="3227" y="586"/>
                  </a:lnTo>
                  <a:lnTo>
                    <a:pt x="3227" y="586"/>
                  </a:lnTo>
                  <a:lnTo>
                    <a:pt x="3220" y="586"/>
                  </a:lnTo>
                  <a:lnTo>
                    <a:pt x="3211" y="586"/>
                  </a:lnTo>
                  <a:lnTo>
                    <a:pt x="3203" y="587"/>
                  </a:lnTo>
                  <a:lnTo>
                    <a:pt x="3198" y="586"/>
                  </a:lnTo>
                  <a:lnTo>
                    <a:pt x="3198" y="586"/>
                  </a:lnTo>
                  <a:lnTo>
                    <a:pt x="3197" y="583"/>
                  </a:lnTo>
                  <a:lnTo>
                    <a:pt x="3194" y="582"/>
                  </a:lnTo>
                  <a:lnTo>
                    <a:pt x="3191" y="582"/>
                  </a:lnTo>
                  <a:lnTo>
                    <a:pt x="3191" y="582"/>
                  </a:lnTo>
                  <a:lnTo>
                    <a:pt x="3186" y="580"/>
                  </a:lnTo>
                  <a:lnTo>
                    <a:pt x="3184" y="579"/>
                  </a:lnTo>
                  <a:lnTo>
                    <a:pt x="3186" y="576"/>
                  </a:lnTo>
                  <a:lnTo>
                    <a:pt x="3186" y="576"/>
                  </a:lnTo>
                  <a:lnTo>
                    <a:pt x="3187" y="572"/>
                  </a:lnTo>
                  <a:lnTo>
                    <a:pt x="3190" y="569"/>
                  </a:lnTo>
                  <a:lnTo>
                    <a:pt x="3193" y="567"/>
                  </a:lnTo>
                  <a:lnTo>
                    <a:pt x="3194" y="566"/>
                  </a:lnTo>
                  <a:lnTo>
                    <a:pt x="3194" y="566"/>
                  </a:lnTo>
                  <a:lnTo>
                    <a:pt x="3194" y="563"/>
                  </a:lnTo>
                  <a:lnTo>
                    <a:pt x="3193" y="562"/>
                  </a:lnTo>
                  <a:lnTo>
                    <a:pt x="3193" y="559"/>
                  </a:lnTo>
                  <a:lnTo>
                    <a:pt x="3194" y="557"/>
                  </a:lnTo>
                  <a:lnTo>
                    <a:pt x="3194" y="557"/>
                  </a:lnTo>
                  <a:lnTo>
                    <a:pt x="3204" y="550"/>
                  </a:lnTo>
                  <a:lnTo>
                    <a:pt x="3208" y="545"/>
                  </a:lnTo>
                  <a:lnTo>
                    <a:pt x="3208" y="542"/>
                  </a:lnTo>
                  <a:lnTo>
                    <a:pt x="3208" y="540"/>
                  </a:lnTo>
                  <a:lnTo>
                    <a:pt x="3208" y="540"/>
                  </a:lnTo>
                  <a:lnTo>
                    <a:pt x="3208" y="536"/>
                  </a:lnTo>
                  <a:lnTo>
                    <a:pt x="3208" y="529"/>
                  </a:lnTo>
                  <a:lnTo>
                    <a:pt x="3211" y="517"/>
                  </a:lnTo>
                  <a:lnTo>
                    <a:pt x="3211" y="517"/>
                  </a:lnTo>
                  <a:lnTo>
                    <a:pt x="3214" y="513"/>
                  </a:lnTo>
                  <a:lnTo>
                    <a:pt x="3220" y="506"/>
                  </a:lnTo>
                  <a:lnTo>
                    <a:pt x="3220" y="506"/>
                  </a:lnTo>
                  <a:lnTo>
                    <a:pt x="3223" y="502"/>
                  </a:lnTo>
                  <a:lnTo>
                    <a:pt x="3226" y="500"/>
                  </a:lnTo>
                  <a:lnTo>
                    <a:pt x="3227" y="500"/>
                  </a:lnTo>
                  <a:lnTo>
                    <a:pt x="3227" y="497"/>
                  </a:lnTo>
                  <a:lnTo>
                    <a:pt x="3227" y="497"/>
                  </a:lnTo>
                  <a:lnTo>
                    <a:pt x="3227" y="495"/>
                  </a:lnTo>
                  <a:lnTo>
                    <a:pt x="3226" y="493"/>
                  </a:lnTo>
                  <a:lnTo>
                    <a:pt x="3224" y="490"/>
                  </a:lnTo>
                  <a:lnTo>
                    <a:pt x="3224" y="486"/>
                  </a:lnTo>
                  <a:lnTo>
                    <a:pt x="3224" y="486"/>
                  </a:lnTo>
                  <a:lnTo>
                    <a:pt x="3226" y="482"/>
                  </a:lnTo>
                  <a:lnTo>
                    <a:pt x="3227" y="479"/>
                  </a:lnTo>
                  <a:lnTo>
                    <a:pt x="3230" y="476"/>
                  </a:lnTo>
                  <a:lnTo>
                    <a:pt x="3230" y="476"/>
                  </a:lnTo>
                  <a:lnTo>
                    <a:pt x="3230" y="473"/>
                  </a:lnTo>
                  <a:lnTo>
                    <a:pt x="3230" y="469"/>
                  </a:lnTo>
                  <a:lnTo>
                    <a:pt x="3231" y="465"/>
                  </a:lnTo>
                  <a:lnTo>
                    <a:pt x="3236" y="460"/>
                  </a:lnTo>
                  <a:lnTo>
                    <a:pt x="3236" y="460"/>
                  </a:lnTo>
                  <a:lnTo>
                    <a:pt x="3241" y="454"/>
                  </a:lnTo>
                  <a:lnTo>
                    <a:pt x="3244" y="454"/>
                  </a:lnTo>
                  <a:lnTo>
                    <a:pt x="3247" y="454"/>
                  </a:lnTo>
                  <a:lnTo>
                    <a:pt x="3247" y="454"/>
                  </a:lnTo>
                  <a:lnTo>
                    <a:pt x="3251" y="456"/>
                  </a:lnTo>
                  <a:lnTo>
                    <a:pt x="3257" y="454"/>
                  </a:lnTo>
                  <a:lnTo>
                    <a:pt x="3257" y="454"/>
                  </a:lnTo>
                  <a:lnTo>
                    <a:pt x="3264" y="453"/>
                  </a:lnTo>
                  <a:lnTo>
                    <a:pt x="3277" y="452"/>
                  </a:lnTo>
                  <a:lnTo>
                    <a:pt x="3291" y="452"/>
                  </a:lnTo>
                  <a:lnTo>
                    <a:pt x="3299" y="453"/>
                  </a:lnTo>
                  <a:lnTo>
                    <a:pt x="3299" y="453"/>
                  </a:lnTo>
                  <a:lnTo>
                    <a:pt x="3303" y="456"/>
                  </a:lnTo>
                  <a:lnTo>
                    <a:pt x="3304" y="457"/>
                  </a:lnTo>
                  <a:lnTo>
                    <a:pt x="3307" y="460"/>
                  </a:lnTo>
                  <a:lnTo>
                    <a:pt x="3311" y="460"/>
                  </a:lnTo>
                  <a:lnTo>
                    <a:pt x="3311" y="460"/>
                  </a:lnTo>
                  <a:lnTo>
                    <a:pt x="3314" y="459"/>
                  </a:lnTo>
                  <a:lnTo>
                    <a:pt x="3316" y="456"/>
                  </a:lnTo>
                  <a:lnTo>
                    <a:pt x="3317" y="454"/>
                  </a:lnTo>
                  <a:lnTo>
                    <a:pt x="3320" y="453"/>
                  </a:lnTo>
                  <a:lnTo>
                    <a:pt x="3320" y="453"/>
                  </a:lnTo>
                  <a:lnTo>
                    <a:pt x="3323" y="454"/>
                  </a:lnTo>
                  <a:lnTo>
                    <a:pt x="3327" y="456"/>
                  </a:lnTo>
                  <a:lnTo>
                    <a:pt x="3330" y="457"/>
                  </a:lnTo>
                  <a:lnTo>
                    <a:pt x="3336" y="460"/>
                  </a:lnTo>
                  <a:lnTo>
                    <a:pt x="3336" y="460"/>
                  </a:lnTo>
                  <a:lnTo>
                    <a:pt x="3340" y="460"/>
                  </a:lnTo>
                  <a:lnTo>
                    <a:pt x="3343" y="459"/>
                  </a:lnTo>
                  <a:lnTo>
                    <a:pt x="3349" y="453"/>
                  </a:lnTo>
                  <a:lnTo>
                    <a:pt x="3349" y="453"/>
                  </a:lnTo>
                  <a:lnTo>
                    <a:pt x="3350" y="452"/>
                  </a:lnTo>
                  <a:lnTo>
                    <a:pt x="3351" y="452"/>
                  </a:lnTo>
                  <a:lnTo>
                    <a:pt x="3354" y="453"/>
                  </a:lnTo>
                  <a:lnTo>
                    <a:pt x="3357" y="457"/>
                  </a:lnTo>
                  <a:lnTo>
                    <a:pt x="3360" y="459"/>
                  </a:lnTo>
                  <a:lnTo>
                    <a:pt x="3360" y="459"/>
                  </a:lnTo>
                  <a:lnTo>
                    <a:pt x="3363" y="460"/>
                  </a:lnTo>
                  <a:lnTo>
                    <a:pt x="3366" y="459"/>
                  </a:lnTo>
                  <a:lnTo>
                    <a:pt x="3367" y="457"/>
                  </a:lnTo>
                  <a:lnTo>
                    <a:pt x="3367" y="452"/>
                  </a:lnTo>
                  <a:lnTo>
                    <a:pt x="3367" y="452"/>
                  </a:lnTo>
                  <a:lnTo>
                    <a:pt x="3367" y="446"/>
                  </a:lnTo>
                  <a:lnTo>
                    <a:pt x="3367" y="443"/>
                  </a:lnTo>
                  <a:lnTo>
                    <a:pt x="3369" y="442"/>
                  </a:lnTo>
                  <a:lnTo>
                    <a:pt x="3371" y="442"/>
                  </a:lnTo>
                  <a:lnTo>
                    <a:pt x="3371" y="442"/>
                  </a:lnTo>
                  <a:lnTo>
                    <a:pt x="3373" y="442"/>
                  </a:lnTo>
                  <a:lnTo>
                    <a:pt x="3373" y="442"/>
                  </a:lnTo>
                  <a:lnTo>
                    <a:pt x="3374" y="440"/>
                  </a:lnTo>
                  <a:lnTo>
                    <a:pt x="3377" y="442"/>
                  </a:lnTo>
                  <a:lnTo>
                    <a:pt x="3377" y="442"/>
                  </a:lnTo>
                  <a:lnTo>
                    <a:pt x="3379" y="443"/>
                  </a:lnTo>
                  <a:lnTo>
                    <a:pt x="3381" y="443"/>
                  </a:lnTo>
                  <a:lnTo>
                    <a:pt x="3384" y="444"/>
                  </a:lnTo>
                  <a:lnTo>
                    <a:pt x="3389" y="447"/>
                  </a:lnTo>
                  <a:lnTo>
                    <a:pt x="3389" y="447"/>
                  </a:lnTo>
                  <a:lnTo>
                    <a:pt x="3394" y="450"/>
                  </a:lnTo>
                  <a:lnTo>
                    <a:pt x="3399" y="453"/>
                  </a:lnTo>
                  <a:lnTo>
                    <a:pt x="3403" y="454"/>
                  </a:lnTo>
                  <a:lnTo>
                    <a:pt x="3404" y="453"/>
                  </a:lnTo>
                  <a:lnTo>
                    <a:pt x="3404" y="453"/>
                  </a:lnTo>
                  <a:lnTo>
                    <a:pt x="3404" y="449"/>
                  </a:lnTo>
                  <a:lnTo>
                    <a:pt x="3404" y="447"/>
                  </a:lnTo>
                  <a:lnTo>
                    <a:pt x="3407" y="447"/>
                  </a:lnTo>
                  <a:lnTo>
                    <a:pt x="3407" y="447"/>
                  </a:lnTo>
                  <a:lnTo>
                    <a:pt x="3419" y="452"/>
                  </a:lnTo>
                  <a:lnTo>
                    <a:pt x="3423" y="454"/>
                  </a:lnTo>
                  <a:lnTo>
                    <a:pt x="3424" y="456"/>
                  </a:lnTo>
                  <a:lnTo>
                    <a:pt x="3424" y="457"/>
                  </a:lnTo>
                  <a:lnTo>
                    <a:pt x="3424" y="457"/>
                  </a:lnTo>
                  <a:lnTo>
                    <a:pt x="3421" y="459"/>
                  </a:lnTo>
                  <a:lnTo>
                    <a:pt x="3419" y="459"/>
                  </a:lnTo>
                  <a:lnTo>
                    <a:pt x="3417" y="460"/>
                  </a:lnTo>
                  <a:lnTo>
                    <a:pt x="3419" y="463"/>
                  </a:lnTo>
                  <a:lnTo>
                    <a:pt x="3419" y="463"/>
                  </a:lnTo>
                  <a:lnTo>
                    <a:pt x="3421" y="467"/>
                  </a:lnTo>
                  <a:lnTo>
                    <a:pt x="3429" y="470"/>
                  </a:lnTo>
                  <a:lnTo>
                    <a:pt x="3433" y="470"/>
                  </a:lnTo>
                  <a:lnTo>
                    <a:pt x="3436" y="469"/>
                  </a:lnTo>
                  <a:lnTo>
                    <a:pt x="3439" y="467"/>
                  </a:lnTo>
                  <a:lnTo>
                    <a:pt x="3441" y="465"/>
                  </a:lnTo>
                  <a:lnTo>
                    <a:pt x="3441" y="465"/>
                  </a:lnTo>
                  <a:lnTo>
                    <a:pt x="3446" y="460"/>
                  </a:lnTo>
                  <a:lnTo>
                    <a:pt x="3447" y="460"/>
                  </a:lnTo>
                  <a:lnTo>
                    <a:pt x="3447" y="460"/>
                  </a:lnTo>
                  <a:lnTo>
                    <a:pt x="3449" y="463"/>
                  </a:lnTo>
                  <a:lnTo>
                    <a:pt x="3450" y="465"/>
                  </a:lnTo>
                  <a:lnTo>
                    <a:pt x="3450" y="465"/>
                  </a:lnTo>
                  <a:lnTo>
                    <a:pt x="3454" y="467"/>
                  </a:lnTo>
                  <a:lnTo>
                    <a:pt x="3457" y="467"/>
                  </a:lnTo>
                  <a:lnTo>
                    <a:pt x="3459" y="466"/>
                  </a:lnTo>
                  <a:lnTo>
                    <a:pt x="3459" y="466"/>
                  </a:lnTo>
                  <a:lnTo>
                    <a:pt x="3460" y="463"/>
                  </a:lnTo>
                  <a:lnTo>
                    <a:pt x="3460" y="462"/>
                  </a:lnTo>
                  <a:lnTo>
                    <a:pt x="3461" y="460"/>
                  </a:lnTo>
                  <a:lnTo>
                    <a:pt x="3461" y="460"/>
                  </a:lnTo>
                  <a:lnTo>
                    <a:pt x="3467" y="459"/>
                  </a:lnTo>
                  <a:lnTo>
                    <a:pt x="3471" y="459"/>
                  </a:lnTo>
                  <a:lnTo>
                    <a:pt x="3474" y="460"/>
                  </a:lnTo>
                  <a:lnTo>
                    <a:pt x="3474" y="460"/>
                  </a:lnTo>
                  <a:lnTo>
                    <a:pt x="3480" y="465"/>
                  </a:lnTo>
                  <a:lnTo>
                    <a:pt x="3483" y="465"/>
                  </a:lnTo>
                  <a:lnTo>
                    <a:pt x="3484" y="463"/>
                  </a:lnTo>
                  <a:lnTo>
                    <a:pt x="3484" y="463"/>
                  </a:lnTo>
                  <a:lnTo>
                    <a:pt x="3486" y="462"/>
                  </a:lnTo>
                  <a:lnTo>
                    <a:pt x="3489" y="462"/>
                  </a:lnTo>
                  <a:lnTo>
                    <a:pt x="3491" y="462"/>
                  </a:lnTo>
                  <a:lnTo>
                    <a:pt x="3496" y="460"/>
                  </a:lnTo>
                  <a:lnTo>
                    <a:pt x="3496" y="460"/>
                  </a:lnTo>
                  <a:lnTo>
                    <a:pt x="3499" y="459"/>
                  </a:lnTo>
                  <a:lnTo>
                    <a:pt x="3499" y="457"/>
                  </a:lnTo>
                  <a:lnTo>
                    <a:pt x="3497" y="456"/>
                  </a:lnTo>
                  <a:lnTo>
                    <a:pt x="3494" y="454"/>
                  </a:lnTo>
                  <a:lnTo>
                    <a:pt x="3494" y="454"/>
                  </a:lnTo>
                  <a:lnTo>
                    <a:pt x="3470" y="449"/>
                  </a:lnTo>
                  <a:lnTo>
                    <a:pt x="3470" y="449"/>
                  </a:lnTo>
                  <a:lnTo>
                    <a:pt x="3470" y="449"/>
                  </a:lnTo>
                  <a:lnTo>
                    <a:pt x="3469" y="447"/>
                  </a:lnTo>
                  <a:lnTo>
                    <a:pt x="3469" y="446"/>
                  </a:lnTo>
                  <a:lnTo>
                    <a:pt x="3466" y="444"/>
                  </a:lnTo>
                  <a:lnTo>
                    <a:pt x="3466" y="444"/>
                  </a:lnTo>
                  <a:lnTo>
                    <a:pt x="3464" y="444"/>
                  </a:lnTo>
                  <a:lnTo>
                    <a:pt x="3463" y="443"/>
                  </a:lnTo>
                  <a:lnTo>
                    <a:pt x="3461" y="436"/>
                  </a:lnTo>
                  <a:lnTo>
                    <a:pt x="3461" y="436"/>
                  </a:lnTo>
                  <a:lnTo>
                    <a:pt x="3461" y="432"/>
                  </a:lnTo>
                  <a:lnTo>
                    <a:pt x="3461" y="430"/>
                  </a:lnTo>
                  <a:lnTo>
                    <a:pt x="3464" y="427"/>
                  </a:lnTo>
                  <a:lnTo>
                    <a:pt x="3464" y="427"/>
                  </a:lnTo>
                  <a:lnTo>
                    <a:pt x="3469" y="423"/>
                  </a:lnTo>
                  <a:lnTo>
                    <a:pt x="3470" y="417"/>
                  </a:lnTo>
                  <a:lnTo>
                    <a:pt x="3470" y="417"/>
                  </a:lnTo>
                  <a:lnTo>
                    <a:pt x="3469" y="413"/>
                  </a:lnTo>
                  <a:lnTo>
                    <a:pt x="3467" y="409"/>
                  </a:lnTo>
                  <a:lnTo>
                    <a:pt x="3467" y="409"/>
                  </a:lnTo>
                  <a:lnTo>
                    <a:pt x="3467" y="407"/>
                  </a:lnTo>
                  <a:lnTo>
                    <a:pt x="3469" y="407"/>
                  </a:lnTo>
                  <a:lnTo>
                    <a:pt x="3470" y="406"/>
                  </a:lnTo>
                  <a:lnTo>
                    <a:pt x="3470" y="404"/>
                  </a:lnTo>
                  <a:lnTo>
                    <a:pt x="3470" y="404"/>
                  </a:lnTo>
                  <a:lnTo>
                    <a:pt x="3471" y="400"/>
                  </a:lnTo>
                  <a:lnTo>
                    <a:pt x="3470" y="397"/>
                  </a:lnTo>
                  <a:lnTo>
                    <a:pt x="3470" y="397"/>
                  </a:lnTo>
                  <a:lnTo>
                    <a:pt x="3469" y="396"/>
                  </a:lnTo>
                  <a:lnTo>
                    <a:pt x="3469" y="394"/>
                  </a:lnTo>
                  <a:lnTo>
                    <a:pt x="3470" y="394"/>
                  </a:lnTo>
                  <a:lnTo>
                    <a:pt x="3471" y="393"/>
                  </a:lnTo>
                  <a:lnTo>
                    <a:pt x="3471" y="393"/>
                  </a:lnTo>
                  <a:lnTo>
                    <a:pt x="3471" y="392"/>
                  </a:lnTo>
                  <a:lnTo>
                    <a:pt x="3471" y="392"/>
                  </a:lnTo>
                  <a:lnTo>
                    <a:pt x="3473" y="390"/>
                  </a:lnTo>
                  <a:lnTo>
                    <a:pt x="3473" y="390"/>
                  </a:lnTo>
                  <a:lnTo>
                    <a:pt x="3477" y="390"/>
                  </a:lnTo>
                  <a:lnTo>
                    <a:pt x="3486" y="392"/>
                  </a:lnTo>
                  <a:lnTo>
                    <a:pt x="3494" y="393"/>
                  </a:lnTo>
                  <a:lnTo>
                    <a:pt x="3497" y="392"/>
                  </a:lnTo>
                  <a:lnTo>
                    <a:pt x="3499" y="390"/>
                  </a:lnTo>
                  <a:lnTo>
                    <a:pt x="3499" y="390"/>
                  </a:lnTo>
                  <a:lnTo>
                    <a:pt x="3500" y="387"/>
                  </a:lnTo>
                  <a:lnTo>
                    <a:pt x="3503" y="386"/>
                  </a:lnTo>
                  <a:lnTo>
                    <a:pt x="3507" y="386"/>
                  </a:lnTo>
                  <a:lnTo>
                    <a:pt x="3510" y="387"/>
                  </a:lnTo>
                  <a:lnTo>
                    <a:pt x="3510" y="387"/>
                  </a:lnTo>
                  <a:lnTo>
                    <a:pt x="3511" y="390"/>
                  </a:lnTo>
                  <a:lnTo>
                    <a:pt x="3513" y="393"/>
                  </a:lnTo>
                  <a:lnTo>
                    <a:pt x="3514" y="394"/>
                  </a:lnTo>
                  <a:lnTo>
                    <a:pt x="3517" y="394"/>
                  </a:lnTo>
                  <a:lnTo>
                    <a:pt x="3517" y="394"/>
                  </a:lnTo>
                  <a:lnTo>
                    <a:pt x="3521" y="393"/>
                  </a:lnTo>
                  <a:lnTo>
                    <a:pt x="3523" y="389"/>
                  </a:lnTo>
                  <a:lnTo>
                    <a:pt x="3524" y="387"/>
                  </a:lnTo>
                  <a:lnTo>
                    <a:pt x="3527" y="386"/>
                  </a:lnTo>
                  <a:lnTo>
                    <a:pt x="3527" y="386"/>
                  </a:lnTo>
                  <a:lnTo>
                    <a:pt x="3530" y="386"/>
                  </a:lnTo>
                  <a:lnTo>
                    <a:pt x="3533" y="389"/>
                  </a:lnTo>
                  <a:lnTo>
                    <a:pt x="3534" y="392"/>
                  </a:lnTo>
                  <a:lnTo>
                    <a:pt x="3534" y="394"/>
                  </a:lnTo>
                  <a:lnTo>
                    <a:pt x="3534" y="394"/>
                  </a:lnTo>
                  <a:lnTo>
                    <a:pt x="3534" y="396"/>
                  </a:lnTo>
                  <a:lnTo>
                    <a:pt x="3533" y="399"/>
                  </a:lnTo>
                  <a:lnTo>
                    <a:pt x="3533" y="400"/>
                  </a:lnTo>
                  <a:lnTo>
                    <a:pt x="3534" y="402"/>
                  </a:lnTo>
                  <a:lnTo>
                    <a:pt x="3534" y="402"/>
                  </a:lnTo>
                  <a:lnTo>
                    <a:pt x="3539" y="404"/>
                  </a:lnTo>
                  <a:lnTo>
                    <a:pt x="3541" y="410"/>
                  </a:lnTo>
                  <a:lnTo>
                    <a:pt x="3541" y="410"/>
                  </a:lnTo>
                  <a:lnTo>
                    <a:pt x="3543" y="413"/>
                  </a:lnTo>
                  <a:lnTo>
                    <a:pt x="3546" y="414"/>
                  </a:lnTo>
                  <a:lnTo>
                    <a:pt x="3547" y="414"/>
                  </a:lnTo>
                  <a:lnTo>
                    <a:pt x="3549" y="412"/>
                  </a:lnTo>
                  <a:lnTo>
                    <a:pt x="3549" y="412"/>
                  </a:lnTo>
                  <a:lnTo>
                    <a:pt x="3550" y="410"/>
                  </a:lnTo>
                  <a:lnTo>
                    <a:pt x="3553" y="409"/>
                  </a:lnTo>
                  <a:lnTo>
                    <a:pt x="3554" y="409"/>
                  </a:lnTo>
                  <a:lnTo>
                    <a:pt x="3556" y="412"/>
                  </a:lnTo>
                  <a:lnTo>
                    <a:pt x="3556" y="412"/>
                  </a:lnTo>
                  <a:lnTo>
                    <a:pt x="3556" y="413"/>
                  </a:lnTo>
                  <a:lnTo>
                    <a:pt x="3556" y="416"/>
                  </a:lnTo>
                  <a:lnTo>
                    <a:pt x="3556" y="419"/>
                  </a:lnTo>
                  <a:lnTo>
                    <a:pt x="3556" y="420"/>
                  </a:lnTo>
                  <a:lnTo>
                    <a:pt x="3556" y="420"/>
                  </a:lnTo>
                  <a:lnTo>
                    <a:pt x="3557" y="422"/>
                  </a:lnTo>
                  <a:lnTo>
                    <a:pt x="3559" y="423"/>
                  </a:lnTo>
                  <a:lnTo>
                    <a:pt x="3559" y="424"/>
                  </a:lnTo>
                  <a:lnTo>
                    <a:pt x="3561" y="424"/>
                  </a:lnTo>
                  <a:lnTo>
                    <a:pt x="3561" y="424"/>
                  </a:lnTo>
                  <a:lnTo>
                    <a:pt x="3564" y="422"/>
                  </a:lnTo>
                  <a:lnTo>
                    <a:pt x="3566" y="420"/>
                  </a:lnTo>
                  <a:lnTo>
                    <a:pt x="3566" y="420"/>
                  </a:lnTo>
                  <a:lnTo>
                    <a:pt x="3567" y="419"/>
                  </a:lnTo>
                  <a:lnTo>
                    <a:pt x="3567" y="419"/>
                  </a:lnTo>
                  <a:lnTo>
                    <a:pt x="3571" y="419"/>
                  </a:lnTo>
                  <a:lnTo>
                    <a:pt x="3571" y="419"/>
                  </a:lnTo>
                  <a:lnTo>
                    <a:pt x="3573" y="417"/>
                  </a:lnTo>
                  <a:lnTo>
                    <a:pt x="3573" y="417"/>
                  </a:lnTo>
                  <a:lnTo>
                    <a:pt x="3573" y="413"/>
                  </a:lnTo>
                  <a:lnTo>
                    <a:pt x="3571" y="410"/>
                  </a:lnTo>
                  <a:lnTo>
                    <a:pt x="3573" y="409"/>
                  </a:lnTo>
                  <a:lnTo>
                    <a:pt x="3573" y="409"/>
                  </a:lnTo>
                  <a:lnTo>
                    <a:pt x="3574" y="404"/>
                  </a:lnTo>
                  <a:lnTo>
                    <a:pt x="3574" y="400"/>
                  </a:lnTo>
                  <a:lnTo>
                    <a:pt x="3574" y="400"/>
                  </a:lnTo>
                  <a:lnTo>
                    <a:pt x="3576" y="396"/>
                  </a:lnTo>
                  <a:lnTo>
                    <a:pt x="3577" y="394"/>
                  </a:lnTo>
                  <a:lnTo>
                    <a:pt x="3580" y="394"/>
                  </a:lnTo>
                  <a:lnTo>
                    <a:pt x="3580" y="394"/>
                  </a:lnTo>
                  <a:lnTo>
                    <a:pt x="3583" y="394"/>
                  </a:lnTo>
                  <a:lnTo>
                    <a:pt x="3586" y="396"/>
                  </a:lnTo>
                  <a:lnTo>
                    <a:pt x="3589" y="397"/>
                  </a:lnTo>
                  <a:lnTo>
                    <a:pt x="3593" y="397"/>
                  </a:lnTo>
                  <a:lnTo>
                    <a:pt x="3593" y="397"/>
                  </a:lnTo>
                  <a:lnTo>
                    <a:pt x="3594" y="397"/>
                  </a:lnTo>
                  <a:lnTo>
                    <a:pt x="3593" y="394"/>
                  </a:lnTo>
                  <a:lnTo>
                    <a:pt x="3587" y="389"/>
                  </a:lnTo>
                  <a:lnTo>
                    <a:pt x="3587" y="389"/>
                  </a:lnTo>
                  <a:lnTo>
                    <a:pt x="3579" y="383"/>
                  </a:lnTo>
                  <a:lnTo>
                    <a:pt x="3576" y="380"/>
                  </a:lnTo>
                  <a:lnTo>
                    <a:pt x="3574" y="377"/>
                  </a:lnTo>
                  <a:lnTo>
                    <a:pt x="3574" y="377"/>
                  </a:lnTo>
                  <a:lnTo>
                    <a:pt x="3573" y="372"/>
                  </a:lnTo>
                  <a:lnTo>
                    <a:pt x="3573" y="369"/>
                  </a:lnTo>
                  <a:lnTo>
                    <a:pt x="3574" y="369"/>
                  </a:lnTo>
                  <a:lnTo>
                    <a:pt x="3574" y="369"/>
                  </a:lnTo>
                  <a:lnTo>
                    <a:pt x="3579" y="366"/>
                  </a:lnTo>
                  <a:lnTo>
                    <a:pt x="3581" y="366"/>
                  </a:lnTo>
                  <a:lnTo>
                    <a:pt x="3584" y="366"/>
                  </a:lnTo>
                  <a:lnTo>
                    <a:pt x="3584" y="366"/>
                  </a:lnTo>
                  <a:lnTo>
                    <a:pt x="3589" y="366"/>
                  </a:lnTo>
                  <a:lnTo>
                    <a:pt x="3591" y="366"/>
                  </a:lnTo>
                  <a:lnTo>
                    <a:pt x="3593" y="366"/>
                  </a:lnTo>
                  <a:lnTo>
                    <a:pt x="3596" y="367"/>
                  </a:lnTo>
                  <a:lnTo>
                    <a:pt x="3596" y="367"/>
                  </a:lnTo>
                  <a:lnTo>
                    <a:pt x="3601" y="370"/>
                  </a:lnTo>
                  <a:lnTo>
                    <a:pt x="3607" y="370"/>
                  </a:lnTo>
                  <a:lnTo>
                    <a:pt x="3613" y="372"/>
                  </a:lnTo>
                  <a:lnTo>
                    <a:pt x="3614" y="372"/>
                  </a:lnTo>
                  <a:lnTo>
                    <a:pt x="3616" y="373"/>
                  </a:lnTo>
                  <a:lnTo>
                    <a:pt x="3616" y="373"/>
                  </a:lnTo>
                  <a:lnTo>
                    <a:pt x="3616" y="374"/>
                  </a:lnTo>
                  <a:lnTo>
                    <a:pt x="3613" y="374"/>
                  </a:lnTo>
                  <a:lnTo>
                    <a:pt x="3607" y="374"/>
                  </a:lnTo>
                  <a:lnTo>
                    <a:pt x="3600" y="374"/>
                  </a:lnTo>
                  <a:lnTo>
                    <a:pt x="3596" y="374"/>
                  </a:lnTo>
                  <a:lnTo>
                    <a:pt x="3596" y="374"/>
                  </a:lnTo>
                  <a:lnTo>
                    <a:pt x="3594" y="376"/>
                  </a:lnTo>
                  <a:lnTo>
                    <a:pt x="3593" y="377"/>
                  </a:lnTo>
                  <a:lnTo>
                    <a:pt x="3594" y="379"/>
                  </a:lnTo>
                  <a:lnTo>
                    <a:pt x="3597" y="382"/>
                  </a:lnTo>
                  <a:lnTo>
                    <a:pt x="3597" y="382"/>
                  </a:lnTo>
                  <a:lnTo>
                    <a:pt x="3604" y="384"/>
                  </a:lnTo>
                  <a:lnTo>
                    <a:pt x="3609" y="387"/>
                  </a:lnTo>
                  <a:lnTo>
                    <a:pt x="3609" y="392"/>
                  </a:lnTo>
                  <a:lnTo>
                    <a:pt x="3609" y="392"/>
                  </a:lnTo>
                  <a:lnTo>
                    <a:pt x="3609" y="397"/>
                  </a:lnTo>
                  <a:lnTo>
                    <a:pt x="3610" y="399"/>
                  </a:lnTo>
                  <a:lnTo>
                    <a:pt x="3611" y="400"/>
                  </a:lnTo>
                  <a:lnTo>
                    <a:pt x="3611" y="400"/>
                  </a:lnTo>
                  <a:lnTo>
                    <a:pt x="3614" y="400"/>
                  </a:lnTo>
                  <a:lnTo>
                    <a:pt x="3617" y="399"/>
                  </a:lnTo>
                  <a:lnTo>
                    <a:pt x="3619" y="399"/>
                  </a:lnTo>
                  <a:lnTo>
                    <a:pt x="3620" y="400"/>
                  </a:lnTo>
                  <a:lnTo>
                    <a:pt x="3620" y="400"/>
                  </a:lnTo>
                  <a:lnTo>
                    <a:pt x="3620" y="407"/>
                  </a:lnTo>
                  <a:lnTo>
                    <a:pt x="3620" y="409"/>
                  </a:lnTo>
                  <a:lnTo>
                    <a:pt x="3621" y="412"/>
                  </a:lnTo>
                  <a:lnTo>
                    <a:pt x="3621" y="412"/>
                  </a:lnTo>
                  <a:lnTo>
                    <a:pt x="3626" y="413"/>
                  </a:lnTo>
                  <a:lnTo>
                    <a:pt x="3627" y="414"/>
                  </a:lnTo>
                  <a:lnTo>
                    <a:pt x="3626" y="416"/>
                  </a:lnTo>
                  <a:lnTo>
                    <a:pt x="3626" y="416"/>
                  </a:lnTo>
                  <a:lnTo>
                    <a:pt x="3620" y="416"/>
                  </a:lnTo>
                  <a:lnTo>
                    <a:pt x="3617" y="416"/>
                  </a:lnTo>
                  <a:lnTo>
                    <a:pt x="3614" y="416"/>
                  </a:lnTo>
                  <a:lnTo>
                    <a:pt x="3614" y="416"/>
                  </a:lnTo>
                  <a:lnTo>
                    <a:pt x="3606" y="423"/>
                  </a:lnTo>
                  <a:lnTo>
                    <a:pt x="3606" y="423"/>
                  </a:lnTo>
                  <a:lnTo>
                    <a:pt x="3603" y="427"/>
                  </a:lnTo>
                  <a:lnTo>
                    <a:pt x="3603" y="429"/>
                  </a:lnTo>
                  <a:lnTo>
                    <a:pt x="3604" y="430"/>
                  </a:lnTo>
                  <a:lnTo>
                    <a:pt x="3604" y="430"/>
                  </a:lnTo>
                  <a:lnTo>
                    <a:pt x="3606" y="434"/>
                  </a:lnTo>
                  <a:lnTo>
                    <a:pt x="3607" y="439"/>
                  </a:lnTo>
                  <a:lnTo>
                    <a:pt x="3607" y="443"/>
                  </a:lnTo>
                  <a:lnTo>
                    <a:pt x="3606" y="446"/>
                  </a:lnTo>
                  <a:lnTo>
                    <a:pt x="3606" y="446"/>
                  </a:lnTo>
                  <a:lnTo>
                    <a:pt x="3603" y="449"/>
                  </a:lnTo>
                  <a:lnTo>
                    <a:pt x="3601" y="449"/>
                  </a:lnTo>
                  <a:lnTo>
                    <a:pt x="3600" y="452"/>
                  </a:lnTo>
                  <a:lnTo>
                    <a:pt x="3600" y="452"/>
                  </a:lnTo>
                  <a:lnTo>
                    <a:pt x="3599" y="453"/>
                  </a:lnTo>
                  <a:lnTo>
                    <a:pt x="3597" y="456"/>
                  </a:lnTo>
                  <a:lnTo>
                    <a:pt x="3597" y="457"/>
                  </a:lnTo>
                  <a:lnTo>
                    <a:pt x="3599" y="460"/>
                  </a:lnTo>
                  <a:lnTo>
                    <a:pt x="3599" y="460"/>
                  </a:lnTo>
                  <a:lnTo>
                    <a:pt x="3597" y="462"/>
                  </a:lnTo>
                  <a:lnTo>
                    <a:pt x="3599" y="465"/>
                  </a:lnTo>
                  <a:lnTo>
                    <a:pt x="3601" y="466"/>
                  </a:lnTo>
                  <a:lnTo>
                    <a:pt x="3601" y="466"/>
                  </a:lnTo>
                  <a:lnTo>
                    <a:pt x="3604" y="466"/>
                  </a:lnTo>
                  <a:lnTo>
                    <a:pt x="3606" y="469"/>
                  </a:lnTo>
                  <a:lnTo>
                    <a:pt x="3604" y="476"/>
                  </a:lnTo>
                  <a:lnTo>
                    <a:pt x="3604" y="476"/>
                  </a:lnTo>
                  <a:lnTo>
                    <a:pt x="3603" y="482"/>
                  </a:lnTo>
                  <a:lnTo>
                    <a:pt x="3603" y="486"/>
                  </a:lnTo>
                  <a:lnTo>
                    <a:pt x="3601" y="489"/>
                  </a:lnTo>
                  <a:lnTo>
                    <a:pt x="3600" y="490"/>
                  </a:lnTo>
                  <a:lnTo>
                    <a:pt x="3600" y="490"/>
                  </a:lnTo>
                  <a:lnTo>
                    <a:pt x="3591" y="493"/>
                  </a:lnTo>
                  <a:lnTo>
                    <a:pt x="3589" y="495"/>
                  </a:lnTo>
                  <a:lnTo>
                    <a:pt x="3587" y="496"/>
                  </a:lnTo>
                  <a:lnTo>
                    <a:pt x="3587" y="496"/>
                  </a:lnTo>
                  <a:lnTo>
                    <a:pt x="3584" y="496"/>
                  </a:lnTo>
                  <a:lnTo>
                    <a:pt x="3580" y="496"/>
                  </a:lnTo>
                  <a:lnTo>
                    <a:pt x="3574" y="496"/>
                  </a:lnTo>
                  <a:lnTo>
                    <a:pt x="3573" y="496"/>
                  </a:lnTo>
                  <a:lnTo>
                    <a:pt x="3573" y="497"/>
                  </a:lnTo>
                  <a:lnTo>
                    <a:pt x="3573" y="497"/>
                  </a:lnTo>
                  <a:lnTo>
                    <a:pt x="3573" y="499"/>
                  </a:lnTo>
                  <a:lnTo>
                    <a:pt x="3576" y="500"/>
                  </a:lnTo>
                  <a:lnTo>
                    <a:pt x="3579" y="502"/>
                  </a:lnTo>
                  <a:lnTo>
                    <a:pt x="3583" y="505"/>
                  </a:lnTo>
                  <a:lnTo>
                    <a:pt x="3583" y="505"/>
                  </a:lnTo>
                  <a:lnTo>
                    <a:pt x="3589" y="513"/>
                  </a:lnTo>
                  <a:lnTo>
                    <a:pt x="3590" y="517"/>
                  </a:lnTo>
                  <a:lnTo>
                    <a:pt x="3590" y="519"/>
                  </a:lnTo>
                  <a:lnTo>
                    <a:pt x="3589" y="522"/>
                  </a:lnTo>
                  <a:lnTo>
                    <a:pt x="3589" y="522"/>
                  </a:lnTo>
                  <a:lnTo>
                    <a:pt x="3587" y="525"/>
                  </a:lnTo>
                  <a:lnTo>
                    <a:pt x="3586" y="529"/>
                  </a:lnTo>
                  <a:lnTo>
                    <a:pt x="3587" y="533"/>
                  </a:lnTo>
                  <a:lnTo>
                    <a:pt x="3590" y="536"/>
                  </a:lnTo>
                  <a:lnTo>
                    <a:pt x="3590" y="536"/>
                  </a:lnTo>
                  <a:lnTo>
                    <a:pt x="3611" y="560"/>
                  </a:lnTo>
                  <a:lnTo>
                    <a:pt x="3627" y="576"/>
                  </a:lnTo>
                  <a:lnTo>
                    <a:pt x="3640" y="586"/>
                  </a:lnTo>
                  <a:lnTo>
                    <a:pt x="3640" y="586"/>
                  </a:lnTo>
                  <a:lnTo>
                    <a:pt x="3650" y="595"/>
                  </a:lnTo>
                  <a:lnTo>
                    <a:pt x="3660" y="603"/>
                  </a:lnTo>
                  <a:lnTo>
                    <a:pt x="3674" y="617"/>
                  </a:lnTo>
                  <a:lnTo>
                    <a:pt x="3674" y="617"/>
                  </a:lnTo>
                  <a:lnTo>
                    <a:pt x="3694" y="638"/>
                  </a:lnTo>
                  <a:lnTo>
                    <a:pt x="3707" y="650"/>
                  </a:lnTo>
                  <a:lnTo>
                    <a:pt x="3717" y="658"/>
                  </a:lnTo>
                  <a:lnTo>
                    <a:pt x="3717" y="658"/>
                  </a:lnTo>
                  <a:lnTo>
                    <a:pt x="3724" y="663"/>
                  </a:lnTo>
                  <a:lnTo>
                    <a:pt x="3732" y="669"/>
                  </a:lnTo>
                  <a:lnTo>
                    <a:pt x="3739" y="678"/>
                  </a:lnTo>
                  <a:lnTo>
                    <a:pt x="3744" y="683"/>
                  </a:lnTo>
                  <a:lnTo>
                    <a:pt x="3744" y="683"/>
                  </a:lnTo>
                  <a:lnTo>
                    <a:pt x="3746" y="686"/>
                  </a:lnTo>
                  <a:lnTo>
                    <a:pt x="3749" y="688"/>
                  </a:lnTo>
                  <a:lnTo>
                    <a:pt x="3752" y="686"/>
                  </a:lnTo>
                  <a:lnTo>
                    <a:pt x="3753" y="683"/>
                  </a:lnTo>
                  <a:lnTo>
                    <a:pt x="3756" y="680"/>
                  </a:lnTo>
                  <a:lnTo>
                    <a:pt x="3756" y="675"/>
                  </a:lnTo>
                  <a:lnTo>
                    <a:pt x="3757" y="668"/>
                  </a:lnTo>
                  <a:lnTo>
                    <a:pt x="3756" y="658"/>
                  </a:lnTo>
                  <a:lnTo>
                    <a:pt x="3756" y="658"/>
                  </a:lnTo>
                  <a:lnTo>
                    <a:pt x="3754" y="650"/>
                  </a:lnTo>
                  <a:lnTo>
                    <a:pt x="3752" y="643"/>
                  </a:lnTo>
                  <a:lnTo>
                    <a:pt x="3749" y="639"/>
                  </a:lnTo>
                  <a:lnTo>
                    <a:pt x="3746" y="636"/>
                  </a:lnTo>
                  <a:lnTo>
                    <a:pt x="3740" y="632"/>
                  </a:lnTo>
                  <a:lnTo>
                    <a:pt x="3740" y="630"/>
                  </a:lnTo>
                  <a:lnTo>
                    <a:pt x="3740" y="630"/>
                  </a:lnTo>
                  <a:lnTo>
                    <a:pt x="3740" y="630"/>
                  </a:lnTo>
                  <a:lnTo>
                    <a:pt x="3743" y="629"/>
                  </a:lnTo>
                  <a:lnTo>
                    <a:pt x="3746" y="629"/>
                  </a:lnTo>
                  <a:lnTo>
                    <a:pt x="3747" y="629"/>
                  </a:lnTo>
                  <a:lnTo>
                    <a:pt x="3750" y="626"/>
                  </a:lnTo>
                  <a:lnTo>
                    <a:pt x="3750" y="626"/>
                  </a:lnTo>
                  <a:lnTo>
                    <a:pt x="3753" y="625"/>
                  </a:lnTo>
                  <a:lnTo>
                    <a:pt x="3756" y="625"/>
                  </a:lnTo>
                  <a:lnTo>
                    <a:pt x="3764" y="628"/>
                  </a:lnTo>
                  <a:lnTo>
                    <a:pt x="3764" y="628"/>
                  </a:lnTo>
                  <a:lnTo>
                    <a:pt x="3766" y="628"/>
                  </a:lnTo>
                  <a:lnTo>
                    <a:pt x="3766" y="626"/>
                  </a:lnTo>
                  <a:lnTo>
                    <a:pt x="3762" y="620"/>
                  </a:lnTo>
                  <a:lnTo>
                    <a:pt x="3747" y="605"/>
                  </a:lnTo>
                  <a:lnTo>
                    <a:pt x="3747" y="605"/>
                  </a:lnTo>
                  <a:lnTo>
                    <a:pt x="3744" y="599"/>
                  </a:lnTo>
                  <a:lnTo>
                    <a:pt x="3744" y="596"/>
                  </a:lnTo>
                  <a:lnTo>
                    <a:pt x="3744" y="593"/>
                  </a:lnTo>
                  <a:lnTo>
                    <a:pt x="3747" y="589"/>
                  </a:lnTo>
                  <a:lnTo>
                    <a:pt x="3747" y="589"/>
                  </a:lnTo>
                  <a:lnTo>
                    <a:pt x="3749" y="586"/>
                  </a:lnTo>
                  <a:lnTo>
                    <a:pt x="3750" y="585"/>
                  </a:lnTo>
                  <a:lnTo>
                    <a:pt x="3753" y="585"/>
                  </a:lnTo>
                  <a:lnTo>
                    <a:pt x="3756" y="587"/>
                  </a:lnTo>
                  <a:lnTo>
                    <a:pt x="3756" y="587"/>
                  </a:lnTo>
                  <a:lnTo>
                    <a:pt x="3759" y="589"/>
                  </a:lnTo>
                  <a:lnTo>
                    <a:pt x="3763" y="590"/>
                  </a:lnTo>
                  <a:lnTo>
                    <a:pt x="3767" y="590"/>
                  </a:lnTo>
                  <a:lnTo>
                    <a:pt x="3769" y="587"/>
                  </a:lnTo>
                  <a:lnTo>
                    <a:pt x="3769" y="587"/>
                  </a:lnTo>
                  <a:lnTo>
                    <a:pt x="3770" y="583"/>
                  </a:lnTo>
                  <a:lnTo>
                    <a:pt x="3770" y="579"/>
                  </a:lnTo>
                  <a:lnTo>
                    <a:pt x="3769" y="576"/>
                  </a:lnTo>
                  <a:lnTo>
                    <a:pt x="3764" y="573"/>
                  </a:lnTo>
                  <a:lnTo>
                    <a:pt x="3764" y="573"/>
                  </a:lnTo>
                  <a:lnTo>
                    <a:pt x="3757" y="570"/>
                  </a:lnTo>
                  <a:lnTo>
                    <a:pt x="3747" y="563"/>
                  </a:lnTo>
                  <a:lnTo>
                    <a:pt x="3739" y="555"/>
                  </a:lnTo>
                  <a:lnTo>
                    <a:pt x="3736" y="549"/>
                  </a:lnTo>
                  <a:lnTo>
                    <a:pt x="3736" y="545"/>
                  </a:lnTo>
                  <a:lnTo>
                    <a:pt x="3736" y="545"/>
                  </a:lnTo>
                  <a:lnTo>
                    <a:pt x="3736" y="540"/>
                  </a:lnTo>
                  <a:lnTo>
                    <a:pt x="3737" y="539"/>
                  </a:lnTo>
                  <a:lnTo>
                    <a:pt x="3744" y="542"/>
                  </a:lnTo>
                  <a:lnTo>
                    <a:pt x="3744" y="542"/>
                  </a:lnTo>
                  <a:lnTo>
                    <a:pt x="3752" y="546"/>
                  </a:lnTo>
                  <a:lnTo>
                    <a:pt x="3756" y="546"/>
                  </a:lnTo>
                  <a:lnTo>
                    <a:pt x="3757" y="543"/>
                  </a:lnTo>
                  <a:lnTo>
                    <a:pt x="3757" y="543"/>
                  </a:lnTo>
                  <a:lnTo>
                    <a:pt x="3757" y="542"/>
                  </a:lnTo>
                  <a:lnTo>
                    <a:pt x="3757" y="540"/>
                  </a:lnTo>
                  <a:lnTo>
                    <a:pt x="3754" y="537"/>
                  </a:lnTo>
                  <a:lnTo>
                    <a:pt x="3743" y="529"/>
                  </a:lnTo>
                  <a:lnTo>
                    <a:pt x="3743" y="529"/>
                  </a:lnTo>
                  <a:lnTo>
                    <a:pt x="3739" y="526"/>
                  </a:lnTo>
                  <a:lnTo>
                    <a:pt x="3734" y="526"/>
                  </a:lnTo>
                  <a:lnTo>
                    <a:pt x="3732" y="526"/>
                  </a:lnTo>
                  <a:lnTo>
                    <a:pt x="3727" y="525"/>
                  </a:lnTo>
                  <a:lnTo>
                    <a:pt x="3727" y="525"/>
                  </a:lnTo>
                  <a:lnTo>
                    <a:pt x="3720" y="517"/>
                  </a:lnTo>
                  <a:lnTo>
                    <a:pt x="3717" y="515"/>
                  </a:lnTo>
                  <a:lnTo>
                    <a:pt x="3714" y="512"/>
                  </a:lnTo>
                  <a:lnTo>
                    <a:pt x="3714" y="512"/>
                  </a:lnTo>
                  <a:lnTo>
                    <a:pt x="3714" y="503"/>
                  </a:lnTo>
                  <a:lnTo>
                    <a:pt x="3714" y="500"/>
                  </a:lnTo>
                  <a:lnTo>
                    <a:pt x="3713" y="497"/>
                  </a:lnTo>
                  <a:lnTo>
                    <a:pt x="3713" y="497"/>
                  </a:lnTo>
                  <a:lnTo>
                    <a:pt x="3709" y="496"/>
                  </a:lnTo>
                  <a:lnTo>
                    <a:pt x="3702" y="493"/>
                  </a:lnTo>
                  <a:lnTo>
                    <a:pt x="3696" y="493"/>
                  </a:lnTo>
                  <a:lnTo>
                    <a:pt x="3692" y="493"/>
                  </a:lnTo>
                  <a:lnTo>
                    <a:pt x="3692" y="493"/>
                  </a:lnTo>
                  <a:lnTo>
                    <a:pt x="3690" y="499"/>
                  </a:lnTo>
                  <a:lnTo>
                    <a:pt x="3689" y="500"/>
                  </a:lnTo>
                  <a:lnTo>
                    <a:pt x="3687" y="499"/>
                  </a:lnTo>
                  <a:lnTo>
                    <a:pt x="3687" y="499"/>
                  </a:lnTo>
                  <a:lnTo>
                    <a:pt x="3683" y="496"/>
                  </a:lnTo>
                  <a:lnTo>
                    <a:pt x="3676" y="490"/>
                  </a:lnTo>
                  <a:lnTo>
                    <a:pt x="3669" y="485"/>
                  </a:lnTo>
                  <a:lnTo>
                    <a:pt x="3667" y="482"/>
                  </a:lnTo>
                  <a:lnTo>
                    <a:pt x="3666" y="479"/>
                  </a:lnTo>
                  <a:lnTo>
                    <a:pt x="3666" y="479"/>
                  </a:lnTo>
                  <a:lnTo>
                    <a:pt x="3667" y="467"/>
                  </a:lnTo>
                  <a:lnTo>
                    <a:pt x="3667" y="463"/>
                  </a:lnTo>
                  <a:lnTo>
                    <a:pt x="3666" y="459"/>
                  </a:lnTo>
                  <a:lnTo>
                    <a:pt x="3666" y="459"/>
                  </a:lnTo>
                  <a:lnTo>
                    <a:pt x="3663" y="454"/>
                  </a:lnTo>
                  <a:lnTo>
                    <a:pt x="3657" y="450"/>
                  </a:lnTo>
                  <a:lnTo>
                    <a:pt x="3653" y="447"/>
                  </a:lnTo>
                  <a:lnTo>
                    <a:pt x="3652" y="444"/>
                  </a:lnTo>
                  <a:lnTo>
                    <a:pt x="3653" y="443"/>
                  </a:lnTo>
                  <a:lnTo>
                    <a:pt x="3653" y="443"/>
                  </a:lnTo>
                  <a:lnTo>
                    <a:pt x="3657" y="437"/>
                  </a:lnTo>
                  <a:lnTo>
                    <a:pt x="3659" y="436"/>
                  </a:lnTo>
                  <a:lnTo>
                    <a:pt x="3662" y="436"/>
                  </a:lnTo>
                  <a:lnTo>
                    <a:pt x="3662" y="436"/>
                  </a:lnTo>
                  <a:lnTo>
                    <a:pt x="3666" y="437"/>
                  </a:lnTo>
                  <a:lnTo>
                    <a:pt x="3667" y="436"/>
                  </a:lnTo>
                  <a:lnTo>
                    <a:pt x="3670" y="434"/>
                  </a:lnTo>
                  <a:lnTo>
                    <a:pt x="3670" y="434"/>
                  </a:lnTo>
                  <a:lnTo>
                    <a:pt x="3672" y="434"/>
                  </a:lnTo>
                  <a:lnTo>
                    <a:pt x="3674" y="437"/>
                  </a:lnTo>
                  <a:lnTo>
                    <a:pt x="3682" y="440"/>
                  </a:lnTo>
                  <a:lnTo>
                    <a:pt x="3682" y="440"/>
                  </a:lnTo>
                  <a:lnTo>
                    <a:pt x="3683" y="440"/>
                  </a:lnTo>
                  <a:lnTo>
                    <a:pt x="3683" y="437"/>
                  </a:lnTo>
                  <a:lnTo>
                    <a:pt x="3686" y="429"/>
                  </a:lnTo>
                  <a:lnTo>
                    <a:pt x="3686" y="429"/>
                  </a:lnTo>
                  <a:lnTo>
                    <a:pt x="3686" y="427"/>
                  </a:lnTo>
                  <a:lnTo>
                    <a:pt x="3689" y="426"/>
                  </a:lnTo>
                  <a:lnTo>
                    <a:pt x="3693" y="427"/>
                  </a:lnTo>
                  <a:lnTo>
                    <a:pt x="3699" y="430"/>
                  </a:lnTo>
                  <a:lnTo>
                    <a:pt x="3704" y="436"/>
                  </a:lnTo>
                  <a:lnTo>
                    <a:pt x="3704" y="436"/>
                  </a:lnTo>
                  <a:lnTo>
                    <a:pt x="3709" y="442"/>
                  </a:lnTo>
                  <a:lnTo>
                    <a:pt x="3712" y="443"/>
                  </a:lnTo>
                  <a:lnTo>
                    <a:pt x="3712" y="442"/>
                  </a:lnTo>
                  <a:lnTo>
                    <a:pt x="3713" y="439"/>
                  </a:lnTo>
                  <a:lnTo>
                    <a:pt x="3713" y="439"/>
                  </a:lnTo>
                  <a:lnTo>
                    <a:pt x="3713" y="434"/>
                  </a:lnTo>
                  <a:lnTo>
                    <a:pt x="3713" y="430"/>
                  </a:lnTo>
                  <a:lnTo>
                    <a:pt x="3714" y="429"/>
                  </a:lnTo>
                  <a:lnTo>
                    <a:pt x="3716" y="426"/>
                  </a:lnTo>
                  <a:lnTo>
                    <a:pt x="3720" y="426"/>
                  </a:lnTo>
                  <a:lnTo>
                    <a:pt x="3724" y="424"/>
                  </a:lnTo>
                  <a:lnTo>
                    <a:pt x="3724" y="424"/>
                  </a:lnTo>
                  <a:lnTo>
                    <a:pt x="3744" y="422"/>
                  </a:lnTo>
                  <a:lnTo>
                    <a:pt x="3754" y="422"/>
                  </a:lnTo>
                  <a:lnTo>
                    <a:pt x="3757" y="422"/>
                  </a:lnTo>
                  <a:lnTo>
                    <a:pt x="3760" y="423"/>
                  </a:lnTo>
                  <a:lnTo>
                    <a:pt x="3760" y="423"/>
                  </a:lnTo>
                  <a:lnTo>
                    <a:pt x="3772" y="432"/>
                  </a:lnTo>
                  <a:lnTo>
                    <a:pt x="3777" y="434"/>
                  </a:lnTo>
                  <a:lnTo>
                    <a:pt x="3784" y="437"/>
                  </a:lnTo>
                  <a:lnTo>
                    <a:pt x="3784" y="437"/>
                  </a:lnTo>
                  <a:lnTo>
                    <a:pt x="3787" y="437"/>
                  </a:lnTo>
                  <a:lnTo>
                    <a:pt x="3789" y="437"/>
                  </a:lnTo>
                  <a:lnTo>
                    <a:pt x="3787" y="434"/>
                  </a:lnTo>
                  <a:lnTo>
                    <a:pt x="3786" y="429"/>
                  </a:lnTo>
                  <a:lnTo>
                    <a:pt x="3784" y="423"/>
                  </a:lnTo>
                  <a:lnTo>
                    <a:pt x="3784" y="423"/>
                  </a:lnTo>
                  <a:lnTo>
                    <a:pt x="3786" y="420"/>
                  </a:lnTo>
                  <a:lnTo>
                    <a:pt x="3787" y="422"/>
                  </a:lnTo>
                  <a:lnTo>
                    <a:pt x="3790" y="422"/>
                  </a:lnTo>
                  <a:lnTo>
                    <a:pt x="3792" y="422"/>
                  </a:lnTo>
                  <a:lnTo>
                    <a:pt x="3793" y="420"/>
                  </a:lnTo>
                  <a:lnTo>
                    <a:pt x="3793" y="420"/>
                  </a:lnTo>
                  <a:lnTo>
                    <a:pt x="3797" y="412"/>
                  </a:lnTo>
                  <a:lnTo>
                    <a:pt x="3800" y="399"/>
                  </a:lnTo>
                  <a:lnTo>
                    <a:pt x="3800" y="399"/>
                  </a:lnTo>
                  <a:lnTo>
                    <a:pt x="3802" y="394"/>
                  </a:lnTo>
                  <a:lnTo>
                    <a:pt x="3804" y="392"/>
                  </a:lnTo>
                  <a:lnTo>
                    <a:pt x="3807" y="392"/>
                  </a:lnTo>
                  <a:lnTo>
                    <a:pt x="3813" y="390"/>
                  </a:lnTo>
                  <a:lnTo>
                    <a:pt x="3813" y="390"/>
                  </a:lnTo>
                  <a:lnTo>
                    <a:pt x="3820" y="389"/>
                  </a:lnTo>
                  <a:lnTo>
                    <a:pt x="3822" y="387"/>
                  </a:lnTo>
                  <a:lnTo>
                    <a:pt x="3823" y="384"/>
                  </a:lnTo>
                  <a:lnTo>
                    <a:pt x="3823" y="384"/>
                  </a:lnTo>
                  <a:lnTo>
                    <a:pt x="3824" y="382"/>
                  </a:lnTo>
                  <a:lnTo>
                    <a:pt x="3829" y="379"/>
                  </a:lnTo>
                  <a:lnTo>
                    <a:pt x="3837" y="374"/>
                  </a:lnTo>
                  <a:lnTo>
                    <a:pt x="3837" y="374"/>
                  </a:lnTo>
                  <a:lnTo>
                    <a:pt x="3840" y="372"/>
                  </a:lnTo>
                  <a:lnTo>
                    <a:pt x="3839" y="370"/>
                  </a:lnTo>
                  <a:lnTo>
                    <a:pt x="3837" y="367"/>
                  </a:lnTo>
                  <a:lnTo>
                    <a:pt x="3834" y="363"/>
                  </a:lnTo>
                  <a:lnTo>
                    <a:pt x="3834" y="363"/>
                  </a:lnTo>
                  <a:lnTo>
                    <a:pt x="3834" y="360"/>
                  </a:lnTo>
                  <a:lnTo>
                    <a:pt x="3837" y="362"/>
                  </a:lnTo>
                  <a:lnTo>
                    <a:pt x="3844" y="366"/>
                  </a:lnTo>
                  <a:lnTo>
                    <a:pt x="3844" y="366"/>
                  </a:lnTo>
                  <a:lnTo>
                    <a:pt x="3849" y="369"/>
                  </a:lnTo>
                  <a:lnTo>
                    <a:pt x="3854" y="370"/>
                  </a:lnTo>
                  <a:lnTo>
                    <a:pt x="3866" y="372"/>
                  </a:lnTo>
                  <a:lnTo>
                    <a:pt x="3866" y="372"/>
                  </a:lnTo>
                  <a:lnTo>
                    <a:pt x="3882" y="376"/>
                  </a:lnTo>
                  <a:lnTo>
                    <a:pt x="3889" y="377"/>
                  </a:lnTo>
                  <a:lnTo>
                    <a:pt x="3892" y="377"/>
                  </a:lnTo>
                  <a:lnTo>
                    <a:pt x="3893" y="376"/>
                  </a:lnTo>
                  <a:lnTo>
                    <a:pt x="3893" y="376"/>
                  </a:lnTo>
                  <a:lnTo>
                    <a:pt x="3894" y="373"/>
                  </a:lnTo>
                  <a:lnTo>
                    <a:pt x="3896" y="369"/>
                  </a:lnTo>
                  <a:lnTo>
                    <a:pt x="3894" y="366"/>
                  </a:lnTo>
                  <a:lnTo>
                    <a:pt x="3890" y="363"/>
                  </a:lnTo>
                  <a:lnTo>
                    <a:pt x="3890" y="363"/>
                  </a:lnTo>
                  <a:lnTo>
                    <a:pt x="3880" y="359"/>
                  </a:lnTo>
                  <a:lnTo>
                    <a:pt x="3874" y="357"/>
                  </a:lnTo>
                  <a:lnTo>
                    <a:pt x="3874" y="357"/>
                  </a:lnTo>
                  <a:lnTo>
                    <a:pt x="3869" y="353"/>
                  </a:lnTo>
                  <a:lnTo>
                    <a:pt x="3864" y="352"/>
                  </a:lnTo>
                  <a:lnTo>
                    <a:pt x="3860" y="352"/>
                  </a:lnTo>
                  <a:lnTo>
                    <a:pt x="3860" y="352"/>
                  </a:lnTo>
                  <a:lnTo>
                    <a:pt x="3857" y="350"/>
                  </a:lnTo>
                  <a:lnTo>
                    <a:pt x="3853" y="349"/>
                  </a:lnTo>
                  <a:lnTo>
                    <a:pt x="3843" y="344"/>
                  </a:lnTo>
                  <a:lnTo>
                    <a:pt x="3843" y="344"/>
                  </a:lnTo>
                  <a:lnTo>
                    <a:pt x="3840" y="342"/>
                  </a:lnTo>
                  <a:lnTo>
                    <a:pt x="3837" y="339"/>
                  </a:lnTo>
                  <a:lnTo>
                    <a:pt x="3836" y="336"/>
                  </a:lnTo>
                  <a:lnTo>
                    <a:pt x="3832" y="334"/>
                  </a:lnTo>
                  <a:lnTo>
                    <a:pt x="3832" y="334"/>
                  </a:lnTo>
                  <a:lnTo>
                    <a:pt x="3826" y="332"/>
                  </a:lnTo>
                  <a:lnTo>
                    <a:pt x="3823" y="330"/>
                  </a:lnTo>
                  <a:lnTo>
                    <a:pt x="3823" y="330"/>
                  </a:lnTo>
                  <a:lnTo>
                    <a:pt x="3816" y="326"/>
                  </a:lnTo>
                  <a:lnTo>
                    <a:pt x="3812" y="324"/>
                  </a:lnTo>
                  <a:lnTo>
                    <a:pt x="3809" y="324"/>
                  </a:lnTo>
                  <a:lnTo>
                    <a:pt x="3809" y="324"/>
                  </a:lnTo>
                  <a:lnTo>
                    <a:pt x="3806" y="326"/>
                  </a:lnTo>
                  <a:lnTo>
                    <a:pt x="3802" y="326"/>
                  </a:lnTo>
                  <a:lnTo>
                    <a:pt x="3802" y="326"/>
                  </a:lnTo>
                  <a:lnTo>
                    <a:pt x="3790" y="322"/>
                  </a:lnTo>
                  <a:lnTo>
                    <a:pt x="3784" y="319"/>
                  </a:lnTo>
                  <a:lnTo>
                    <a:pt x="3782" y="316"/>
                  </a:lnTo>
                  <a:lnTo>
                    <a:pt x="3782" y="316"/>
                  </a:lnTo>
                  <a:lnTo>
                    <a:pt x="3783" y="314"/>
                  </a:lnTo>
                  <a:lnTo>
                    <a:pt x="3786" y="314"/>
                  </a:lnTo>
                  <a:lnTo>
                    <a:pt x="3796" y="316"/>
                  </a:lnTo>
                  <a:lnTo>
                    <a:pt x="3796" y="316"/>
                  </a:lnTo>
                  <a:lnTo>
                    <a:pt x="3804" y="316"/>
                  </a:lnTo>
                  <a:lnTo>
                    <a:pt x="3809" y="314"/>
                  </a:lnTo>
                  <a:lnTo>
                    <a:pt x="3809" y="314"/>
                  </a:lnTo>
                  <a:lnTo>
                    <a:pt x="3810" y="313"/>
                  </a:lnTo>
                  <a:lnTo>
                    <a:pt x="3812" y="313"/>
                  </a:lnTo>
                  <a:lnTo>
                    <a:pt x="3813" y="313"/>
                  </a:lnTo>
                  <a:lnTo>
                    <a:pt x="3816" y="312"/>
                  </a:lnTo>
                  <a:lnTo>
                    <a:pt x="3816" y="312"/>
                  </a:lnTo>
                  <a:lnTo>
                    <a:pt x="3819" y="306"/>
                  </a:lnTo>
                  <a:lnTo>
                    <a:pt x="3817" y="303"/>
                  </a:lnTo>
                  <a:lnTo>
                    <a:pt x="3816" y="300"/>
                  </a:lnTo>
                  <a:lnTo>
                    <a:pt x="3816" y="300"/>
                  </a:lnTo>
                  <a:lnTo>
                    <a:pt x="3799" y="289"/>
                  </a:lnTo>
                  <a:lnTo>
                    <a:pt x="3789" y="281"/>
                  </a:lnTo>
                  <a:lnTo>
                    <a:pt x="3784" y="277"/>
                  </a:lnTo>
                  <a:lnTo>
                    <a:pt x="3784" y="277"/>
                  </a:lnTo>
                  <a:lnTo>
                    <a:pt x="3783" y="273"/>
                  </a:lnTo>
                  <a:lnTo>
                    <a:pt x="3784" y="271"/>
                  </a:lnTo>
                  <a:lnTo>
                    <a:pt x="3787" y="273"/>
                  </a:lnTo>
                  <a:lnTo>
                    <a:pt x="3787" y="273"/>
                  </a:lnTo>
                  <a:lnTo>
                    <a:pt x="3794" y="276"/>
                  </a:lnTo>
                  <a:lnTo>
                    <a:pt x="3797" y="277"/>
                  </a:lnTo>
                  <a:lnTo>
                    <a:pt x="3799" y="274"/>
                  </a:lnTo>
                  <a:lnTo>
                    <a:pt x="3799" y="274"/>
                  </a:lnTo>
                  <a:lnTo>
                    <a:pt x="3800" y="273"/>
                  </a:lnTo>
                  <a:lnTo>
                    <a:pt x="3803" y="271"/>
                  </a:lnTo>
                  <a:lnTo>
                    <a:pt x="3804" y="273"/>
                  </a:lnTo>
                  <a:lnTo>
                    <a:pt x="3806" y="274"/>
                  </a:lnTo>
                  <a:lnTo>
                    <a:pt x="3806" y="274"/>
                  </a:lnTo>
                  <a:lnTo>
                    <a:pt x="3806" y="277"/>
                  </a:lnTo>
                  <a:lnTo>
                    <a:pt x="3807" y="279"/>
                  </a:lnTo>
                  <a:lnTo>
                    <a:pt x="3809" y="280"/>
                  </a:lnTo>
                  <a:lnTo>
                    <a:pt x="3809" y="280"/>
                  </a:lnTo>
                  <a:lnTo>
                    <a:pt x="3812" y="281"/>
                  </a:lnTo>
                  <a:lnTo>
                    <a:pt x="3816" y="284"/>
                  </a:lnTo>
                  <a:lnTo>
                    <a:pt x="3816" y="284"/>
                  </a:lnTo>
                  <a:lnTo>
                    <a:pt x="3819" y="286"/>
                  </a:lnTo>
                  <a:lnTo>
                    <a:pt x="3820" y="286"/>
                  </a:lnTo>
                  <a:lnTo>
                    <a:pt x="3822" y="286"/>
                  </a:lnTo>
                  <a:lnTo>
                    <a:pt x="3824" y="289"/>
                  </a:lnTo>
                  <a:lnTo>
                    <a:pt x="3824" y="289"/>
                  </a:lnTo>
                  <a:lnTo>
                    <a:pt x="3827" y="291"/>
                  </a:lnTo>
                  <a:lnTo>
                    <a:pt x="3832" y="294"/>
                  </a:lnTo>
                  <a:lnTo>
                    <a:pt x="3832" y="294"/>
                  </a:lnTo>
                  <a:lnTo>
                    <a:pt x="3840" y="294"/>
                  </a:lnTo>
                  <a:lnTo>
                    <a:pt x="3850" y="293"/>
                  </a:lnTo>
                  <a:lnTo>
                    <a:pt x="3850" y="293"/>
                  </a:lnTo>
                  <a:lnTo>
                    <a:pt x="3859" y="290"/>
                  </a:lnTo>
                  <a:lnTo>
                    <a:pt x="3862" y="289"/>
                  </a:lnTo>
                  <a:lnTo>
                    <a:pt x="3866" y="290"/>
                  </a:lnTo>
                  <a:lnTo>
                    <a:pt x="3866" y="290"/>
                  </a:lnTo>
                  <a:lnTo>
                    <a:pt x="3874" y="293"/>
                  </a:lnTo>
                  <a:lnTo>
                    <a:pt x="3882" y="294"/>
                  </a:lnTo>
                  <a:lnTo>
                    <a:pt x="3882" y="294"/>
                  </a:lnTo>
                  <a:lnTo>
                    <a:pt x="3886" y="294"/>
                  </a:lnTo>
                  <a:lnTo>
                    <a:pt x="3893" y="299"/>
                  </a:lnTo>
                  <a:lnTo>
                    <a:pt x="3893" y="299"/>
                  </a:lnTo>
                  <a:lnTo>
                    <a:pt x="3904" y="306"/>
                  </a:lnTo>
                  <a:lnTo>
                    <a:pt x="3912" y="310"/>
                  </a:lnTo>
                  <a:lnTo>
                    <a:pt x="3922" y="312"/>
                  </a:lnTo>
                  <a:lnTo>
                    <a:pt x="3922" y="312"/>
                  </a:lnTo>
                  <a:lnTo>
                    <a:pt x="3936" y="313"/>
                  </a:lnTo>
                  <a:lnTo>
                    <a:pt x="3946" y="317"/>
                  </a:lnTo>
                  <a:lnTo>
                    <a:pt x="3946" y="317"/>
                  </a:lnTo>
                  <a:lnTo>
                    <a:pt x="3956" y="322"/>
                  </a:lnTo>
                  <a:lnTo>
                    <a:pt x="3962" y="323"/>
                  </a:lnTo>
                  <a:lnTo>
                    <a:pt x="3966" y="323"/>
                  </a:lnTo>
                  <a:lnTo>
                    <a:pt x="3966" y="323"/>
                  </a:lnTo>
                  <a:lnTo>
                    <a:pt x="3969" y="323"/>
                  </a:lnTo>
                  <a:lnTo>
                    <a:pt x="3973" y="324"/>
                  </a:lnTo>
                  <a:lnTo>
                    <a:pt x="3982" y="326"/>
                  </a:lnTo>
                  <a:lnTo>
                    <a:pt x="3982" y="326"/>
                  </a:lnTo>
                  <a:lnTo>
                    <a:pt x="3986" y="326"/>
                  </a:lnTo>
                  <a:lnTo>
                    <a:pt x="3987" y="324"/>
                  </a:lnTo>
                  <a:lnTo>
                    <a:pt x="3987" y="323"/>
                  </a:lnTo>
                  <a:lnTo>
                    <a:pt x="3987" y="323"/>
                  </a:lnTo>
                  <a:lnTo>
                    <a:pt x="3989" y="322"/>
                  </a:lnTo>
                  <a:lnTo>
                    <a:pt x="3990" y="322"/>
                  </a:lnTo>
                  <a:lnTo>
                    <a:pt x="3990" y="322"/>
                  </a:lnTo>
                  <a:lnTo>
                    <a:pt x="3989" y="320"/>
                  </a:lnTo>
                  <a:lnTo>
                    <a:pt x="3984" y="314"/>
                  </a:lnTo>
                  <a:lnTo>
                    <a:pt x="3984" y="314"/>
                  </a:lnTo>
                  <a:close/>
                  <a:moveTo>
                    <a:pt x="1216" y="959"/>
                  </a:moveTo>
                  <a:lnTo>
                    <a:pt x="1211" y="962"/>
                  </a:lnTo>
                  <a:lnTo>
                    <a:pt x="1199" y="968"/>
                  </a:lnTo>
                  <a:lnTo>
                    <a:pt x="1191" y="975"/>
                  </a:lnTo>
                  <a:lnTo>
                    <a:pt x="1191" y="975"/>
                  </a:lnTo>
                  <a:lnTo>
                    <a:pt x="1189" y="975"/>
                  </a:lnTo>
                  <a:lnTo>
                    <a:pt x="1186" y="975"/>
                  </a:lnTo>
                  <a:lnTo>
                    <a:pt x="1186" y="975"/>
                  </a:lnTo>
                  <a:lnTo>
                    <a:pt x="1182" y="976"/>
                  </a:lnTo>
                  <a:lnTo>
                    <a:pt x="1179" y="976"/>
                  </a:lnTo>
                  <a:lnTo>
                    <a:pt x="1169" y="971"/>
                  </a:lnTo>
                  <a:lnTo>
                    <a:pt x="1165" y="969"/>
                  </a:lnTo>
                  <a:lnTo>
                    <a:pt x="1158" y="972"/>
                  </a:lnTo>
                  <a:lnTo>
                    <a:pt x="1151" y="978"/>
                  </a:lnTo>
                  <a:lnTo>
                    <a:pt x="1145" y="978"/>
                  </a:lnTo>
                  <a:lnTo>
                    <a:pt x="1136" y="976"/>
                  </a:lnTo>
                  <a:lnTo>
                    <a:pt x="1126" y="969"/>
                  </a:lnTo>
                  <a:lnTo>
                    <a:pt x="1120" y="972"/>
                  </a:lnTo>
                  <a:lnTo>
                    <a:pt x="1116" y="972"/>
                  </a:lnTo>
                  <a:lnTo>
                    <a:pt x="1113" y="969"/>
                  </a:lnTo>
                  <a:lnTo>
                    <a:pt x="1108" y="962"/>
                  </a:lnTo>
                  <a:lnTo>
                    <a:pt x="1105" y="961"/>
                  </a:lnTo>
                  <a:lnTo>
                    <a:pt x="1095" y="964"/>
                  </a:lnTo>
                  <a:lnTo>
                    <a:pt x="1089" y="962"/>
                  </a:lnTo>
                  <a:lnTo>
                    <a:pt x="1089" y="958"/>
                  </a:lnTo>
                  <a:lnTo>
                    <a:pt x="1088" y="952"/>
                  </a:lnTo>
                  <a:lnTo>
                    <a:pt x="1082" y="952"/>
                  </a:lnTo>
                  <a:lnTo>
                    <a:pt x="1070" y="955"/>
                  </a:lnTo>
                  <a:lnTo>
                    <a:pt x="1063" y="951"/>
                  </a:lnTo>
                  <a:lnTo>
                    <a:pt x="1063" y="942"/>
                  </a:lnTo>
                  <a:lnTo>
                    <a:pt x="1062" y="942"/>
                  </a:lnTo>
                  <a:lnTo>
                    <a:pt x="1058" y="945"/>
                  </a:lnTo>
                  <a:lnTo>
                    <a:pt x="1053" y="946"/>
                  </a:lnTo>
                  <a:lnTo>
                    <a:pt x="1039" y="943"/>
                  </a:lnTo>
                  <a:lnTo>
                    <a:pt x="1025" y="945"/>
                  </a:lnTo>
                  <a:lnTo>
                    <a:pt x="1018" y="946"/>
                  </a:lnTo>
                  <a:lnTo>
                    <a:pt x="1008" y="946"/>
                  </a:lnTo>
                  <a:lnTo>
                    <a:pt x="1008" y="946"/>
                  </a:lnTo>
                  <a:lnTo>
                    <a:pt x="1002" y="949"/>
                  </a:lnTo>
                  <a:lnTo>
                    <a:pt x="1002" y="949"/>
                  </a:lnTo>
                  <a:lnTo>
                    <a:pt x="996" y="956"/>
                  </a:lnTo>
                  <a:lnTo>
                    <a:pt x="989" y="961"/>
                  </a:lnTo>
                  <a:lnTo>
                    <a:pt x="983" y="964"/>
                  </a:lnTo>
                  <a:lnTo>
                    <a:pt x="978" y="965"/>
                  </a:lnTo>
                  <a:lnTo>
                    <a:pt x="975" y="968"/>
                  </a:lnTo>
                  <a:lnTo>
                    <a:pt x="975" y="971"/>
                  </a:lnTo>
                  <a:lnTo>
                    <a:pt x="966" y="971"/>
                  </a:lnTo>
                  <a:lnTo>
                    <a:pt x="953" y="969"/>
                  </a:lnTo>
                  <a:lnTo>
                    <a:pt x="949" y="966"/>
                  </a:lnTo>
                  <a:lnTo>
                    <a:pt x="943" y="966"/>
                  </a:lnTo>
                  <a:lnTo>
                    <a:pt x="936" y="968"/>
                  </a:lnTo>
                  <a:lnTo>
                    <a:pt x="929" y="965"/>
                  </a:lnTo>
                  <a:lnTo>
                    <a:pt x="926" y="965"/>
                  </a:lnTo>
                  <a:lnTo>
                    <a:pt x="923" y="969"/>
                  </a:lnTo>
                  <a:lnTo>
                    <a:pt x="925" y="966"/>
                  </a:lnTo>
                  <a:lnTo>
                    <a:pt x="925" y="966"/>
                  </a:lnTo>
                  <a:lnTo>
                    <a:pt x="919" y="966"/>
                  </a:lnTo>
                  <a:lnTo>
                    <a:pt x="915" y="965"/>
                  </a:lnTo>
                  <a:lnTo>
                    <a:pt x="906" y="962"/>
                  </a:lnTo>
                  <a:lnTo>
                    <a:pt x="900" y="958"/>
                  </a:lnTo>
                  <a:lnTo>
                    <a:pt x="895" y="951"/>
                  </a:lnTo>
                  <a:lnTo>
                    <a:pt x="896" y="948"/>
                  </a:lnTo>
                  <a:lnTo>
                    <a:pt x="896" y="943"/>
                  </a:lnTo>
                  <a:lnTo>
                    <a:pt x="890" y="942"/>
                  </a:lnTo>
                  <a:lnTo>
                    <a:pt x="890" y="945"/>
                  </a:lnTo>
                  <a:lnTo>
                    <a:pt x="889" y="941"/>
                  </a:lnTo>
                  <a:lnTo>
                    <a:pt x="886" y="933"/>
                  </a:lnTo>
                  <a:lnTo>
                    <a:pt x="889" y="928"/>
                  </a:lnTo>
                  <a:lnTo>
                    <a:pt x="890" y="922"/>
                  </a:lnTo>
                  <a:lnTo>
                    <a:pt x="889" y="912"/>
                  </a:lnTo>
                  <a:lnTo>
                    <a:pt x="892" y="909"/>
                  </a:lnTo>
                  <a:lnTo>
                    <a:pt x="899" y="905"/>
                  </a:lnTo>
                  <a:lnTo>
                    <a:pt x="906" y="902"/>
                  </a:lnTo>
                  <a:lnTo>
                    <a:pt x="908" y="896"/>
                  </a:lnTo>
                  <a:lnTo>
                    <a:pt x="908" y="896"/>
                  </a:lnTo>
                  <a:lnTo>
                    <a:pt x="906" y="889"/>
                  </a:lnTo>
                  <a:lnTo>
                    <a:pt x="906" y="889"/>
                  </a:lnTo>
                  <a:lnTo>
                    <a:pt x="903" y="885"/>
                  </a:lnTo>
                  <a:lnTo>
                    <a:pt x="905" y="881"/>
                  </a:lnTo>
                  <a:lnTo>
                    <a:pt x="905" y="881"/>
                  </a:lnTo>
                  <a:lnTo>
                    <a:pt x="905" y="876"/>
                  </a:lnTo>
                  <a:lnTo>
                    <a:pt x="905" y="876"/>
                  </a:lnTo>
                  <a:lnTo>
                    <a:pt x="906" y="873"/>
                  </a:lnTo>
                  <a:lnTo>
                    <a:pt x="909" y="871"/>
                  </a:lnTo>
                  <a:lnTo>
                    <a:pt x="910" y="868"/>
                  </a:lnTo>
                  <a:lnTo>
                    <a:pt x="913" y="865"/>
                  </a:lnTo>
                  <a:lnTo>
                    <a:pt x="913" y="865"/>
                  </a:lnTo>
                  <a:lnTo>
                    <a:pt x="915" y="862"/>
                  </a:lnTo>
                  <a:lnTo>
                    <a:pt x="916" y="863"/>
                  </a:lnTo>
                  <a:lnTo>
                    <a:pt x="918" y="865"/>
                  </a:lnTo>
                  <a:lnTo>
                    <a:pt x="920" y="865"/>
                  </a:lnTo>
                  <a:lnTo>
                    <a:pt x="920" y="865"/>
                  </a:lnTo>
                  <a:lnTo>
                    <a:pt x="923" y="865"/>
                  </a:lnTo>
                  <a:lnTo>
                    <a:pt x="925" y="863"/>
                  </a:lnTo>
                  <a:lnTo>
                    <a:pt x="926" y="856"/>
                  </a:lnTo>
                  <a:lnTo>
                    <a:pt x="926" y="856"/>
                  </a:lnTo>
                  <a:lnTo>
                    <a:pt x="926" y="846"/>
                  </a:lnTo>
                  <a:lnTo>
                    <a:pt x="926" y="838"/>
                  </a:lnTo>
                  <a:lnTo>
                    <a:pt x="935" y="833"/>
                  </a:lnTo>
                  <a:lnTo>
                    <a:pt x="939" y="828"/>
                  </a:lnTo>
                  <a:lnTo>
                    <a:pt x="943" y="821"/>
                  </a:lnTo>
                  <a:lnTo>
                    <a:pt x="946" y="813"/>
                  </a:lnTo>
                  <a:lnTo>
                    <a:pt x="950" y="809"/>
                  </a:lnTo>
                  <a:lnTo>
                    <a:pt x="956" y="808"/>
                  </a:lnTo>
                  <a:lnTo>
                    <a:pt x="965" y="811"/>
                  </a:lnTo>
                  <a:lnTo>
                    <a:pt x="969" y="809"/>
                  </a:lnTo>
                  <a:lnTo>
                    <a:pt x="972" y="805"/>
                  </a:lnTo>
                  <a:lnTo>
                    <a:pt x="982" y="811"/>
                  </a:lnTo>
                  <a:lnTo>
                    <a:pt x="982" y="812"/>
                  </a:lnTo>
                  <a:lnTo>
                    <a:pt x="976" y="818"/>
                  </a:lnTo>
                  <a:lnTo>
                    <a:pt x="975" y="823"/>
                  </a:lnTo>
                  <a:lnTo>
                    <a:pt x="978" y="825"/>
                  </a:lnTo>
                  <a:lnTo>
                    <a:pt x="996" y="823"/>
                  </a:lnTo>
                  <a:lnTo>
                    <a:pt x="1006" y="826"/>
                  </a:lnTo>
                  <a:lnTo>
                    <a:pt x="1012" y="828"/>
                  </a:lnTo>
                  <a:lnTo>
                    <a:pt x="1022" y="825"/>
                  </a:lnTo>
                  <a:lnTo>
                    <a:pt x="1026" y="823"/>
                  </a:lnTo>
                  <a:lnTo>
                    <a:pt x="1030" y="825"/>
                  </a:lnTo>
                  <a:lnTo>
                    <a:pt x="1040" y="826"/>
                  </a:lnTo>
                  <a:lnTo>
                    <a:pt x="1046" y="822"/>
                  </a:lnTo>
                  <a:lnTo>
                    <a:pt x="1049" y="819"/>
                  </a:lnTo>
                  <a:lnTo>
                    <a:pt x="1060" y="813"/>
                  </a:lnTo>
                  <a:lnTo>
                    <a:pt x="1068" y="808"/>
                  </a:lnTo>
                  <a:lnTo>
                    <a:pt x="1073" y="808"/>
                  </a:lnTo>
                  <a:lnTo>
                    <a:pt x="1079" y="812"/>
                  </a:lnTo>
                  <a:lnTo>
                    <a:pt x="1082" y="812"/>
                  </a:lnTo>
                  <a:lnTo>
                    <a:pt x="1089" y="803"/>
                  </a:lnTo>
                  <a:lnTo>
                    <a:pt x="1096" y="801"/>
                  </a:lnTo>
                  <a:lnTo>
                    <a:pt x="1102" y="798"/>
                  </a:lnTo>
                  <a:lnTo>
                    <a:pt x="1106" y="798"/>
                  </a:lnTo>
                  <a:lnTo>
                    <a:pt x="1113" y="799"/>
                  </a:lnTo>
                  <a:lnTo>
                    <a:pt x="1118" y="799"/>
                  </a:lnTo>
                  <a:lnTo>
                    <a:pt x="1126" y="795"/>
                  </a:lnTo>
                  <a:lnTo>
                    <a:pt x="1138" y="792"/>
                  </a:lnTo>
                  <a:lnTo>
                    <a:pt x="1138" y="792"/>
                  </a:lnTo>
                  <a:lnTo>
                    <a:pt x="1138" y="793"/>
                  </a:lnTo>
                  <a:lnTo>
                    <a:pt x="1138" y="793"/>
                  </a:lnTo>
                  <a:lnTo>
                    <a:pt x="1142" y="798"/>
                  </a:lnTo>
                  <a:lnTo>
                    <a:pt x="1142" y="799"/>
                  </a:lnTo>
                  <a:lnTo>
                    <a:pt x="1138" y="801"/>
                  </a:lnTo>
                  <a:lnTo>
                    <a:pt x="1138" y="801"/>
                  </a:lnTo>
                  <a:lnTo>
                    <a:pt x="1130" y="803"/>
                  </a:lnTo>
                  <a:lnTo>
                    <a:pt x="1125" y="806"/>
                  </a:lnTo>
                  <a:lnTo>
                    <a:pt x="1125" y="806"/>
                  </a:lnTo>
                  <a:lnTo>
                    <a:pt x="1122" y="809"/>
                  </a:lnTo>
                  <a:lnTo>
                    <a:pt x="1118" y="809"/>
                  </a:lnTo>
                  <a:lnTo>
                    <a:pt x="1115" y="809"/>
                  </a:lnTo>
                  <a:lnTo>
                    <a:pt x="1112" y="811"/>
                  </a:lnTo>
                  <a:lnTo>
                    <a:pt x="1112" y="811"/>
                  </a:lnTo>
                  <a:lnTo>
                    <a:pt x="1110" y="815"/>
                  </a:lnTo>
                  <a:lnTo>
                    <a:pt x="1110" y="816"/>
                  </a:lnTo>
                  <a:lnTo>
                    <a:pt x="1113" y="818"/>
                  </a:lnTo>
                  <a:lnTo>
                    <a:pt x="1113" y="818"/>
                  </a:lnTo>
                  <a:lnTo>
                    <a:pt x="1123" y="821"/>
                  </a:lnTo>
                  <a:lnTo>
                    <a:pt x="1128" y="823"/>
                  </a:lnTo>
                  <a:lnTo>
                    <a:pt x="1128" y="825"/>
                  </a:lnTo>
                  <a:lnTo>
                    <a:pt x="1128" y="826"/>
                  </a:lnTo>
                  <a:lnTo>
                    <a:pt x="1128" y="826"/>
                  </a:lnTo>
                  <a:lnTo>
                    <a:pt x="1123" y="829"/>
                  </a:lnTo>
                  <a:lnTo>
                    <a:pt x="1119" y="829"/>
                  </a:lnTo>
                  <a:lnTo>
                    <a:pt x="1116" y="829"/>
                  </a:lnTo>
                  <a:lnTo>
                    <a:pt x="1115" y="832"/>
                  </a:lnTo>
                  <a:lnTo>
                    <a:pt x="1115" y="832"/>
                  </a:lnTo>
                  <a:lnTo>
                    <a:pt x="1113" y="836"/>
                  </a:lnTo>
                  <a:lnTo>
                    <a:pt x="1115" y="841"/>
                  </a:lnTo>
                  <a:lnTo>
                    <a:pt x="1115" y="843"/>
                  </a:lnTo>
                  <a:lnTo>
                    <a:pt x="1113" y="846"/>
                  </a:lnTo>
                  <a:lnTo>
                    <a:pt x="1112" y="848"/>
                  </a:lnTo>
                  <a:lnTo>
                    <a:pt x="1112" y="848"/>
                  </a:lnTo>
                  <a:lnTo>
                    <a:pt x="1108" y="849"/>
                  </a:lnTo>
                  <a:lnTo>
                    <a:pt x="1100" y="848"/>
                  </a:lnTo>
                  <a:lnTo>
                    <a:pt x="1095" y="848"/>
                  </a:lnTo>
                  <a:lnTo>
                    <a:pt x="1090" y="849"/>
                  </a:lnTo>
                  <a:lnTo>
                    <a:pt x="1093" y="846"/>
                  </a:lnTo>
                  <a:lnTo>
                    <a:pt x="1083" y="848"/>
                  </a:lnTo>
                  <a:lnTo>
                    <a:pt x="1076" y="846"/>
                  </a:lnTo>
                  <a:lnTo>
                    <a:pt x="1070" y="846"/>
                  </a:lnTo>
                  <a:lnTo>
                    <a:pt x="1062" y="849"/>
                  </a:lnTo>
                  <a:lnTo>
                    <a:pt x="1056" y="848"/>
                  </a:lnTo>
                  <a:lnTo>
                    <a:pt x="1050" y="843"/>
                  </a:lnTo>
                  <a:lnTo>
                    <a:pt x="1046" y="836"/>
                  </a:lnTo>
                  <a:lnTo>
                    <a:pt x="1043" y="832"/>
                  </a:lnTo>
                  <a:lnTo>
                    <a:pt x="1040" y="829"/>
                  </a:lnTo>
                  <a:lnTo>
                    <a:pt x="1036" y="829"/>
                  </a:lnTo>
                  <a:lnTo>
                    <a:pt x="1032" y="826"/>
                  </a:lnTo>
                  <a:lnTo>
                    <a:pt x="1026" y="826"/>
                  </a:lnTo>
                  <a:lnTo>
                    <a:pt x="1022" y="828"/>
                  </a:lnTo>
                  <a:lnTo>
                    <a:pt x="1018" y="832"/>
                  </a:lnTo>
                  <a:lnTo>
                    <a:pt x="1013" y="832"/>
                  </a:lnTo>
                  <a:lnTo>
                    <a:pt x="1009" y="835"/>
                  </a:lnTo>
                  <a:lnTo>
                    <a:pt x="1009" y="835"/>
                  </a:lnTo>
                  <a:lnTo>
                    <a:pt x="1005" y="838"/>
                  </a:lnTo>
                  <a:lnTo>
                    <a:pt x="1005" y="838"/>
                  </a:lnTo>
                  <a:lnTo>
                    <a:pt x="998" y="841"/>
                  </a:lnTo>
                  <a:lnTo>
                    <a:pt x="992" y="846"/>
                  </a:lnTo>
                  <a:lnTo>
                    <a:pt x="992" y="848"/>
                  </a:lnTo>
                  <a:lnTo>
                    <a:pt x="1003" y="851"/>
                  </a:lnTo>
                  <a:lnTo>
                    <a:pt x="1005" y="853"/>
                  </a:lnTo>
                  <a:lnTo>
                    <a:pt x="1010" y="853"/>
                  </a:lnTo>
                  <a:lnTo>
                    <a:pt x="1015" y="856"/>
                  </a:lnTo>
                  <a:lnTo>
                    <a:pt x="1015" y="856"/>
                  </a:lnTo>
                  <a:lnTo>
                    <a:pt x="1015" y="863"/>
                  </a:lnTo>
                  <a:lnTo>
                    <a:pt x="1015" y="863"/>
                  </a:lnTo>
                  <a:lnTo>
                    <a:pt x="1015" y="871"/>
                  </a:lnTo>
                  <a:lnTo>
                    <a:pt x="1015" y="871"/>
                  </a:lnTo>
                  <a:lnTo>
                    <a:pt x="1023" y="876"/>
                  </a:lnTo>
                  <a:lnTo>
                    <a:pt x="1023" y="876"/>
                  </a:lnTo>
                  <a:lnTo>
                    <a:pt x="1029" y="875"/>
                  </a:lnTo>
                  <a:lnTo>
                    <a:pt x="1029" y="875"/>
                  </a:lnTo>
                  <a:lnTo>
                    <a:pt x="1035" y="868"/>
                  </a:lnTo>
                  <a:lnTo>
                    <a:pt x="1035" y="868"/>
                  </a:lnTo>
                  <a:lnTo>
                    <a:pt x="1045" y="865"/>
                  </a:lnTo>
                  <a:lnTo>
                    <a:pt x="1049" y="865"/>
                  </a:lnTo>
                  <a:lnTo>
                    <a:pt x="1049" y="865"/>
                  </a:lnTo>
                  <a:lnTo>
                    <a:pt x="1053" y="863"/>
                  </a:lnTo>
                  <a:lnTo>
                    <a:pt x="1053" y="863"/>
                  </a:lnTo>
                  <a:lnTo>
                    <a:pt x="1056" y="862"/>
                  </a:lnTo>
                  <a:lnTo>
                    <a:pt x="1060" y="858"/>
                  </a:lnTo>
                  <a:lnTo>
                    <a:pt x="1065" y="856"/>
                  </a:lnTo>
                  <a:lnTo>
                    <a:pt x="1073" y="861"/>
                  </a:lnTo>
                  <a:lnTo>
                    <a:pt x="1079" y="858"/>
                  </a:lnTo>
                  <a:lnTo>
                    <a:pt x="1089" y="855"/>
                  </a:lnTo>
                  <a:lnTo>
                    <a:pt x="1092" y="855"/>
                  </a:lnTo>
                  <a:lnTo>
                    <a:pt x="1092" y="855"/>
                  </a:lnTo>
                  <a:lnTo>
                    <a:pt x="1092" y="855"/>
                  </a:lnTo>
                  <a:lnTo>
                    <a:pt x="1095" y="856"/>
                  </a:lnTo>
                  <a:lnTo>
                    <a:pt x="1095" y="856"/>
                  </a:lnTo>
                  <a:lnTo>
                    <a:pt x="1099" y="858"/>
                  </a:lnTo>
                  <a:lnTo>
                    <a:pt x="1100" y="859"/>
                  </a:lnTo>
                  <a:lnTo>
                    <a:pt x="1103" y="863"/>
                  </a:lnTo>
                  <a:lnTo>
                    <a:pt x="1103" y="863"/>
                  </a:lnTo>
                  <a:lnTo>
                    <a:pt x="1106" y="869"/>
                  </a:lnTo>
                  <a:lnTo>
                    <a:pt x="1108" y="869"/>
                  </a:lnTo>
                  <a:lnTo>
                    <a:pt x="1109" y="869"/>
                  </a:lnTo>
                  <a:lnTo>
                    <a:pt x="1109" y="869"/>
                  </a:lnTo>
                  <a:lnTo>
                    <a:pt x="1113" y="868"/>
                  </a:lnTo>
                  <a:lnTo>
                    <a:pt x="1116" y="866"/>
                  </a:lnTo>
                  <a:lnTo>
                    <a:pt x="1118" y="865"/>
                  </a:lnTo>
                  <a:lnTo>
                    <a:pt x="1120" y="868"/>
                  </a:lnTo>
                  <a:lnTo>
                    <a:pt x="1120" y="868"/>
                  </a:lnTo>
                  <a:lnTo>
                    <a:pt x="1122" y="871"/>
                  </a:lnTo>
                  <a:lnTo>
                    <a:pt x="1123" y="873"/>
                  </a:lnTo>
                  <a:lnTo>
                    <a:pt x="1125" y="876"/>
                  </a:lnTo>
                  <a:lnTo>
                    <a:pt x="1129" y="878"/>
                  </a:lnTo>
                  <a:lnTo>
                    <a:pt x="1129" y="878"/>
                  </a:lnTo>
                  <a:lnTo>
                    <a:pt x="1133" y="878"/>
                  </a:lnTo>
                  <a:lnTo>
                    <a:pt x="1138" y="878"/>
                  </a:lnTo>
                  <a:lnTo>
                    <a:pt x="1141" y="878"/>
                  </a:lnTo>
                  <a:lnTo>
                    <a:pt x="1143" y="881"/>
                  </a:lnTo>
                  <a:lnTo>
                    <a:pt x="1143" y="881"/>
                  </a:lnTo>
                  <a:lnTo>
                    <a:pt x="1155" y="892"/>
                  </a:lnTo>
                  <a:lnTo>
                    <a:pt x="1163" y="898"/>
                  </a:lnTo>
                  <a:lnTo>
                    <a:pt x="1169" y="901"/>
                  </a:lnTo>
                  <a:lnTo>
                    <a:pt x="1169" y="901"/>
                  </a:lnTo>
                  <a:lnTo>
                    <a:pt x="1169" y="901"/>
                  </a:lnTo>
                  <a:lnTo>
                    <a:pt x="1169" y="903"/>
                  </a:lnTo>
                  <a:lnTo>
                    <a:pt x="1173" y="908"/>
                  </a:lnTo>
                  <a:lnTo>
                    <a:pt x="1181" y="913"/>
                  </a:lnTo>
                  <a:lnTo>
                    <a:pt x="1183" y="915"/>
                  </a:lnTo>
                  <a:lnTo>
                    <a:pt x="1191" y="916"/>
                  </a:lnTo>
                  <a:lnTo>
                    <a:pt x="1196" y="916"/>
                  </a:lnTo>
                  <a:lnTo>
                    <a:pt x="1201" y="921"/>
                  </a:lnTo>
                  <a:lnTo>
                    <a:pt x="1208" y="926"/>
                  </a:lnTo>
                  <a:lnTo>
                    <a:pt x="1212" y="932"/>
                  </a:lnTo>
                  <a:lnTo>
                    <a:pt x="1215" y="936"/>
                  </a:lnTo>
                  <a:lnTo>
                    <a:pt x="1215" y="943"/>
                  </a:lnTo>
                  <a:lnTo>
                    <a:pt x="1216" y="949"/>
                  </a:lnTo>
                  <a:lnTo>
                    <a:pt x="1216" y="959"/>
                  </a:lnTo>
                  <a:close/>
                  <a:moveTo>
                    <a:pt x="1529" y="1095"/>
                  </a:moveTo>
                  <a:lnTo>
                    <a:pt x="1529" y="1095"/>
                  </a:lnTo>
                  <a:lnTo>
                    <a:pt x="1519" y="1094"/>
                  </a:lnTo>
                  <a:lnTo>
                    <a:pt x="1519" y="1094"/>
                  </a:lnTo>
                  <a:lnTo>
                    <a:pt x="1516" y="1096"/>
                  </a:lnTo>
                  <a:lnTo>
                    <a:pt x="1514" y="1098"/>
                  </a:lnTo>
                  <a:lnTo>
                    <a:pt x="1508" y="1099"/>
                  </a:lnTo>
                  <a:lnTo>
                    <a:pt x="1498" y="1102"/>
                  </a:lnTo>
                  <a:lnTo>
                    <a:pt x="1492" y="1102"/>
                  </a:lnTo>
                  <a:lnTo>
                    <a:pt x="1481" y="1101"/>
                  </a:lnTo>
                  <a:lnTo>
                    <a:pt x="1473" y="1099"/>
                  </a:lnTo>
                  <a:lnTo>
                    <a:pt x="1471" y="1101"/>
                  </a:lnTo>
                  <a:lnTo>
                    <a:pt x="1463" y="1096"/>
                  </a:lnTo>
                  <a:lnTo>
                    <a:pt x="1452" y="1088"/>
                  </a:lnTo>
                  <a:lnTo>
                    <a:pt x="1443" y="1079"/>
                  </a:lnTo>
                  <a:lnTo>
                    <a:pt x="1421" y="1074"/>
                  </a:lnTo>
                  <a:lnTo>
                    <a:pt x="1412" y="1071"/>
                  </a:lnTo>
                  <a:lnTo>
                    <a:pt x="1411" y="1068"/>
                  </a:lnTo>
                  <a:lnTo>
                    <a:pt x="1403" y="1045"/>
                  </a:lnTo>
                  <a:lnTo>
                    <a:pt x="1402" y="1045"/>
                  </a:lnTo>
                  <a:lnTo>
                    <a:pt x="1405" y="1035"/>
                  </a:lnTo>
                  <a:lnTo>
                    <a:pt x="1409" y="1028"/>
                  </a:lnTo>
                  <a:lnTo>
                    <a:pt x="1411" y="1025"/>
                  </a:lnTo>
                  <a:lnTo>
                    <a:pt x="1411" y="1019"/>
                  </a:lnTo>
                  <a:lnTo>
                    <a:pt x="1409" y="1011"/>
                  </a:lnTo>
                  <a:lnTo>
                    <a:pt x="1409" y="1005"/>
                  </a:lnTo>
                  <a:lnTo>
                    <a:pt x="1412" y="998"/>
                  </a:lnTo>
                  <a:lnTo>
                    <a:pt x="1413" y="992"/>
                  </a:lnTo>
                  <a:lnTo>
                    <a:pt x="1412" y="986"/>
                  </a:lnTo>
                  <a:lnTo>
                    <a:pt x="1409" y="981"/>
                  </a:lnTo>
                  <a:lnTo>
                    <a:pt x="1403" y="972"/>
                  </a:lnTo>
                  <a:lnTo>
                    <a:pt x="1398" y="966"/>
                  </a:lnTo>
                  <a:lnTo>
                    <a:pt x="1395" y="962"/>
                  </a:lnTo>
                  <a:lnTo>
                    <a:pt x="1388" y="955"/>
                  </a:lnTo>
                  <a:lnTo>
                    <a:pt x="1385" y="952"/>
                  </a:lnTo>
                  <a:lnTo>
                    <a:pt x="1385" y="952"/>
                  </a:lnTo>
                  <a:lnTo>
                    <a:pt x="1383" y="954"/>
                  </a:lnTo>
                  <a:lnTo>
                    <a:pt x="1383" y="954"/>
                  </a:lnTo>
                  <a:lnTo>
                    <a:pt x="1383" y="951"/>
                  </a:lnTo>
                  <a:lnTo>
                    <a:pt x="1381" y="948"/>
                  </a:lnTo>
                  <a:lnTo>
                    <a:pt x="1381" y="948"/>
                  </a:lnTo>
                  <a:lnTo>
                    <a:pt x="1373" y="942"/>
                  </a:lnTo>
                  <a:lnTo>
                    <a:pt x="1371" y="939"/>
                  </a:lnTo>
                  <a:lnTo>
                    <a:pt x="1368" y="935"/>
                  </a:lnTo>
                  <a:lnTo>
                    <a:pt x="1368" y="935"/>
                  </a:lnTo>
                  <a:lnTo>
                    <a:pt x="1361" y="926"/>
                  </a:lnTo>
                  <a:lnTo>
                    <a:pt x="1353" y="918"/>
                  </a:lnTo>
                  <a:lnTo>
                    <a:pt x="1353" y="918"/>
                  </a:lnTo>
                  <a:lnTo>
                    <a:pt x="1351" y="913"/>
                  </a:lnTo>
                  <a:lnTo>
                    <a:pt x="1351" y="908"/>
                  </a:lnTo>
                  <a:lnTo>
                    <a:pt x="1349" y="901"/>
                  </a:lnTo>
                  <a:lnTo>
                    <a:pt x="1348" y="895"/>
                  </a:lnTo>
                  <a:lnTo>
                    <a:pt x="1348" y="895"/>
                  </a:lnTo>
                  <a:lnTo>
                    <a:pt x="1343" y="888"/>
                  </a:lnTo>
                  <a:lnTo>
                    <a:pt x="1336" y="883"/>
                  </a:lnTo>
                  <a:lnTo>
                    <a:pt x="1331" y="878"/>
                  </a:lnTo>
                  <a:lnTo>
                    <a:pt x="1328" y="875"/>
                  </a:lnTo>
                  <a:lnTo>
                    <a:pt x="1328" y="875"/>
                  </a:lnTo>
                  <a:lnTo>
                    <a:pt x="1325" y="872"/>
                  </a:lnTo>
                  <a:lnTo>
                    <a:pt x="1325" y="869"/>
                  </a:lnTo>
                  <a:lnTo>
                    <a:pt x="1329" y="863"/>
                  </a:lnTo>
                  <a:lnTo>
                    <a:pt x="1329" y="863"/>
                  </a:lnTo>
                  <a:lnTo>
                    <a:pt x="1331" y="859"/>
                  </a:lnTo>
                  <a:lnTo>
                    <a:pt x="1332" y="855"/>
                  </a:lnTo>
                  <a:lnTo>
                    <a:pt x="1333" y="849"/>
                  </a:lnTo>
                  <a:lnTo>
                    <a:pt x="1336" y="843"/>
                  </a:lnTo>
                  <a:lnTo>
                    <a:pt x="1336" y="843"/>
                  </a:lnTo>
                  <a:lnTo>
                    <a:pt x="1339" y="839"/>
                  </a:lnTo>
                  <a:lnTo>
                    <a:pt x="1342" y="838"/>
                  </a:lnTo>
                  <a:lnTo>
                    <a:pt x="1349" y="838"/>
                  </a:lnTo>
                  <a:lnTo>
                    <a:pt x="1349" y="838"/>
                  </a:lnTo>
                  <a:lnTo>
                    <a:pt x="1352" y="836"/>
                  </a:lnTo>
                  <a:lnTo>
                    <a:pt x="1356" y="835"/>
                  </a:lnTo>
                  <a:lnTo>
                    <a:pt x="1363" y="831"/>
                  </a:lnTo>
                  <a:lnTo>
                    <a:pt x="1369" y="825"/>
                  </a:lnTo>
                  <a:lnTo>
                    <a:pt x="1372" y="819"/>
                  </a:lnTo>
                  <a:lnTo>
                    <a:pt x="1372" y="819"/>
                  </a:lnTo>
                  <a:lnTo>
                    <a:pt x="1372" y="818"/>
                  </a:lnTo>
                  <a:lnTo>
                    <a:pt x="1371" y="816"/>
                  </a:lnTo>
                  <a:lnTo>
                    <a:pt x="1369" y="815"/>
                  </a:lnTo>
                  <a:lnTo>
                    <a:pt x="1371" y="812"/>
                  </a:lnTo>
                  <a:lnTo>
                    <a:pt x="1375" y="811"/>
                  </a:lnTo>
                  <a:lnTo>
                    <a:pt x="1379" y="811"/>
                  </a:lnTo>
                  <a:lnTo>
                    <a:pt x="1386" y="813"/>
                  </a:lnTo>
                  <a:lnTo>
                    <a:pt x="1393" y="811"/>
                  </a:lnTo>
                  <a:lnTo>
                    <a:pt x="1403" y="802"/>
                  </a:lnTo>
                  <a:lnTo>
                    <a:pt x="1411" y="799"/>
                  </a:lnTo>
                  <a:lnTo>
                    <a:pt x="1415" y="796"/>
                  </a:lnTo>
                  <a:lnTo>
                    <a:pt x="1423" y="795"/>
                  </a:lnTo>
                  <a:lnTo>
                    <a:pt x="1431" y="801"/>
                  </a:lnTo>
                  <a:lnTo>
                    <a:pt x="1433" y="805"/>
                  </a:lnTo>
                  <a:lnTo>
                    <a:pt x="1438" y="808"/>
                  </a:lnTo>
                  <a:lnTo>
                    <a:pt x="1441" y="808"/>
                  </a:lnTo>
                  <a:lnTo>
                    <a:pt x="1449" y="802"/>
                  </a:lnTo>
                  <a:lnTo>
                    <a:pt x="1453" y="801"/>
                  </a:lnTo>
                  <a:lnTo>
                    <a:pt x="1458" y="802"/>
                  </a:lnTo>
                  <a:lnTo>
                    <a:pt x="1459" y="805"/>
                  </a:lnTo>
                  <a:lnTo>
                    <a:pt x="1463" y="811"/>
                  </a:lnTo>
                  <a:lnTo>
                    <a:pt x="1465" y="816"/>
                  </a:lnTo>
                  <a:lnTo>
                    <a:pt x="1466" y="822"/>
                  </a:lnTo>
                  <a:lnTo>
                    <a:pt x="1466" y="828"/>
                  </a:lnTo>
                  <a:lnTo>
                    <a:pt x="1465" y="835"/>
                  </a:lnTo>
                  <a:lnTo>
                    <a:pt x="1465" y="838"/>
                  </a:lnTo>
                  <a:lnTo>
                    <a:pt x="1471" y="842"/>
                  </a:lnTo>
                  <a:lnTo>
                    <a:pt x="1473" y="845"/>
                  </a:lnTo>
                  <a:lnTo>
                    <a:pt x="1483" y="845"/>
                  </a:lnTo>
                  <a:lnTo>
                    <a:pt x="1489" y="843"/>
                  </a:lnTo>
                  <a:lnTo>
                    <a:pt x="1495" y="848"/>
                  </a:lnTo>
                  <a:lnTo>
                    <a:pt x="1496" y="849"/>
                  </a:lnTo>
                  <a:lnTo>
                    <a:pt x="1496" y="849"/>
                  </a:lnTo>
                  <a:lnTo>
                    <a:pt x="1501" y="852"/>
                  </a:lnTo>
                  <a:lnTo>
                    <a:pt x="1501" y="852"/>
                  </a:lnTo>
                  <a:lnTo>
                    <a:pt x="1502" y="855"/>
                  </a:lnTo>
                  <a:lnTo>
                    <a:pt x="1501" y="858"/>
                  </a:lnTo>
                  <a:lnTo>
                    <a:pt x="1498" y="859"/>
                  </a:lnTo>
                  <a:lnTo>
                    <a:pt x="1489" y="856"/>
                  </a:lnTo>
                  <a:lnTo>
                    <a:pt x="1486" y="858"/>
                  </a:lnTo>
                  <a:lnTo>
                    <a:pt x="1478" y="876"/>
                  </a:lnTo>
                  <a:lnTo>
                    <a:pt x="1475" y="875"/>
                  </a:lnTo>
                  <a:lnTo>
                    <a:pt x="1473" y="872"/>
                  </a:lnTo>
                  <a:lnTo>
                    <a:pt x="1473" y="858"/>
                  </a:lnTo>
                  <a:lnTo>
                    <a:pt x="1472" y="853"/>
                  </a:lnTo>
                  <a:lnTo>
                    <a:pt x="1468" y="849"/>
                  </a:lnTo>
                  <a:lnTo>
                    <a:pt x="1462" y="849"/>
                  </a:lnTo>
                  <a:lnTo>
                    <a:pt x="1459" y="849"/>
                  </a:lnTo>
                  <a:lnTo>
                    <a:pt x="1449" y="846"/>
                  </a:lnTo>
                  <a:lnTo>
                    <a:pt x="1443" y="845"/>
                  </a:lnTo>
                  <a:lnTo>
                    <a:pt x="1439" y="845"/>
                  </a:lnTo>
                  <a:lnTo>
                    <a:pt x="1426" y="843"/>
                  </a:lnTo>
                  <a:lnTo>
                    <a:pt x="1425" y="846"/>
                  </a:lnTo>
                  <a:lnTo>
                    <a:pt x="1426" y="849"/>
                  </a:lnTo>
                  <a:lnTo>
                    <a:pt x="1425" y="856"/>
                  </a:lnTo>
                  <a:lnTo>
                    <a:pt x="1423" y="859"/>
                  </a:lnTo>
                  <a:lnTo>
                    <a:pt x="1428" y="863"/>
                  </a:lnTo>
                  <a:lnTo>
                    <a:pt x="1433" y="868"/>
                  </a:lnTo>
                  <a:lnTo>
                    <a:pt x="1433" y="872"/>
                  </a:lnTo>
                  <a:lnTo>
                    <a:pt x="1429" y="873"/>
                  </a:lnTo>
                  <a:lnTo>
                    <a:pt x="1425" y="871"/>
                  </a:lnTo>
                  <a:lnTo>
                    <a:pt x="1421" y="868"/>
                  </a:lnTo>
                  <a:lnTo>
                    <a:pt x="1421" y="868"/>
                  </a:lnTo>
                  <a:lnTo>
                    <a:pt x="1418" y="868"/>
                  </a:lnTo>
                  <a:lnTo>
                    <a:pt x="1413" y="868"/>
                  </a:lnTo>
                  <a:lnTo>
                    <a:pt x="1409" y="872"/>
                  </a:lnTo>
                  <a:lnTo>
                    <a:pt x="1408" y="876"/>
                  </a:lnTo>
                  <a:lnTo>
                    <a:pt x="1412" y="879"/>
                  </a:lnTo>
                  <a:lnTo>
                    <a:pt x="1415" y="881"/>
                  </a:lnTo>
                  <a:lnTo>
                    <a:pt x="1419" y="881"/>
                  </a:lnTo>
                  <a:lnTo>
                    <a:pt x="1422" y="885"/>
                  </a:lnTo>
                  <a:lnTo>
                    <a:pt x="1423" y="889"/>
                  </a:lnTo>
                  <a:lnTo>
                    <a:pt x="1426" y="891"/>
                  </a:lnTo>
                  <a:lnTo>
                    <a:pt x="1431" y="895"/>
                  </a:lnTo>
                  <a:lnTo>
                    <a:pt x="1433" y="902"/>
                  </a:lnTo>
                  <a:lnTo>
                    <a:pt x="1436" y="909"/>
                  </a:lnTo>
                  <a:lnTo>
                    <a:pt x="1438" y="911"/>
                  </a:lnTo>
                  <a:lnTo>
                    <a:pt x="1442" y="912"/>
                  </a:lnTo>
                  <a:lnTo>
                    <a:pt x="1448" y="913"/>
                  </a:lnTo>
                  <a:lnTo>
                    <a:pt x="1452" y="918"/>
                  </a:lnTo>
                  <a:lnTo>
                    <a:pt x="1456" y="919"/>
                  </a:lnTo>
                  <a:lnTo>
                    <a:pt x="1471" y="922"/>
                  </a:lnTo>
                  <a:lnTo>
                    <a:pt x="1473" y="923"/>
                  </a:lnTo>
                  <a:lnTo>
                    <a:pt x="1475" y="925"/>
                  </a:lnTo>
                  <a:lnTo>
                    <a:pt x="1473" y="933"/>
                  </a:lnTo>
                  <a:lnTo>
                    <a:pt x="1472" y="941"/>
                  </a:lnTo>
                  <a:lnTo>
                    <a:pt x="1472" y="945"/>
                  </a:lnTo>
                  <a:lnTo>
                    <a:pt x="1473" y="952"/>
                  </a:lnTo>
                  <a:lnTo>
                    <a:pt x="1476" y="954"/>
                  </a:lnTo>
                  <a:lnTo>
                    <a:pt x="1478" y="954"/>
                  </a:lnTo>
                  <a:lnTo>
                    <a:pt x="1479" y="948"/>
                  </a:lnTo>
                  <a:lnTo>
                    <a:pt x="1483" y="942"/>
                  </a:lnTo>
                  <a:lnTo>
                    <a:pt x="1493" y="939"/>
                  </a:lnTo>
                  <a:lnTo>
                    <a:pt x="1498" y="938"/>
                  </a:lnTo>
                  <a:lnTo>
                    <a:pt x="1502" y="939"/>
                  </a:lnTo>
                  <a:lnTo>
                    <a:pt x="1504" y="935"/>
                  </a:lnTo>
                  <a:lnTo>
                    <a:pt x="1506" y="933"/>
                  </a:lnTo>
                  <a:lnTo>
                    <a:pt x="1504" y="935"/>
                  </a:lnTo>
                  <a:lnTo>
                    <a:pt x="1504" y="939"/>
                  </a:lnTo>
                  <a:lnTo>
                    <a:pt x="1505" y="945"/>
                  </a:lnTo>
                  <a:lnTo>
                    <a:pt x="1506" y="948"/>
                  </a:lnTo>
                  <a:lnTo>
                    <a:pt x="1508" y="951"/>
                  </a:lnTo>
                  <a:lnTo>
                    <a:pt x="1508" y="955"/>
                  </a:lnTo>
                  <a:lnTo>
                    <a:pt x="1524" y="964"/>
                  </a:lnTo>
                  <a:lnTo>
                    <a:pt x="1529" y="966"/>
                  </a:lnTo>
                  <a:lnTo>
                    <a:pt x="1531" y="969"/>
                  </a:lnTo>
                  <a:lnTo>
                    <a:pt x="1529" y="972"/>
                  </a:lnTo>
                  <a:lnTo>
                    <a:pt x="1528" y="972"/>
                  </a:lnTo>
                  <a:lnTo>
                    <a:pt x="1525" y="972"/>
                  </a:lnTo>
                  <a:lnTo>
                    <a:pt x="1514" y="984"/>
                  </a:lnTo>
                  <a:lnTo>
                    <a:pt x="1512" y="984"/>
                  </a:lnTo>
                  <a:lnTo>
                    <a:pt x="1506" y="978"/>
                  </a:lnTo>
                  <a:lnTo>
                    <a:pt x="1505" y="974"/>
                  </a:lnTo>
                  <a:lnTo>
                    <a:pt x="1502" y="975"/>
                  </a:lnTo>
                  <a:lnTo>
                    <a:pt x="1498" y="976"/>
                  </a:lnTo>
                  <a:lnTo>
                    <a:pt x="1495" y="976"/>
                  </a:lnTo>
                  <a:lnTo>
                    <a:pt x="1491" y="979"/>
                  </a:lnTo>
                  <a:lnTo>
                    <a:pt x="1485" y="981"/>
                  </a:lnTo>
                  <a:lnTo>
                    <a:pt x="1485" y="994"/>
                  </a:lnTo>
                  <a:lnTo>
                    <a:pt x="1488" y="1001"/>
                  </a:lnTo>
                  <a:lnTo>
                    <a:pt x="1493" y="1006"/>
                  </a:lnTo>
                  <a:lnTo>
                    <a:pt x="1501" y="1005"/>
                  </a:lnTo>
                  <a:lnTo>
                    <a:pt x="1504" y="1005"/>
                  </a:lnTo>
                  <a:lnTo>
                    <a:pt x="1506" y="1005"/>
                  </a:lnTo>
                  <a:lnTo>
                    <a:pt x="1508" y="1006"/>
                  </a:lnTo>
                  <a:lnTo>
                    <a:pt x="1508" y="1008"/>
                  </a:lnTo>
                  <a:lnTo>
                    <a:pt x="1505" y="1011"/>
                  </a:lnTo>
                  <a:lnTo>
                    <a:pt x="1505" y="1011"/>
                  </a:lnTo>
                  <a:lnTo>
                    <a:pt x="1504" y="1012"/>
                  </a:lnTo>
                  <a:lnTo>
                    <a:pt x="1502" y="1014"/>
                  </a:lnTo>
                  <a:lnTo>
                    <a:pt x="1504" y="1016"/>
                  </a:lnTo>
                  <a:lnTo>
                    <a:pt x="1504" y="1016"/>
                  </a:lnTo>
                  <a:lnTo>
                    <a:pt x="1505" y="1021"/>
                  </a:lnTo>
                  <a:lnTo>
                    <a:pt x="1506" y="1022"/>
                  </a:lnTo>
                  <a:lnTo>
                    <a:pt x="1512" y="1022"/>
                  </a:lnTo>
                  <a:lnTo>
                    <a:pt x="1514" y="1022"/>
                  </a:lnTo>
                  <a:lnTo>
                    <a:pt x="1516" y="1026"/>
                  </a:lnTo>
                  <a:lnTo>
                    <a:pt x="1521" y="1029"/>
                  </a:lnTo>
                  <a:lnTo>
                    <a:pt x="1524" y="1031"/>
                  </a:lnTo>
                  <a:lnTo>
                    <a:pt x="1524" y="1048"/>
                  </a:lnTo>
                  <a:lnTo>
                    <a:pt x="1525" y="1059"/>
                  </a:lnTo>
                  <a:lnTo>
                    <a:pt x="1526" y="1068"/>
                  </a:lnTo>
                  <a:lnTo>
                    <a:pt x="1526" y="1068"/>
                  </a:lnTo>
                  <a:lnTo>
                    <a:pt x="1526" y="1068"/>
                  </a:lnTo>
                  <a:lnTo>
                    <a:pt x="1528" y="1068"/>
                  </a:lnTo>
                  <a:lnTo>
                    <a:pt x="1529" y="1075"/>
                  </a:lnTo>
                  <a:lnTo>
                    <a:pt x="1529" y="1078"/>
                  </a:lnTo>
                  <a:lnTo>
                    <a:pt x="1529" y="1082"/>
                  </a:lnTo>
                  <a:lnTo>
                    <a:pt x="1529" y="1082"/>
                  </a:lnTo>
                  <a:lnTo>
                    <a:pt x="1534" y="1084"/>
                  </a:lnTo>
                  <a:lnTo>
                    <a:pt x="1534" y="1084"/>
                  </a:lnTo>
                  <a:lnTo>
                    <a:pt x="1534" y="1084"/>
                  </a:lnTo>
                  <a:lnTo>
                    <a:pt x="1535" y="1096"/>
                  </a:lnTo>
                  <a:lnTo>
                    <a:pt x="1529" y="1095"/>
                  </a:lnTo>
                  <a:close/>
                  <a:moveTo>
                    <a:pt x="1621" y="811"/>
                  </a:moveTo>
                  <a:lnTo>
                    <a:pt x="1621" y="811"/>
                  </a:lnTo>
                  <a:lnTo>
                    <a:pt x="1622" y="809"/>
                  </a:lnTo>
                  <a:lnTo>
                    <a:pt x="1624" y="809"/>
                  </a:lnTo>
                  <a:lnTo>
                    <a:pt x="1628" y="811"/>
                  </a:lnTo>
                  <a:lnTo>
                    <a:pt x="1628" y="811"/>
                  </a:lnTo>
                  <a:lnTo>
                    <a:pt x="1632" y="809"/>
                  </a:lnTo>
                  <a:lnTo>
                    <a:pt x="1636" y="808"/>
                  </a:lnTo>
                  <a:lnTo>
                    <a:pt x="1636" y="808"/>
                  </a:lnTo>
                  <a:lnTo>
                    <a:pt x="1639" y="809"/>
                  </a:lnTo>
                  <a:lnTo>
                    <a:pt x="1639" y="809"/>
                  </a:lnTo>
                  <a:lnTo>
                    <a:pt x="1641" y="813"/>
                  </a:lnTo>
                  <a:lnTo>
                    <a:pt x="1641" y="813"/>
                  </a:lnTo>
                  <a:lnTo>
                    <a:pt x="1644" y="815"/>
                  </a:lnTo>
                  <a:lnTo>
                    <a:pt x="1646" y="815"/>
                  </a:lnTo>
                  <a:lnTo>
                    <a:pt x="1649" y="815"/>
                  </a:lnTo>
                  <a:lnTo>
                    <a:pt x="1651" y="815"/>
                  </a:lnTo>
                  <a:lnTo>
                    <a:pt x="1651" y="815"/>
                  </a:lnTo>
                  <a:lnTo>
                    <a:pt x="1651" y="818"/>
                  </a:lnTo>
                  <a:lnTo>
                    <a:pt x="1651" y="819"/>
                  </a:lnTo>
                  <a:lnTo>
                    <a:pt x="1651" y="819"/>
                  </a:lnTo>
                  <a:lnTo>
                    <a:pt x="1651" y="822"/>
                  </a:lnTo>
                  <a:lnTo>
                    <a:pt x="1649" y="823"/>
                  </a:lnTo>
                  <a:lnTo>
                    <a:pt x="1649" y="823"/>
                  </a:lnTo>
                  <a:lnTo>
                    <a:pt x="1646" y="826"/>
                  </a:lnTo>
                  <a:lnTo>
                    <a:pt x="1645" y="826"/>
                  </a:lnTo>
                  <a:lnTo>
                    <a:pt x="1644" y="826"/>
                  </a:lnTo>
                  <a:lnTo>
                    <a:pt x="1644" y="826"/>
                  </a:lnTo>
                  <a:lnTo>
                    <a:pt x="1641" y="823"/>
                  </a:lnTo>
                  <a:lnTo>
                    <a:pt x="1641" y="823"/>
                  </a:lnTo>
                  <a:lnTo>
                    <a:pt x="1636" y="822"/>
                  </a:lnTo>
                  <a:lnTo>
                    <a:pt x="1636" y="822"/>
                  </a:lnTo>
                  <a:lnTo>
                    <a:pt x="1632" y="822"/>
                  </a:lnTo>
                  <a:lnTo>
                    <a:pt x="1632" y="822"/>
                  </a:lnTo>
                  <a:lnTo>
                    <a:pt x="1631" y="821"/>
                  </a:lnTo>
                  <a:lnTo>
                    <a:pt x="1628" y="819"/>
                  </a:lnTo>
                  <a:lnTo>
                    <a:pt x="1628" y="819"/>
                  </a:lnTo>
                  <a:lnTo>
                    <a:pt x="1624" y="819"/>
                  </a:lnTo>
                  <a:lnTo>
                    <a:pt x="1621" y="819"/>
                  </a:lnTo>
                  <a:lnTo>
                    <a:pt x="1621" y="816"/>
                  </a:lnTo>
                  <a:lnTo>
                    <a:pt x="1621" y="816"/>
                  </a:lnTo>
                  <a:lnTo>
                    <a:pt x="1619" y="815"/>
                  </a:lnTo>
                  <a:lnTo>
                    <a:pt x="1619" y="813"/>
                  </a:lnTo>
                  <a:lnTo>
                    <a:pt x="1621" y="811"/>
                  </a:lnTo>
                  <a:lnTo>
                    <a:pt x="1621" y="811"/>
                  </a:lnTo>
                  <a:close/>
                  <a:moveTo>
                    <a:pt x="1686" y="898"/>
                  </a:moveTo>
                  <a:lnTo>
                    <a:pt x="1651" y="871"/>
                  </a:lnTo>
                  <a:lnTo>
                    <a:pt x="1649" y="875"/>
                  </a:lnTo>
                  <a:lnTo>
                    <a:pt x="1642" y="881"/>
                  </a:lnTo>
                  <a:lnTo>
                    <a:pt x="1636" y="885"/>
                  </a:lnTo>
                  <a:lnTo>
                    <a:pt x="1625" y="886"/>
                  </a:lnTo>
                  <a:lnTo>
                    <a:pt x="1619" y="886"/>
                  </a:lnTo>
                  <a:lnTo>
                    <a:pt x="1615" y="883"/>
                  </a:lnTo>
                  <a:lnTo>
                    <a:pt x="1611" y="881"/>
                  </a:lnTo>
                  <a:lnTo>
                    <a:pt x="1604" y="879"/>
                  </a:lnTo>
                  <a:lnTo>
                    <a:pt x="1599" y="879"/>
                  </a:lnTo>
                  <a:lnTo>
                    <a:pt x="1594" y="872"/>
                  </a:lnTo>
                  <a:lnTo>
                    <a:pt x="1592" y="859"/>
                  </a:lnTo>
                  <a:lnTo>
                    <a:pt x="1592" y="849"/>
                  </a:lnTo>
                  <a:lnTo>
                    <a:pt x="1592" y="843"/>
                  </a:lnTo>
                  <a:lnTo>
                    <a:pt x="1592" y="843"/>
                  </a:lnTo>
                  <a:lnTo>
                    <a:pt x="1594" y="843"/>
                  </a:lnTo>
                  <a:lnTo>
                    <a:pt x="1594" y="843"/>
                  </a:lnTo>
                  <a:lnTo>
                    <a:pt x="1594" y="839"/>
                  </a:lnTo>
                  <a:lnTo>
                    <a:pt x="1595" y="835"/>
                  </a:lnTo>
                  <a:lnTo>
                    <a:pt x="1595" y="835"/>
                  </a:lnTo>
                  <a:lnTo>
                    <a:pt x="1596" y="832"/>
                  </a:lnTo>
                  <a:lnTo>
                    <a:pt x="1598" y="831"/>
                  </a:lnTo>
                  <a:lnTo>
                    <a:pt x="1601" y="831"/>
                  </a:lnTo>
                  <a:lnTo>
                    <a:pt x="1605" y="829"/>
                  </a:lnTo>
                  <a:lnTo>
                    <a:pt x="1609" y="828"/>
                  </a:lnTo>
                  <a:lnTo>
                    <a:pt x="1609" y="828"/>
                  </a:lnTo>
                  <a:lnTo>
                    <a:pt x="1611" y="823"/>
                  </a:lnTo>
                  <a:lnTo>
                    <a:pt x="1611" y="822"/>
                  </a:lnTo>
                  <a:lnTo>
                    <a:pt x="1614" y="821"/>
                  </a:lnTo>
                  <a:lnTo>
                    <a:pt x="1614" y="821"/>
                  </a:lnTo>
                  <a:lnTo>
                    <a:pt x="1616" y="821"/>
                  </a:lnTo>
                  <a:lnTo>
                    <a:pt x="1621" y="823"/>
                  </a:lnTo>
                  <a:lnTo>
                    <a:pt x="1621" y="823"/>
                  </a:lnTo>
                  <a:lnTo>
                    <a:pt x="1624" y="825"/>
                  </a:lnTo>
                  <a:lnTo>
                    <a:pt x="1624" y="825"/>
                  </a:lnTo>
                  <a:lnTo>
                    <a:pt x="1628" y="826"/>
                  </a:lnTo>
                  <a:lnTo>
                    <a:pt x="1628" y="826"/>
                  </a:lnTo>
                  <a:lnTo>
                    <a:pt x="1631" y="829"/>
                  </a:lnTo>
                  <a:lnTo>
                    <a:pt x="1632" y="833"/>
                  </a:lnTo>
                  <a:lnTo>
                    <a:pt x="1632" y="833"/>
                  </a:lnTo>
                  <a:lnTo>
                    <a:pt x="1638" y="843"/>
                  </a:lnTo>
                  <a:lnTo>
                    <a:pt x="1638" y="843"/>
                  </a:lnTo>
                  <a:lnTo>
                    <a:pt x="1639" y="846"/>
                  </a:lnTo>
                  <a:lnTo>
                    <a:pt x="1641" y="851"/>
                  </a:lnTo>
                  <a:lnTo>
                    <a:pt x="1641" y="851"/>
                  </a:lnTo>
                  <a:lnTo>
                    <a:pt x="1642" y="855"/>
                  </a:lnTo>
                  <a:lnTo>
                    <a:pt x="1644" y="859"/>
                  </a:lnTo>
                  <a:lnTo>
                    <a:pt x="1644" y="859"/>
                  </a:lnTo>
                  <a:lnTo>
                    <a:pt x="1648" y="862"/>
                  </a:lnTo>
                  <a:lnTo>
                    <a:pt x="1649" y="866"/>
                  </a:lnTo>
                  <a:lnTo>
                    <a:pt x="1649" y="866"/>
                  </a:lnTo>
                  <a:lnTo>
                    <a:pt x="1651" y="871"/>
                  </a:lnTo>
                  <a:lnTo>
                    <a:pt x="1651" y="871"/>
                  </a:lnTo>
                  <a:lnTo>
                    <a:pt x="1666" y="882"/>
                  </a:lnTo>
                  <a:lnTo>
                    <a:pt x="1688" y="899"/>
                  </a:lnTo>
                  <a:lnTo>
                    <a:pt x="1686" y="898"/>
                  </a:lnTo>
                  <a:close/>
                  <a:moveTo>
                    <a:pt x="2570" y="666"/>
                  </a:moveTo>
                  <a:lnTo>
                    <a:pt x="2570" y="666"/>
                  </a:lnTo>
                  <a:lnTo>
                    <a:pt x="2573" y="665"/>
                  </a:lnTo>
                  <a:lnTo>
                    <a:pt x="2577" y="660"/>
                  </a:lnTo>
                  <a:lnTo>
                    <a:pt x="2577" y="660"/>
                  </a:lnTo>
                  <a:lnTo>
                    <a:pt x="2580" y="660"/>
                  </a:lnTo>
                  <a:lnTo>
                    <a:pt x="2581" y="660"/>
                  </a:lnTo>
                  <a:lnTo>
                    <a:pt x="2584" y="660"/>
                  </a:lnTo>
                  <a:lnTo>
                    <a:pt x="2585" y="659"/>
                  </a:lnTo>
                  <a:lnTo>
                    <a:pt x="2585" y="659"/>
                  </a:lnTo>
                  <a:lnTo>
                    <a:pt x="2588" y="653"/>
                  </a:lnTo>
                  <a:lnTo>
                    <a:pt x="2590" y="649"/>
                  </a:lnTo>
                  <a:lnTo>
                    <a:pt x="2593" y="646"/>
                  </a:lnTo>
                  <a:lnTo>
                    <a:pt x="2593" y="646"/>
                  </a:lnTo>
                  <a:lnTo>
                    <a:pt x="2594" y="643"/>
                  </a:lnTo>
                  <a:lnTo>
                    <a:pt x="2595" y="643"/>
                  </a:lnTo>
                  <a:lnTo>
                    <a:pt x="2597" y="642"/>
                  </a:lnTo>
                  <a:lnTo>
                    <a:pt x="2600" y="640"/>
                  </a:lnTo>
                  <a:lnTo>
                    <a:pt x="2600" y="640"/>
                  </a:lnTo>
                  <a:lnTo>
                    <a:pt x="2603" y="632"/>
                  </a:lnTo>
                  <a:lnTo>
                    <a:pt x="2604" y="625"/>
                  </a:lnTo>
                  <a:lnTo>
                    <a:pt x="2604" y="625"/>
                  </a:lnTo>
                  <a:lnTo>
                    <a:pt x="2604" y="623"/>
                  </a:lnTo>
                  <a:lnTo>
                    <a:pt x="2607" y="622"/>
                  </a:lnTo>
                  <a:lnTo>
                    <a:pt x="2608" y="620"/>
                  </a:lnTo>
                  <a:lnTo>
                    <a:pt x="2608" y="617"/>
                  </a:lnTo>
                  <a:lnTo>
                    <a:pt x="2608" y="617"/>
                  </a:lnTo>
                  <a:lnTo>
                    <a:pt x="2608" y="615"/>
                  </a:lnTo>
                  <a:lnTo>
                    <a:pt x="2607" y="612"/>
                  </a:lnTo>
                  <a:lnTo>
                    <a:pt x="2607" y="610"/>
                  </a:lnTo>
                  <a:lnTo>
                    <a:pt x="2610" y="607"/>
                  </a:lnTo>
                  <a:lnTo>
                    <a:pt x="2610" y="607"/>
                  </a:lnTo>
                  <a:lnTo>
                    <a:pt x="2613" y="606"/>
                  </a:lnTo>
                  <a:lnTo>
                    <a:pt x="2614" y="602"/>
                  </a:lnTo>
                  <a:lnTo>
                    <a:pt x="2614" y="599"/>
                  </a:lnTo>
                  <a:lnTo>
                    <a:pt x="2614" y="599"/>
                  </a:lnTo>
                  <a:lnTo>
                    <a:pt x="2614" y="583"/>
                  </a:lnTo>
                  <a:lnTo>
                    <a:pt x="2614" y="573"/>
                  </a:lnTo>
                  <a:lnTo>
                    <a:pt x="2613" y="569"/>
                  </a:lnTo>
                  <a:lnTo>
                    <a:pt x="2611" y="566"/>
                  </a:lnTo>
                  <a:lnTo>
                    <a:pt x="2611" y="566"/>
                  </a:lnTo>
                  <a:lnTo>
                    <a:pt x="2608" y="563"/>
                  </a:lnTo>
                  <a:lnTo>
                    <a:pt x="2607" y="559"/>
                  </a:lnTo>
                  <a:lnTo>
                    <a:pt x="2607" y="556"/>
                  </a:lnTo>
                  <a:lnTo>
                    <a:pt x="2610" y="553"/>
                  </a:lnTo>
                  <a:lnTo>
                    <a:pt x="2610" y="553"/>
                  </a:lnTo>
                  <a:lnTo>
                    <a:pt x="2617" y="550"/>
                  </a:lnTo>
                  <a:lnTo>
                    <a:pt x="2620" y="552"/>
                  </a:lnTo>
                  <a:lnTo>
                    <a:pt x="2621" y="553"/>
                  </a:lnTo>
                  <a:lnTo>
                    <a:pt x="2621" y="553"/>
                  </a:lnTo>
                  <a:lnTo>
                    <a:pt x="2625" y="565"/>
                  </a:lnTo>
                  <a:lnTo>
                    <a:pt x="2627" y="569"/>
                  </a:lnTo>
                  <a:lnTo>
                    <a:pt x="2628" y="572"/>
                  </a:lnTo>
                  <a:lnTo>
                    <a:pt x="2628" y="572"/>
                  </a:lnTo>
                  <a:lnTo>
                    <a:pt x="2631" y="576"/>
                  </a:lnTo>
                  <a:lnTo>
                    <a:pt x="2633" y="577"/>
                  </a:lnTo>
                  <a:lnTo>
                    <a:pt x="2633" y="582"/>
                  </a:lnTo>
                  <a:lnTo>
                    <a:pt x="2633" y="582"/>
                  </a:lnTo>
                  <a:lnTo>
                    <a:pt x="2634" y="586"/>
                  </a:lnTo>
                  <a:lnTo>
                    <a:pt x="2635" y="589"/>
                  </a:lnTo>
                  <a:lnTo>
                    <a:pt x="2640" y="593"/>
                  </a:lnTo>
                  <a:lnTo>
                    <a:pt x="2640" y="593"/>
                  </a:lnTo>
                  <a:lnTo>
                    <a:pt x="2643" y="597"/>
                  </a:lnTo>
                  <a:lnTo>
                    <a:pt x="2643" y="599"/>
                  </a:lnTo>
                  <a:lnTo>
                    <a:pt x="2643" y="602"/>
                  </a:lnTo>
                  <a:lnTo>
                    <a:pt x="2643" y="602"/>
                  </a:lnTo>
                  <a:lnTo>
                    <a:pt x="2640" y="609"/>
                  </a:lnTo>
                  <a:lnTo>
                    <a:pt x="2638" y="612"/>
                  </a:lnTo>
                  <a:lnTo>
                    <a:pt x="2640" y="615"/>
                  </a:lnTo>
                  <a:lnTo>
                    <a:pt x="2640" y="615"/>
                  </a:lnTo>
                  <a:lnTo>
                    <a:pt x="2641" y="617"/>
                  </a:lnTo>
                  <a:lnTo>
                    <a:pt x="2643" y="619"/>
                  </a:lnTo>
                  <a:lnTo>
                    <a:pt x="2641" y="622"/>
                  </a:lnTo>
                  <a:lnTo>
                    <a:pt x="2640" y="622"/>
                  </a:lnTo>
                  <a:lnTo>
                    <a:pt x="2640" y="622"/>
                  </a:lnTo>
                  <a:lnTo>
                    <a:pt x="2637" y="623"/>
                  </a:lnTo>
                  <a:lnTo>
                    <a:pt x="2635" y="625"/>
                  </a:lnTo>
                  <a:lnTo>
                    <a:pt x="2631" y="632"/>
                  </a:lnTo>
                  <a:lnTo>
                    <a:pt x="2631" y="632"/>
                  </a:lnTo>
                  <a:lnTo>
                    <a:pt x="2628" y="636"/>
                  </a:lnTo>
                  <a:lnTo>
                    <a:pt x="2627" y="638"/>
                  </a:lnTo>
                  <a:lnTo>
                    <a:pt x="2625" y="639"/>
                  </a:lnTo>
                  <a:lnTo>
                    <a:pt x="2625" y="639"/>
                  </a:lnTo>
                  <a:lnTo>
                    <a:pt x="2618" y="640"/>
                  </a:lnTo>
                  <a:lnTo>
                    <a:pt x="2615" y="642"/>
                  </a:lnTo>
                  <a:lnTo>
                    <a:pt x="2614" y="643"/>
                  </a:lnTo>
                  <a:lnTo>
                    <a:pt x="2614" y="643"/>
                  </a:lnTo>
                  <a:lnTo>
                    <a:pt x="2613" y="646"/>
                  </a:lnTo>
                  <a:lnTo>
                    <a:pt x="2608" y="648"/>
                  </a:lnTo>
                  <a:lnTo>
                    <a:pt x="2605" y="649"/>
                  </a:lnTo>
                  <a:lnTo>
                    <a:pt x="2603" y="649"/>
                  </a:lnTo>
                  <a:lnTo>
                    <a:pt x="2603" y="649"/>
                  </a:lnTo>
                  <a:lnTo>
                    <a:pt x="2601" y="649"/>
                  </a:lnTo>
                  <a:lnTo>
                    <a:pt x="2603" y="650"/>
                  </a:lnTo>
                  <a:lnTo>
                    <a:pt x="2604" y="653"/>
                  </a:lnTo>
                  <a:lnTo>
                    <a:pt x="2603" y="658"/>
                  </a:lnTo>
                  <a:lnTo>
                    <a:pt x="2603" y="658"/>
                  </a:lnTo>
                  <a:lnTo>
                    <a:pt x="2600" y="665"/>
                  </a:lnTo>
                  <a:lnTo>
                    <a:pt x="2598" y="668"/>
                  </a:lnTo>
                  <a:lnTo>
                    <a:pt x="2595" y="669"/>
                  </a:lnTo>
                  <a:lnTo>
                    <a:pt x="2595" y="669"/>
                  </a:lnTo>
                  <a:lnTo>
                    <a:pt x="2583" y="673"/>
                  </a:lnTo>
                  <a:lnTo>
                    <a:pt x="2583" y="673"/>
                  </a:lnTo>
                  <a:lnTo>
                    <a:pt x="2578" y="675"/>
                  </a:lnTo>
                  <a:lnTo>
                    <a:pt x="2573" y="673"/>
                  </a:lnTo>
                  <a:lnTo>
                    <a:pt x="2564" y="670"/>
                  </a:lnTo>
                  <a:lnTo>
                    <a:pt x="2564" y="670"/>
                  </a:lnTo>
                  <a:lnTo>
                    <a:pt x="2558" y="669"/>
                  </a:lnTo>
                  <a:lnTo>
                    <a:pt x="2557" y="668"/>
                  </a:lnTo>
                  <a:lnTo>
                    <a:pt x="2555" y="666"/>
                  </a:lnTo>
                  <a:lnTo>
                    <a:pt x="2555" y="666"/>
                  </a:lnTo>
                  <a:lnTo>
                    <a:pt x="2557" y="666"/>
                  </a:lnTo>
                  <a:lnTo>
                    <a:pt x="2561" y="666"/>
                  </a:lnTo>
                  <a:lnTo>
                    <a:pt x="2570" y="666"/>
                  </a:lnTo>
                  <a:lnTo>
                    <a:pt x="2570" y="6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</p:grpSp>
      <p:grpSp>
        <p:nvGrpSpPr>
          <p:cNvPr id="260" name="Group 259"/>
          <p:cNvGrpSpPr/>
          <p:nvPr/>
        </p:nvGrpSpPr>
        <p:grpSpPr>
          <a:xfrm>
            <a:off x="8173754" y="2727441"/>
            <a:ext cx="2990070" cy="3138199"/>
            <a:chOff x="4897438" y="2262188"/>
            <a:chExt cx="2243137" cy="2354262"/>
          </a:xfrm>
          <a:solidFill>
            <a:srgbClr val="00558C"/>
          </a:solidFill>
        </p:grpSpPr>
        <p:sp>
          <p:nvSpPr>
            <p:cNvPr id="154" name="Freeform 145"/>
            <p:cNvSpPr>
              <a:spLocks/>
            </p:cNvSpPr>
            <p:nvPr/>
          </p:nvSpPr>
          <p:spPr bwMode="auto">
            <a:xfrm>
              <a:off x="6200775" y="2262188"/>
              <a:ext cx="155575" cy="192087"/>
            </a:xfrm>
            <a:custGeom>
              <a:avLst/>
              <a:gdLst>
                <a:gd name="T0" fmla="*/ 10 w 197"/>
                <a:gd name="T1" fmla="*/ 34 h 240"/>
                <a:gd name="T2" fmla="*/ 22 w 197"/>
                <a:gd name="T3" fmla="*/ 47 h 240"/>
                <a:gd name="T4" fmla="*/ 30 w 197"/>
                <a:gd name="T5" fmla="*/ 60 h 240"/>
                <a:gd name="T6" fmla="*/ 39 w 197"/>
                <a:gd name="T7" fmla="*/ 70 h 240"/>
                <a:gd name="T8" fmla="*/ 46 w 197"/>
                <a:gd name="T9" fmla="*/ 79 h 240"/>
                <a:gd name="T10" fmla="*/ 73 w 197"/>
                <a:gd name="T11" fmla="*/ 100 h 240"/>
                <a:gd name="T12" fmla="*/ 79 w 197"/>
                <a:gd name="T13" fmla="*/ 113 h 240"/>
                <a:gd name="T14" fmla="*/ 89 w 197"/>
                <a:gd name="T15" fmla="*/ 123 h 240"/>
                <a:gd name="T16" fmla="*/ 103 w 197"/>
                <a:gd name="T17" fmla="*/ 146 h 240"/>
                <a:gd name="T18" fmla="*/ 115 w 197"/>
                <a:gd name="T19" fmla="*/ 167 h 240"/>
                <a:gd name="T20" fmla="*/ 132 w 197"/>
                <a:gd name="T21" fmla="*/ 183 h 240"/>
                <a:gd name="T22" fmla="*/ 135 w 197"/>
                <a:gd name="T23" fmla="*/ 193 h 240"/>
                <a:gd name="T24" fmla="*/ 137 w 197"/>
                <a:gd name="T25" fmla="*/ 199 h 240"/>
                <a:gd name="T26" fmla="*/ 146 w 197"/>
                <a:gd name="T27" fmla="*/ 210 h 240"/>
                <a:gd name="T28" fmla="*/ 150 w 197"/>
                <a:gd name="T29" fmla="*/ 224 h 240"/>
                <a:gd name="T30" fmla="*/ 155 w 197"/>
                <a:gd name="T31" fmla="*/ 230 h 240"/>
                <a:gd name="T32" fmla="*/ 169 w 197"/>
                <a:gd name="T33" fmla="*/ 240 h 240"/>
                <a:gd name="T34" fmla="*/ 167 w 197"/>
                <a:gd name="T35" fmla="*/ 233 h 240"/>
                <a:gd name="T36" fmla="*/ 163 w 197"/>
                <a:gd name="T37" fmla="*/ 223 h 240"/>
                <a:gd name="T38" fmla="*/ 166 w 197"/>
                <a:gd name="T39" fmla="*/ 222 h 240"/>
                <a:gd name="T40" fmla="*/ 185 w 197"/>
                <a:gd name="T41" fmla="*/ 226 h 240"/>
                <a:gd name="T42" fmla="*/ 193 w 197"/>
                <a:gd name="T43" fmla="*/ 233 h 240"/>
                <a:gd name="T44" fmla="*/ 196 w 197"/>
                <a:gd name="T45" fmla="*/ 236 h 240"/>
                <a:gd name="T46" fmla="*/ 196 w 197"/>
                <a:gd name="T47" fmla="*/ 233 h 240"/>
                <a:gd name="T48" fmla="*/ 185 w 197"/>
                <a:gd name="T49" fmla="*/ 216 h 240"/>
                <a:gd name="T50" fmla="*/ 179 w 197"/>
                <a:gd name="T51" fmla="*/ 216 h 240"/>
                <a:gd name="T52" fmla="*/ 172 w 197"/>
                <a:gd name="T53" fmla="*/ 214 h 240"/>
                <a:gd name="T54" fmla="*/ 165 w 197"/>
                <a:gd name="T55" fmla="*/ 203 h 240"/>
                <a:gd name="T56" fmla="*/ 153 w 197"/>
                <a:gd name="T57" fmla="*/ 197 h 240"/>
                <a:gd name="T58" fmla="*/ 145 w 197"/>
                <a:gd name="T59" fmla="*/ 190 h 240"/>
                <a:gd name="T60" fmla="*/ 140 w 197"/>
                <a:gd name="T61" fmla="*/ 179 h 240"/>
                <a:gd name="T62" fmla="*/ 130 w 197"/>
                <a:gd name="T63" fmla="*/ 154 h 240"/>
                <a:gd name="T64" fmla="*/ 129 w 197"/>
                <a:gd name="T65" fmla="*/ 150 h 240"/>
                <a:gd name="T66" fmla="*/ 143 w 197"/>
                <a:gd name="T67" fmla="*/ 146 h 240"/>
                <a:gd name="T68" fmla="*/ 160 w 197"/>
                <a:gd name="T69" fmla="*/ 156 h 240"/>
                <a:gd name="T70" fmla="*/ 176 w 197"/>
                <a:gd name="T71" fmla="*/ 163 h 240"/>
                <a:gd name="T72" fmla="*/ 173 w 197"/>
                <a:gd name="T73" fmla="*/ 160 h 240"/>
                <a:gd name="T74" fmla="*/ 142 w 197"/>
                <a:gd name="T75" fmla="*/ 136 h 240"/>
                <a:gd name="T76" fmla="*/ 102 w 197"/>
                <a:gd name="T77" fmla="*/ 97 h 240"/>
                <a:gd name="T78" fmla="*/ 86 w 197"/>
                <a:gd name="T79" fmla="*/ 86 h 240"/>
                <a:gd name="T80" fmla="*/ 69 w 197"/>
                <a:gd name="T81" fmla="*/ 66 h 240"/>
                <a:gd name="T82" fmla="*/ 59 w 197"/>
                <a:gd name="T83" fmla="*/ 50 h 240"/>
                <a:gd name="T84" fmla="*/ 45 w 197"/>
                <a:gd name="T85" fmla="*/ 36 h 240"/>
                <a:gd name="T86" fmla="*/ 19 w 197"/>
                <a:gd name="T87" fmla="*/ 13 h 240"/>
                <a:gd name="T88" fmla="*/ 10 w 197"/>
                <a:gd name="T89" fmla="*/ 1 h 240"/>
                <a:gd name="T90" fmla="*/ 0 w 197"/>
                <a:gd name="T91" fmla="*/ 3 h 240"/>
                <a:gd name="T92" fmla="*/ 3 w 197"/>
                <a:gd name="T93" fmla="*/ 6 h 240"/>
                <a:gd name="T94" fmla="*/ 19 w 197"/>
                <a:gd name="T95" fmla="*/ 26 h 240"/>
                <a:gd name="T96" fmla="*/ 20 w 197"/>
                <a:gd name="T97" fmla="*/ 31 h 240"/>
                <a:gd name="T98" fmla="*/ 15 w 197"/>
                <a:gd name="T99" fmla="*/ 31 h 240"/>
                <a:gd name="T100" fmla="*/ 9 w 197"/>
                <a:gd name="T101" fmla="*/ 3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7" h="240">
                  <a:moveTo>
                    <a:pt x="9" y="31"/>
                  </a:moveTo>
                  <a:lnTo>
                    <a:pt x="9" y="31"/>
                  </a:lnTo>
                  <a:lnTo>
                    <a:pt x="10" y="34"/>
                  </a:lnTo>
                  <a:lnTo>
                    <a:pt x="12" y="36"/>
                  </a:lnTo>
                  <a:lnTo>
                    <a:pt x="16" y="41"/>
                  </a:lnTo>
                  <a:lnTo>
                    <a:pt x="22" y="47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30" y="60"/>
                  </a:lnTo>
                  <a:lnTo>
                    <a:pt x="35" y="64"/>
                  </a:lnTo>
                  <a:lnTo>
                    <a:pt x="37" y="66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42" y="74"/>
                  </a:lnTo>
                  <a:lnTo>
                    <a:pt x="46" y="79"/>
                  </a:lnTo>
                  <a:lnTo>
                    <a:pt x="56" y="86"/>
                  </a:lnTo>
                  <a:lnTo>
                    <a:pt x="66" y="94"/>
                  </a:lnTo>
                  <a:lnTo>
                    <a:pt x="73" y="100"/>
                  </a:lnTo>
                  <a:lnTo>
                    <a:pt x="73" y="100"/>
                  </a:lnTo>
                  <a:lnTo>
                    <a:pt x="77" y="109"/>
                  </a:lnTo>
                  <a:lnTo>
                    <a:pt x="79" y="113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9" y="123"/>
                  </a:lnTo>
                  <a:lnTo>
                    <a:pt x="95" y="131"/>
                  </a:lnTo>
                  <a:lnTo>
                    <a:pt x="103" y="146"/>
                  </a:lnTo>
                  <a:lnTo>
                    <a:pt x="103" y="146"/>
                  </a:lnTo>
                  <a:lnTo>
                    <a:pt x="107" y="153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20" y="174"/>
                  </a:lnTo>
                  <a:lnTo>
                    <a:pt x="127" y="180"/>
                  </a:lnTo>
                  <a:lnTo>
                    <a:pt x="132" y="183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5" y="193"/>
                  </a:lnTo>
                  <a:lnTo>
                    <a:pt x="136" y="196"/>
                  </a:lnTo>
                  <a:lnTo>
                    <a:pt x="137" y="199"/>
                  </a:lnTo>
                  <a:lnTo>
                    <a:pt x="137" y="199"/>
                  </a:lnTo>
                  <a:lnTo>
                    <a:pt x="140" y="203"/>
                  </a:lnTo>
                  <a:lnTo>
                    <a:pt x="143" y="206"/>
                  </a:lnTo>
                  <a:lnTo>
                    <a:pt x="146" y="210"/>
                  </a:lnTo>
                  <a:lnTo>
                    <a:pt x="149" y="216"/>
                  </a:lnTo>
                  <a:lnTo>
                    <a:pt x="149" y="216"/>
                  </a:lnTo>
                  <a:lnTo>
                    <a:pt x="150" y="224"/>
                  </a:lnTo>
                  <a:lnTo>
                    <a:pt x="152" y="226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65" y="239"/>
                  </a:lnTo>
                  <a:lnTo>
                    <a:pt x="167" y="240"/>
                  </a:lnTo>
                  <a:lnTo>
                    <a:pt x="169" y="240"/>
                  </a:lnTo>
                  <a:lnTo>
                    <a:pt x="169" y="239"/>
                  </a:lnTo>
                  <a:lnTo>
                    <a:pt x="169" y="239"/>
                  </a:lnTo>
                  <a:lnTo>
                    <a:pt x="167" y="233"/>
                  </a:lnTo>
                  <a:lnTo>
                    <a:pt x="166" y="227"/>
                  </a:lnTo>
                  <a:lnTo>
                    <a:pt x="166" y="227"/>
                  </a:lnTo>
                  <a:lnTo>
                    <a:pt x="163" y="223"/>
                  </a:lnTo>
                  <a:lnTo>
                    <a:pt x="165" y="223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9" y="220"/>
                  </a:lnTo>
                  <a:lnTo>
                    <a:pt x="175" y="222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90" y="229"/>
                  </a:lnTo>
                  <a:lnTo>
                    <a:pt x="193" y="233"/>
                  </a:lnTo>
                  <a:lnTo>
                    <a:pt x="195" y="236"/>
                  </a:lnTo>
                  <a:lnTo>
                    <a:pt x="196" y="236"/>
                  </a:lnTo>
                  <a:lnTo>
                    <a:pt x="196" y="236"/>
                  </a:lnTo>
                  <a:lnTo>
                    <a:pt x="196" y="236"/>
                  </a:lnTo>
                  <a:lnTo>
                    <a:pt x="197" y="234"/>
                  </a:lnTo>
                  <a:lnTo>
                    <a:pt x="196" y="233"/>
                  </a:lnTo>
                  <a:lnTo>
                    <a:pt x="193" y="226"/>
                  </a:lnTo>
                  <a:lnTo>
                    <a:pt x="189" y="220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2" y="214"/>
                  </a:lnTo>
                  <a:lnTo>
                    <a:pt x="179" y="216"/>
                  </a:lnTo>
                  <a:lnTo>
                    <a:pt x="176" y="216"/>
                  </a:lnTo>
                  <a:lnTo>
                    <a:pt x="172" y="214"/>
                  </a:lnTo>
                  <a:lnTo>
                    <a:pt x="172" y="214"/>
                  </a:lnTo>
                  <a:lnTo>
                    <a:pt x="169" y="210"/>
                  </a:lnTo>
                  <a:lnTo>
                    <a:pt x="166" y="207"/>
                  </a:lnTo>
                  <a:lnTo>
                    <a:pt x="165" y="203"/>
                  </a:lnTo>
                  <a:lnTo>
                    <a:pt x="160" y="200"/>
                  </a:lnTo>
                  <a:lnTo>
                    <a:pt x="160" y="200"/>
                  </a:lnTo>
                  <a:lnTo>
                    <a:pt x="153" y="197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5" y="190"/>
                  </a:lnTo>
                  <a:lnTo>
                    <a:pt x="142" y="187"/>
                  </a:lnTo>
                  <a:lnTo>
                    <a:pt x="140" y="179"/>
                  </a:lnTo>
                  <a:lnTo>
                    <a:pt x="140" y="179"/>
                  </a:lnTo>
                  <a:lnTo>
                    <a:pt x="136" y="166"/>
                  </a:lnTo>
                  <a:lnTo>
                    <a:pt x="135" y="160"/>
                  </a:lnTo>
                  <a:lnTo>
                    <a:pt x="130" y="154"/>
                  </a:lnTo>
                  <a:lnTo>
                    <a:pt x="130" y="154"/>
                  </a:lnTo>
                  <a:lnTo>
                    <a:pt x="129" y="153"/>
                  </a:lnTo>
                  <a:lnTo>
                    <a:pt x="129" y="150"/>
                  </a:lnTo>
                  <a:lnTo>
                    <a:pt x="133" y="149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6" y="147"/>
                  </a:lnTo>
                  <a:lnTo>
                    <a:pt x="150" y="149"/>
                  </a:lnTo>
                  <a:lnTo>
                    <a:pt x="160" y="156"/>
                  </a:lnTo>
                  <a:lnTo>
                    <a:pt x="170" y="161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5" y="161"/>
                  </a:lnTo>
                  <a:lnTo>
                    <a:pt x="173" y="160"/>
                  </a:lnTo>
                  <a:lnTo>
                    <a:pt x="163" y="153"/>
                  </a:lnTo>
                  <a:lnTo>
                    <a:pt x="152" y="144"/>
                  </a:lnTo>
                  <a:lnTo>
                    <a:pt x="142" y="136"/>
                  </a:lnTo>
                  <a:lnTo>
                    <a:pt x="142" y="136"/>
                  </a:lnTo>
                  <a:lnTo>
                    <a:pt x="116" y="110"/>
                  </a:lnTo>
                  <a:lnTo>
                    <a:pt x="102" y="97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86" y="86"/>
                  </a:lnTo>
                  <a:lnTo>
                    <a:pt x="80" y="79"/>
                  </a:lnTo>
                  <a:lnTo>
                    <a:pt x="69" y="66"/>
                  </a:lnTo>
                  <a:lnTo>
                    <a:pt x="69" y="66"/>
                  </a:lnTo>
                  <a:lnTo>
                    <a:pt x="62" y="59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6" y="47"/>
                  </a:lnTo>
                  <a:lnTo>
                    <a:pt x="53" y="43"/>
                  </a:lnTo>
                  <a:lnTo>
                    <a:pt x="45" y="36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19" y="1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0" y="1"/>
                  </a:lnTo>
                  <a:lnTo>
                    <a:pt x="7" y="0"/>
                  </a:lnTo>
                  <a:lnTo>
                    <a:pt x="3" y="1"/>
                  </a:lnTo>
                  <a:lnTo>
                    <a:pt x="0" y="3"/>
                  </a:lnTo>
                  <a:lnTo>
                    <a:pt x="2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9" y="11"/>
                  </a:lnTo>
                  <a:lnTo>
                    <a:pt x="15" y="18"/>
                  </a:lnTo>
                  <a:lnTo>
                    <a:pt x="19" y="26"/>
                  </a:lnTo>
                  <a:lnTo>
                    <a:pt x="20" y="28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5" y="31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1"/>
                  </a:lnTo>
                  <a:lnTo>
                    <a:pt x="9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55" name="Freeform 146"/>
            <p:cNvSpPr>
              <a:spLocks/>
            </p:cNvSpPr>
            <p:nvPr/>
          </p:nvSpPr>
          <p:spPr bwMode="auto">
            <a:xfrm>
              <a:off x="6334125" y="2465388"/>
              <a:ext cx="104775" cy="93662"/>
            </a:xfrm>
            <a:custGeom>
              <a:avLst/>
              <a:gdLst>
                <a:gd name="T0" fmla="*/ 107 w 133"/>
                <a:gd name="T1" fmla="*/ 35 h 119"/>
                <a:gd name="T2" fmla="*/ 103 w 133"/>
                <a:gd name="T3" fmla="*/ 42 h 119"/>
                <a:gd name="T4" fmla="*/ 98 w 133"/>
                <a:gd name="T5" fmla="*/ 46 h 119"/>
                <a:gd name="T6" fmla="*/ 88 w 133"/>
                <a:gd name="T7" fmla="*/ 43 h 119"/>
                <a:gd name="T8" fmla="*/ 78 w 133"/>
                <a:gd name="T9" fmla="*/ 42 h 119"/>
                <a:gd name="T10" fmla="*/ 67 w 133"/>
                <a:gd name="T11" fmla="*/ 38 h 119"/>
                <a:gd name="T12" fmla="*/ 47 w 133"/>
                <a:gd name="T13" fmla="*/ 28 h 119"/>
                <a:gd name="T14" fmla="*/ 21 w 133"/>
                <a:gd name="T15" fmla="*/ 9 h 119"/>
                <a:gd name="T16" fmla="*/ 8 w 133"/>
                <a:gd name="T17" fmla="*/ 0 h 119"/>
                <a:gd name="T18" fmla="*/ 3 w 133"/>
                <a:gd name="T19" fmla="*/ 0 h 119"/>
                <a:gd name="T20" fmla="*/ 1 w 133"/>
                <a:gd name="T21" fmla="*/ 9 h 119"/>
                <a:gd name="T22" fmla="*/ 13 w 133"/>
                <a:gd name="T23" fmla="*/ 20 h 119"/>
                <a:gd name="T24" fmla="*/ 17 w 133"/>
                <a:gd name="T25" fmla="*/ 26 h 119"/>
                <a:gd name="T26" fmla="*/ 24 w 133"/>
                <a:gd name="T27" fmla="*/ 42 h 119"/>
                <a:gd name="T28" fmla="*/ 26 w 133"/>
                <a:gd name="T29" fmla="*/ 46 h 119"/>
                <a:gd name="T30" fmla="*/ 24 w 133"/>
                <a:gd name="T31" fmla="*/ 55 h 119"/>
                <a:gd name="T32" fmla="*/ 30 w 133"/>
                <a:gd name="T33" fmla="*/ 62 h 119"/>
                <a:gd name="T34" fmla="*/ 33 w 133"/>
                <a:gd name="T35" fmla="*/ 69 h 119"/>
                <a:gd name="T36" fmla="*/ 28 w 133"/>
                <a:gd name="T37" fmla="*/ 69 h 119"/>
                <a:gd name="T38" fmla="*/ 17 w 133"/>
                <a:gd name="T39" fmla="*/ 65 h 119"/>
                <a:gd name="T40" fmla="*/ 8 w 133"/>
                <a:gd name="T41" fmla="*/ 60 h 119"/>
                <a:gd name="T42" fmla="*/ 7 w 133"/>
                <a:gd name="T43" fmla="*/ 63 h 119"/>
                <a:gd name="T44" fmla="*/ 13 w 133"/>
                <a:gd name="T45" fmla="*/ 70 h 119"/>
                <a:gd name="T46" fmla="*/ 17 w 133"/>
                <a:gd name="T47" fmla="*/ 75 h 119"/>
                <a:gd name="T48" fmla="*/ 13 w 133"/>
                <a:gd name="T49" fmla="*/ 80 h 119"/>
                <a:gd name="T50" fmla="*/ 8 w 133"/>
                <a:gd name="T51" fmla="*/ 85 h 119"/>
                <a:gd name="T52" fmla="*/ 8 w 133"/>
                <a:gd name="T53" fmla="*/ 88 h 119"/>
                <a:gd name="T54" fmla="*/ 11 w 133"/>
                <a:gd name="T55" fmla="*/ 92 h 119"/>
                <a:gd name="T56" fmla="*/ 21 w 133"/>
                <a:gd name="T57" fmla="*/ 100 h 119"/>
                <a:gd name="T58" fmla="*/ 28 w 133"/>
                <a:gd name="T59" fmla="*/ 105 h 119"/>
                <a:gd name="T60" fmla="*/ 28 w 133"/>
                <a:gd name="T61" fmla="*/ 113 h 119"/>
                <a:gd name="T62" fmla="*/ 34 w 133"/>
                <a:gd name="T63" fmla="*/ 119 h 119"/>
                <a:gd name="T64" fmla="*/ 38 w 133"/>
                <a:gd name="T65" fmla="*/ 115 h 119"/>
                <a:gd name="T66" fmla="*/ 41 w 133"/>
                <a:gd name="T67" fmla="*/ 111 h 119"/>
                <a:gd name="T68" fmla="*/ 54 w 133"/>
                <a:gd name="T69" fmla="*/ 111 h 119"/>
                <a:gd name="T70" fmla="*/ 53 w 133"/>
                <a:gd name="T71" fmla="*/ 105 h 119"/>
                <a:gd name="T72" fmla="*/ 43 w 133"/>
                <a:gd name="T73" fmla="*/ 100 h 119"/>
                <a:gd name="T74" fmla="*/ 38 w 133"/>
                <a:gd name="T75" fmla="*/ 100 h 119"/>
                <a:gd name="T76" fmla="*/ 27 w 133"/>
                <a:gd name="T77" fmla="*/ 95 h 119"/>
                <a:gd name="T78" fmla="*/ 23 w 133"/>
                <a:gd name="T79" fmla="*/ 88 h 119"/>
                <a:gd name="T80" fmla="*/ 27 w 133"/>
                <a:gd name="T81" fmla="*/ 85 h 119"/>
                <a:gd name="T82" fmla="*/ 36 w 133"/>
                <a:gd name="T83" fmla="*/ 90 h 119"/>
                <a:gd name="T84" fmla="*/ 41 w 133"/>
                <a:gd name="T85" fmla="*/ 92 h 119"/>
                <a:gd name="T86" fmla="*/ 47 w 133"/>
                <a:gd name="T87" fmla="*/ 85 h 119"/>
                <a:gd name="T88" fmla="*/ 54 w 133"/>
                <a:gd name="T89" fmla="*/ 86 h 119"/>
                <a:gd name="T90" fmla="*/ 70 w 133"/>
                <a:gd name="T91" fmla="*/ 92 h 119"/>
                <a:gd name="T92" fmla="*/ 93 w 133"/>
                <a:gd name="T93" fmla="*/ 100 h 119"/>
                <a:gd name="T94" fmla="*/ 96 w 133"/>
                <a:gd name="T95" fmla="*/ 102 h 119"/>
                <a:gd name="T96" fmla="*/ 100 w 133"/>
                <a:gd name="T97" fmla="*/ 103 h 119"/>
                <a:gd name="T98" fmla="*/ 100 w 133"/>
                <a:gd name="T99" fmla="*/ 90 h 119"/>
                <a:gd name="T100" fmla="*/ 98 w 133"/>
                <a:gd name="T101" fmla="*/ 79 h 119"/>
                <a:gd name="T102" fmla="*/ 106 w 133"/>
                <a:gd name="T103" fmla="*/ 76 h 119"/>
                <a:gd name="T104" fmla="*/ 118 w 133"/>
                <a:gd name="T105" fmla="*/ 76 h 119"/>
                <a:gd name="T106" fmla="*/ 124 w 133"/>
                <a:gd name="T107" fmla="*/ 70 h 119"/>
                <a:gd name="T108" fmla="*/ 130 w 133"/>
                <a:gd name="T109" fmla="*/ 66 h 119"/>
                <a:gd name="T110" fmla="*/ 133 w 133"/>
                <a:gd name="T111" fmla="*/ 63 h 119"/>
                <a:gd name="T112" fmla="*/ 127 w 133"/>
                <a:gd name="T113" fmla="*/ 62 h 119"/>
                <a:gd name="T114" fmla="*/ 120 w 133"/>
                <a:gd name="T115" fmla="*/ 59 h 119"/>
                <a:gd name="T116" fmla="*/ 117 w 133"/>
                <a:gd name="T117" fmla="*/ 56 h 119"/>
                <a:gd name="T118" fmla="*/ 111 w 133"/>
                <a:gd name="T119" fmla="*/ 53 h 119"/>
                <a:gd name="T120" fmla="*/ 110 w 133"/>
                <a:gd name="T121" fmla="*/ 50 h 119"/>
                <a:gd name="T122" fmla="*/ 108 w 133"/>
                <a:gd name="T123" fmla="*/ 3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" h="119">
                  <a:moveTo>
                    <a:pt x="108" y="35"/>
                  </a:moveTo>
                  <a:lnTo>
                    <a:pt x="108" y="35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04" y="38"/>
                  </a:lnTo>
                  <a:lnTo>
                    <a:pt x="103" y="42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98" y="46"/>
                  </a:lnTo>
                  <a:lnTo>
                    <a:pt x="94" y="46"/>
                  </a:lnTo>
                  <a:lnTo>
                    <a:pt x="91" y="46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6" y="42"/>
                  </a:lnTo>
                  <a:lnTo>
                    <a:pt x="78" y="42"/>
                  </a:lnTo>
                  <a:lnTo>
                    <a:pt x="71" y="40"/>
                  </a:lnTo>
                  <a:lnTo>
                    <a:pt x="68" y="39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0" y="33"/>
                  </a:lnTo>
                  <a:lnTo>
                    <a:pt x="47" y="28"/>
                  </a:lnTo>
                  <a:lnTo>
                    <a:pt x="33" y="19"/>
                  </a:lnTo>
                  <a:lnTo>
                    <a:pt x="26" y="15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13" y="2"/>
                  </a:lnTo>
                  <a:lnTo>
                    <a:pt x="8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2"/>
                  </a:lnTo>
                  <a:lnTo>
                    <a:pt x="0" y="6"/>
                  </a:lnTo>
                  <a:lnTo>
                    <a:pt x="1" y="9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13" y="20"/>
                  </a:lnTo>
                  <a:lnTo>
                    <a:pt x="16" y="23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33"/>
                  </a:lnTo>
                  <a:lnTo>
                    <a:pt x="21" y="39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5"/>
                  </a:lnTo>
                  <a:lnTo>
                    <a:pt x="26" y="56"/>
                  </a:lnTo>
                  <a:lnTo>
                    <a:pt x="28" y="59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1" y="65"/>
                  </a:lnTo>
                  <a:lnTo>
                    <a:pt x="33" y="69"/>
                  </a:lnTo>
                  <a:lnTo>
                    <a:pt x="31" y="70"/>
                  </a:lnTo>
                  <a:lnTo>
                    <a:pt x="28" y="69"/>
                  </a:lnTo>
                  <a:lnTo>
                    <a:pt x="28" y="69"/>
                  </a:lnTo>
                  <a:lnTo>
                    <a:pt x="24" y="66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4" y="63"/>
                  </a:lnTo>
                  <a:lnTo>
                    <a:pt x="11" y="62"/>
                  </a:lnTo>
                  <a:lnTo>
                    <a:pt x="8" y="60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63"/>
                  </a:lnTo>
                  <a:lnTo>
                    <a:pt x="7" y="66"/>
                  </a:lnTo>
                  <a:lnTo>
                    <a:pt x="8" y="68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7" y="72"/>
                  </a:lnTo>
                  <a:lnTo>
                    <a:pt x="17" y="75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3" y="80"/>
                  </a:lnTo>
                  <a:lnTo>
                    <a:pt x="10" y="80"/>
                  </a:lnTo>
                  <a:lnTo>
                    <a:pt x="8" y="82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10" y="89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3" y="95"/>
                  </a:lnTo>
                  <a:lnTo>
                    <a:pt x="14" y="96"/>
                  </a:lnTo>
                  <a:lnTo>
                    <a:pt x="21" y="100"/>
                  </a:lnTo>
                  <a:lnTo>
                    <a:pt x="26" y="103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8" y="109"/>
                  </a:lnTo>
                  <a:lnTo>
                    <a:pt x="28" y="113"/>
                  </a:lnTo>
                  <a:lnTo>
                    <a:pt x="30" y="118"/>
                  </a:lnTo>
                  <a:lnTo>
                    <a:pt x="31" y="118"/>
                  </a:lnTo>
                  <a:lnTo>
                    <a:pt x="34" y="119"/>
                  </a:lnTo>
                  <a:lnTo>
                    <a:pt x="34" y="119"/>
                  </a:lnTo>
                  <a:lnTo>
                    <a:pt x="37" y="116"/>
                  </a:lnTo>
                  <a:lnTo>
                    <a:pt x="38" y="115"/>
                  </a:lnTo>
                  <a:lnTo>
                    <a:pt x="40" y="112"/>
                  </a:lnTo>
                  <a:lnTo>
                    <a:pt x="41" y="111"/>
                  </a:lnTo>
                  <a:lnTo>
                    <a:pt x="41" y="111"/>
                  </a:lnTo>
                  <a:lnTo>
                    <a:pt x="50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3" y="105"/>
                  </a:lnTo>
                  <a:lnTo>
                    <a:pt x="48" y="103"/>
                  </a:lnTo>
                  <a:lnTo>
                    <a:pt x="46" y="102"/>
                  </a:lnTo>
                  <a:lnTo>
                    <a:pt x="43" y="100"/>
                  </a:lnTo>
                  <a:lnTo>
                    <a:pt x="43" y="100"/>
                  </a:lnTo>
                  <a:lnTo>
                    <a:pt x="41" y="100"/>
                  </a:lnTo>
                  <a:lnTo>
                    <a:pt x="38" y="100"/>
                  </a:lnTo>
                  <a:lnTo>
                    <a:pt x="34" y="99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4" y="92"/>
                  </a:lnTo>
                  <a:lnTo>
                    <a:pt x="23" y="89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7" y="85"/>
                  </a:lnTo>
                  <a:lnTo>
                    <a:pt x="33" y="88"/>
                  </a:lnTo>
                  <a:lnTo>
                    <a:pt x="33" y="88"/>
                  </a:lnTo>
                  <a:lnTo>
                    <a:pt x="36" y="90"/>
                  </a:lnTo>
                  <a:lnTo>
                    <a:pt x="37" y="93"/>
                  </a:lnTo>
                  <a:lnTo>
                    <a:pt x="38" y="93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4" y="86"/>
                  </a:lnTo>
                  <a:lnTo>
                    <a:pt x="47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4" y="86"/>
                  </a:lnTo>
                  <a:lnTo>
                    <a:pt x="58" y="88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84" y="99"/>
                  </a:lnTo>
                  <a:lnTo>
                    <a:pt x="88" y="100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4" y="100"/>
                  </a:lnTo>
                  <a:lnTo>
                    <a:pt x="96" y="102"/>
                  </a:lnTo>
                  <a:lnTo>
                    <a:pt x="97" y="103"/>
                  </a:lnTo>
                  <a:lnTo>
                    <a:pt x="100" y="103"/>
                  </a:lnTo>
                  <a:lnTo>
                    <a:pt x="100" y="103"/>
                  </a:lnTo>
                  <a:lnTo>
                    <a:pt x="101" y="102"/>
                  </a:lnTo>
                  <a:lnTo>
                    <a:pt x="101" y="99"/>
                  </a:lnTo>
                  <a:lnTo>
                    <a:pt x="100" y="90"/>
                  </a:lnTo>
                  <a:lnTo>
                    <a:pt x="100" y="90"/>
                  </a:lnTo>
                  <a:lnTo>
                    <a:pt x="98" y="82"/>
                  </a:lnTo>
                  <a:lnTo>
                    <a:pt x="98" y="79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6" y="76"/>
                  </a:lnTo>
                  <a:lnTo>
                    <a:pt x="110" y="76"/>
                  </a:lnTo>
                  <a:lnTo>
                    <a:pt x="114" y="76"/>
                  </a:lnTo>
                  <a:lnTo>
                    <a:pt x="118" y="76"/>
                  </a:lnTo>
                  <a:lnTo>
                    <a:pt x="118" y="76"/>
                  </a:lnTo>
                  <a:lnTo>
                    <a:pt x="123" y="75"/>
                  </a:lnTo>
                  <a:lnTo>
                    <a:pt x="124" y="70"/>
                  </a:lnTo>
                  <a:lnTo>
                    <a:pt x="124" y="70"/>
                  </a:lnTo>
                  <a:lnTo>
                    <a:pt x="127" y="68"/>
                  </a:lnTo>
                  <a:lnTo>
                    <a:pt x="130" y="66"/>
                  </a:lnTo>
                  <a:lnTo>
                    <a:pt x="133" y="65"/>
                  </a:lnTo>
                  <a:lnTo>
                    <a:pt x="133" y="63"/>
                  </a:lnTo>
                  <a:lnTo>
                    <a:pt x="133" y="63"/>
                  </a:lnTo>
                  <a:lnTo>
                    <a:pt x="133" y="62"/>
                  </a:lnTo>
                  <a:lnTo>
                    <a:pt x="130" y="62"/>
                  </a:lnTo>
                  <a:lnTo>
                    <a:pt x="127" y="62"/>
                  </a:lnTo>
                  <a:lnTo>
                    <a:pt x="124" y="60"/>
                  </a:lnTo>
                  <a:lnTo>
                    <a:pt x="124" y="60"/>
                  </a:lnTo>
                  <a:lnTo>
                    <a:pt x="120" y="59"/>
                  </a:lnTo>
                  <a:lnTo>
                    <a:pt x="118" y="58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6" y="55"/>
                  </a:lnTo>
                  <a:lnTo>
                    <a:pt x="113" y="55"/>
                  </a:lnTo>
                  <a:lnTo>
                    <a:pt x="111" y="53"/>
                  </a:lnTo>
                  <a:lnTo>
                    <a:pt x="110" y="52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1" y="42"/>
                  </a:lnTo>
                  <a:lnTo>
                    <a:pt x="110" y="39"/>
                  </a:lnTo>
                  <a:lnTo>
                    <a:pt x="108" y="35"/>
                  </a:lnTo>
                  <a:lnTo>
                    <a:pt x="108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92" name="Freeform 183"/>
            <p:cNvSpPr>
              <a:spLocks/>
            </p:cNvSpPr>
            <p:nvPr/>
          </p:nvSpPr>
          <p:spPr bwMode="auto">
            <a:xfrm>
              <a:off x="6097588" y="2398713"/>
              <a:ext cx="3175" cy="1587"/>
            </a:xfrm>
            <a:custGeom>
              <a:avLst/>
              <a:gdLst>
                <a:gd name="T0" fmla="*/ 4 w 4"/>
                <a:gd name="T1" fmla="*/ 3 h 3"/>
                <a:gd name="T2" fmla="*/ 4 w 4"/>
                <a:gd name="T3" fmla="*/ 3 h 3"/>
                <a:gd name="T4" fmla="*/ 3 w 4"/>
                <a:gd name="T5" fmla="*/ 1 h 3"/>
                <a:gd name="T6" fmla="*/ 3 w 4"/>
                <a:gd name="T7" fmla="*/ 0 h 3"/>
                <a:gd name="T8" fmla="*/ 0 w 4"/>
                <a:gd name="T9" fmla="*/ 1 h 3"/>
                <a:gd name="T10" fmla="*/ 3 w 4"/>
                <a:gd name="T11" fmla="*/ 3 h 3"/>
                <a:gd name="T12" fmla="*/ 4 w 4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lnTo>
                    <a:pt x="4" y="3"/>
                  </a:lnTo>
                  <a:lnTo>
                    <a:pt x="3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93" name="Freeform 184"/>
            <p:cNvSpPr>
              <a:spLocks/>
            </p:cNvSpPr>
            <p:nvPr/>
          </p:nvSpPr>
          <p:spPr bwMode="auto">
            <a:xfrm>
              <a:off x="6432550" y="4475163"/>
              <a:ext cx="82550" cy="68262"/>
            </a:xfrm>
            <a:custGeom>
              <a:avLst/>
              <a:gdLst>
                <a:gd name="T0" fmla="*/ 102 w 105"/>
                <a:gd name="T1" fmla="*/ 1 h 85"/>
                <a:gd name="T2" fmla="*/ 97 w 105"/>
                <a:gd name="T3" fmla="*/ 4 h 85"/>
                <a:gd name="T4" fmla="*/ 93 w 105"/>
                <a:gd name="T5" fmla="*/ 5 h 85"/>
                <a:gd name="T6" fmla="*/ 89 w 105"/>
                <a:gd name="T7" fmla="*/ 7 h 85"/>
                <a:gd name="T8" fmla="*/ 80 w 105"/>
                <a:gd name="T9" fmla="*/ 8 h 85"/>
                <a:gd name="T10" fmla="*/ 69 w 105"/>
                <a:gd name="T11" fmla="*/ 11 h 85"/>
                <a:gd name="T12" fmla="*/ 69 w 105"/>
                <a:gd name="T13" fmla="*/ 14 h 85"/>
                <a:gd name="T14" fmla="*/ 65 w 105"/>
                <a:gd name="T15" fmla="*/ 15 h 85"/>
                <a:gd name="T16" fmla="*/ 59 w 105"/>
                <a:gd name="T17" fmla="*/ 15 h 85"/>
                <a:gd name="T18" fmla="*/ 56 w 105"/>
                <a:gd name="T19" fmla="*/ 14 h 85"/>
                <a:gd name="T20" fmla="*/ 50 w 105"/>
                <a:gd name="T21" fmla="*/ 11 h 85"/>
                <a:gd name="T22" fmla="*/ 32 w 105"/>
                <a:gd name="T23" fmla="*/ 1 h 85"/>
                <a:gd name="T24" fmla="*/ 26 w 105"/>
                <a:gd name="T25" fmla="*/ 0 h 85"/>
                <a:gd name="T26" fmla="*/ 22 w 105"/>
                <a:gd name="T27" fmla="*/ 1 h 85"/>
                <a:gd name="T28" fmla="*/ 17 w 105"/>
                <a:gd name="T29" fmla="*/ 7 h 85"/>
                <a:gd name="T30" fmla="*/ 12 w 105"/>
                <a:gd name="T31" fmla="*/ 23 h 85"/>
                <a:gd name="T32" fmla="*/ 12 w 105"/>
                <a:gd name="T33" fmla="*/ 31 h 85"/>
                <a:gd name="T34" fmla="*/ 13 w 105"/>
                <a:gd name="T35" fmla="*/ 41 h 85"/>
                <a:gd name="T36" fmla="*/ 13 w 105"/>
                <a:gd name="T37" fmla="*/ 51 h 85"/>
                <a:gd name="T38" fmla="*/ 12 w 105"/>
                <a:gd name="T39" fmla="*/ 53 h 85"/>
                <a:gd name="T40" fmla="*/ 10 w 105"/>
                <a:gd name="T41" fmla="*/ 53 h 85"/>
                <a:gd name="T42" fmla="*/ 7 w 105"/>
                <a:gd name="T43" fmla="*/ 53 h 85"/>
                <a:gd name="T44" fmla="*/ 6 w 105"/>
                <a:gd name="T45" fmla="*/ 51 h 85"/>
                <a:gd name="T46" fmla="*/ 5 w 105"/>
                <a:gd name="T47" fmla="*/ 53 h 85"/>
                <a:gd name="T48" fmla="*/ 3 w 105"/>
                <a:gd name="T49" fmla="*/ 54 h 85"/>
                <a:gd name="T50" fmla="*/ 0 w 105"/>
                <a:gd name="T51" fmla="*/ 61 h 85"/>
                <a:gd name="T52" fmla="*/ 0 w 105"/>
                <a:gd name="T53" fmla="*/ 64 h 85"/>
                <a:gd name="T54" fmla="*/ 5 w 105"/>
                <a:gd name="T55" fmla="*/ 68 h 85"/>
                <a:gd name="T56" fmla="*/ 5 w 105"/>
                <a:gd name="T57" fmla="*/ 70 h 85"/>
                <a:gd name="T58" fmla="*/ 5 w 105"/>
                <a:gd name="T59" fmla="*/ 71 h 85"/>
                <a:gd name="T60" fmla="*/ 6 w 105"/>
                <a:gd name="T61" fmla="*/ 75 h 85"/>
                <a:gd name="T62" fmla="*/ 7 w 105"/>
                <a:gd name="T63" fmla="*/ 77 h 85"/>
                <a:gd name="T64" fmla="*/ 9 w 105"/>
                <a:gd name="T65" fmla="*/ 77 h 85"/>
                <a:gd name="T66" fmla="*/ 10 w 105"/>
                <a:gd name="T67" fmla="*/ 78 h 85"/>
                <a:gd name="T68" fmla="*/ 10 w 105"/>
                <a:gd name="T69" fmla="*/ 78 h 85"/>
                <a:gd name="T70" fmla="*/ 12 w 105"/>
                <a:gd name="T71" fmla="*/ 83 h 85"/>
                <a:gd name="T72" fmla="*/ 15 w 105"/>
                <a:gd name="T73" fmla="*/ 84 h 85"/>
                <a:gd name="T74" fmla="*/ 20 w 105"/>
                <a:gd name="T75" fmla="*/ 85 h 85"/>
                <a:gd name="T76" fmla="*/ 26 w 105"/>
                <a:gd name="T77" fmla="*/ 84 h 85"/>
                <a:gd name="T78" fmla="*/ 32 w 105"/>
                <a:gd name="T79" fmla="*/ 78 h 85"/>
                <a:gd name="T80" fmla="*/ 36 w 105"/>
                <a:gd name="T81" fmla="*/ 74 h 85"/>
                <a:gd name="T82" fmla="*/ 42 w 105"/>
                <a:gd name="T83" fmla="*/ 71 h 85"/>
                <a:gd name="T84" fmla="*/ 45 w 105"/>
                <a:gd name="T85" fmla="*/ 70 h 85"/>
                <a:gd name="T86" fmla="*/ 47 w 105"/>
                <a:gd name="T87" fmla="*/ 64 h 85"/>
                <a:gd name="T88" fmla="*/ 49 w 105"/>
                <a:gd name="T89" fmla="*/ 61 h 85"/>
                <a:gd name="T90" fmla="*/ 49 w 105"/>
                <a:gd name="T91" fmla="*/ 61 h 85"/>
                <a:gd name="T92" fmla="*/ 52 w 105"/>
                <a:gd name="T93" fmla="*/ 64 h 85"/>
                <a:gd name="T94" fmla="*/ 57 w 105"/>
                <a:gd name="T95" fmla="*/ 67 h 85"/>
                <a:gd name="T96" fmla="*/ 59 w 105"/>
                <a:gd name="T97" fmla="*/ 67 h 85"/>
                <a:gd name="T98" fmla="*/ 63 w 105"/>
                <a:gd name="T99" fmla="*/ 65 h 85"/>
                <a:gd name="T100" fmla="*/ 65 w 105"/>
                <a:gd name="T101" fmla="*/ 63 h 85"/>
                <a:gd name="T102" fmla="*/ 72 w 105"/>
                <a:gd name="T103" fmla="*/ 50 h 85"/>
                <a:gd name="T104" fmla="*/ 79 w 105"/>
                <a:gd name="T105" fmla="*/ 43 h 85"/>
                <a:gd name="T106" fmla="*/ 82 w 105"/>
                <a:gd name="T107" fmla="*/ 41 h 85"/>
                <a:gd name="T108" fmla="*/ 83 w 105"/>
                <a:gd name="T109" fmla="*/ 41 h 85"/>
                <a:gd name="T110" fmla="*/ 89 w 105"/>
                <a:gd name="T111" fmla="*/ 35 h 85"/>
                <a:gd name="T112" fmla="*/ 102 w 105"/>
                <a:gd name="T113" fmla="*/ 14 h 85"/>
                <a:gd name="T114" fmla="*/ 105 w 105"/>
                <a:gd name="T115" fmla="*/ 7 h 85"/>
                <a:gd name="T116" fmla="*/ 105 w 105"/>
                <a:gd name="T117" fmla="*/ 2 h 85"/>
                <a:gd name="T118" fmla="*/ 102 w 105"/>
                <a:gd name="T119" fmla="*/ 1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5" h="85">
                  <a:moveTo>
                    <a:pt x="102" y="1"/>
                  </a:moveTo>
                  <a:lnTo>
                    <a:pt x="102" y="1"/>
                  </a:lnTo>
                  <a:lnTo>
                    <a:pt x="100" y="1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3" y="5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2" y="10"/>
                  </a:lnTo>
                  <a:lnTo>
                    <a:pt x="69" y="11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6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59" y="15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37" y="4"/>
                  </a:lnTo>
                  <a:lnTo>
                    <a:pt x="32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17" y="7"/>
                  </a:lnTo>
                  <a:lnTo>
                    <a:pt x="15" y="14"/>
                  </a:lnTo>
                  <a:lnTo>
                    <a:pt x="12" y="23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7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5" y="53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2" y="58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67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70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5" y="73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7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81"/>
                  </a:lnTo>
                  <a:lnTo>
                    <a:pt x="12" y="83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3" y="85"/>
                  </a:lnTo>
                  <a:lnTo>
                    <a:pt x="26" y="84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71"/>
                  </a:lnTo>
                  <a:lnTo>
                    <a:pt x="45" y="70"/>
                  </a:lnTo>
                  <a:lnTo>
                    <a:pt x="46" y="68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52" y="64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62" y="67"/>
                  </a:lnTo>
                  <a:lnTo>
                    <a:pt x="63" y="65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6" y="58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9" y="43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6" y="40"/>
                  </a:lnTo>
                  <a:lnTo>
                    <a:pt x="89" y="35"/>
                  </a:lnTo>
                  <a:lnTo>
                    <a:pt x="96" y="25"/>
                  </a:lnTo>
                  <a:lnTo>
                    <a:pt x="102" y="14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4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2" y="1"/>
                  </a:lnTo>
                  <a:lnTo>
                    <a:pt x="102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94" name="Freeform 185"/>
            <p:cNvSpPr>
              <a:spLocks/>
            </p:cNvSpPr>
            <p:nvPr/>
          </p:nvSpPr>
          <p:spPr bwMode="auto">
            <a:xfrm>
              <a:off x="5946775" y="3775075"/>
              <a:ext cx="822325" cy="668337"/>
            </a:xfrm>
            <a:custGeom>
              <a:avLst/>
              <a:gdLst>
                <a:gd name="T0" fmla="*/ 1014 w 1036"/>
                <a:gd name="T1" fmla="*/ 390 h 841"/>
                <a:gd name="T2" fmla="*/ 1001 w 1036"/>
                <a:gd name="T3" fmla="*/ 354 h 841"/>
                <a:gd name="T4" fmla="*/ 974 w 1036"/>
                <a:gd name="T5" fmla="*/ 333 h 841"/>
                <a:gd name="T6" fmla="*/ 947 w 1036"/>
                <a:gd name="T7" fmla="*/ 270 h 841"/>
                <a:gd name="T8" fmla="*/ 914 w 1036"/>
                <a:gd name="T9" fmla="*/ 221 h 841"/>
                <a:gd name="T10" fmla="*/ 904 w 1036"/>
                <a:gd name="T11" fmla="*/ 169 h 841"/>
                <a:gd name="T12" fmla="*/ 888 w 1036"/>
                <a:gd name="T13" fmla="*/ 106 h 841"/>
                <a:gd name="T14" fmla="*/ 864 w 1036"/>
                <a:gd name="T15" fmla="*/ 50 h 841"/>
                <a:gd name="T16" fmla="*/ 847 w 1036"/>
                <a:gd name="T17" fmla="*/ 1 h 841"/>
                <a:gd name="T18" fmla="*/ 820 w 1036"/>
                <a:gd name="T19" fmla="*/ 61 h 841"/>
                <a:gd name="T20" fmla="*/ 807 w 1036"/>
                <a:gd name="T21" fmla="*/ 91 h 841"/>
                <a:gd name="T22" fmla="*/ 797 w 1036"/>
                <a:gd name="T23" fmla="*/ 154 h 841"/>
                <a:gd name="T24" fmla="*/ 737 w 1036"/>
                <a:gd name="T25" fmla="*/ 190 h 841"/>
                <a:gd name="T26" fmla="*/ 683 w 1036"/>
                <a:gd name="T27" fmla="*/ 153 h 841"/>
                <a:gd name="T28" fmla="*/ 658 w 1036"/>
                <a:gd name="T29" fmla="*/ 114 h 841"/>
                <a:gd name="T30" fmla="*/ 691 w 1036"/>
                <a:gd name="T31" fmla="*/ 60 h 841"/>
                <a:gd name="T32" fmla="*/ 688 w 1036"/>
                <a:gd name="T33" fmla="*/ 31 h 841"/>
                <a:gd name="T34" fmla="*/ 678 w 1036"/>
                <a:gd name="T35" fmla="*/ 30 h 841"/>
                <a:gd name="T36" fmla="*/ 638 w 1036"/>
                <a:gd name="T37" fmla="*/ 36 h 841"/>
                <a:gd name="T38" fmla="*/ 587 w 1036"/>
                <a:gd name="T39" fmla="*/ 26 h 841"/>
                <a:gd name="T40" fmla="*/ 551 w 1036"/>
                <a:gd name="T41" fmla="*/ 40 h 841"/>
                <a:gd name="T42" fmla="*/ 524 w 1036"/>
                <a:gd name="T43" fmla="*/ 64 h 841"/>
                <a:gd name="T44" fmla="*/ 505 w 1036"/>
                <a:gd name="T45" fmla="*/ 97 h 841"/>
                <a:gd name="T46" fmla="*/ 503 w 1036"/>
                <a:gd name="T47" fmla="*/ 133 h 841"/>
                <a:gd name="T48" fmla="*/ 463 w 1036"/>
                <a:gd name="T49" fmla="*/ 139 h 841"/>
                <a:gd name="T50" fmla="*/ 435 w 1036"/>
                <a:gd name="T51" fmla="*/ 91 h 841"/>
                <a:gd name="T52" fmla="*/ 400 w 1036"/>
                <a:gd name="T53" fmla="*/ 111 h 841"/>
                <a:gd name="T54" fmla="*/ 384 w 1036"/>
                <a:gd name="T55" fmla="*/ 140 h 841"/>
                <a:gd name="T56" fmla="*/ 365 w 1036"/>
                <a:gd name="T57" fmla="*/ 160 h 841"/>
                <a:gd name="T58" fmla="*/ 340 w 1036"/>
                <a:gd name="T59" fmla="*/ 177 h 841"/>
                <a:gd name="T60" fmla="*/ 327 w 1036"/>
                <a:gd name="T61" fmla="*/ 174 h 841"/>
                <a:gd name="T62" fmla="*/ 281 w 1036"/>
                <a:gd name="T63" fmla="*/ 234 h 841"/>
                <a:gd name="T64" fmla="*/ 195 w 1036"/>
                <a:gd name="T65" fmla="*/ 282 h 841"/>
                <a:gd name="T66" fmla="*/ 121 w 1036"/>
                <a:gd name="T67" fmla="*/ 306 h 841"/>
                <a:gd name="T68" fmla="*/ 70 w 1036"/>
                <a:gd name="T69" fmla="*/ 326 h 841"/>
                <a:gd name="T70" fmla="*/ 57 w 1036"/>
                <a:gd name="T71" fmla="*/ 364 h 841"/>
                <a:gd name="T72" fmla="*/ 48 w 1036"/>
                <a:gd name="T73" fmla="*/ 436 h 841"/>
                <a:gd name="T74" fmla="*/ 35 w 1036"/>
                <a:gd name="T75" fmla="*/ 462 h 841"/>
                <a:gd name="T76" fmla="*/ 42 w 1036"/>
                <a:gd name="T77" fmla="*/ 525 h 841"/>
                <a:gd name="T78" fmla="*/ 31 w 1036"/>
                <a:gd name="T79" fmla="*/ 643 h 841"/>
                <a:gd name="T80" fmla="*/ 1 w 1036"/>
                <a:gd name="T81" fmla="*/ 692 h 841"/>
                <a:gd name="T82" fmla="*/ 91 w 1036"/>
                <a:gd name="T83" fmla="*/ 703 h 841"/>
                <a:gd name="T84" fmla="*/ 165 w 1036"/>
                <a:gd name="T85" fmla="*/ 680 h 841"/>
                <a:gd name="T86" fmla="*/ 208 w 1036"/>
                <a:gd name="T87" fmla="*/ 685 h 841"/>
                <a:gd name="T88" fmla="*/ 301 w 1036"/>
                <a:gd name="T89" fmla="*/ 635 h 841"/>
                <a:gd name="T90" fmla="*/ 437 w 1036"/>
                <a:gd name="T91" fmla="*/ 616 h 841"/>
                <a:gd name="T92" fmla="*/ 487 w 1036"/>
                <a:gd name="T93" fmla="*/ 633 h 841"/>
                <a:gd name="T94" fmla="*/ 495 w 1036"/>
                <a:gd name="T95" fmla="*/ 679 h 841"/>
                <a:gd name="T96" fmla="*/ 495 w 1036"/>
                <a:gd name="T97" fmla="*/ 708 h 841"/>
                <a:gd name="T98" fmla="*/ 528 w 1036"/>
                <a:gd name="T99" fmla="*/ 690 h 841"/>
                <a:gd name="T100" fmla="*/ 571 w 1036"/>
                <a:gd name="T101" fmla="*/ 672 h 841"/>
                <a:gd name="T102" fmla="*/ 524 w 1036"/>
                <a:gd name="T103" fmla="*/ 725 h 841"/>
                <a:gd name="T104" fmla="*/ 568 w 1036"/>
                <a:gd name="T105" fmla="*/ 695 h 841"/>
                <a:gd name="T106" fmla="*/ 580 w 1036"/>
                <a:gd name="T107" fmla="*/ 725 h 841"/>
                <a:gd name="T108" fmla="*/ 565 w 1036"/>
                <a:gd name="T109" fmla="*/ 782 h 841"/>
                <a:gd name="T110" fmla="*/ 600 w 1036"/>
                <a:gd name="T111" fmla="*/ 815 h 841"/>
                <a:gd name="T112" fmla="*/ 641 w 1036"/>
                <a:gd name="T113" fmla="*/ 828 h 841"/>
                <a:gd name="T114" fmla="*/ 687 w 1036"/>
                <a:gd name="T115" fmla="*/ 823 h 841"/>
                <a:gd name="T116" fmla="*/ 757 w 1036"/>
                <a:gd name="T117" fmla="*/ 802 h 841"/>
                <a:gd name="T118" fmla="*/ 873 w 1036"/>
                <a:gd name="T119" fmla="*/ 718 h 841"/>
                <a:gd name="T120" fmla="*/ 961 w 1036"/>
                <a:gd name="T121" fmla="*/ 626 h 841"/>
                <a:gd name="T122" fmla="*/ 1021 w 1036"/>
                <a:gd name="T123" fmla="*/ 532 h 841"/>
                <a:gd name="T124" fmla="*/ 1034 w 1036"/>
                <a:gd name="T125" fmla="*/ 429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36" h="841">
                  <a:moveTo>
                    <a:pt x="1034" y="429"/>
                  </a:moveTo>
                  <a:lnTo>
                    <a:pt x="1034" y="429"/>
                  </a:lnTo>
                  <a:lnTo>
                    <a:pt x="1031" y="427"/>
                  </a:lnTo>
                  <a:lnTo>
                    <a:pt x="1027" y="427"/>
                  </a:lnTo>
                  <a:lnTo>
                    <a:pt x="1027" y="427"/>
                  </a:lnTo>
                  <a:lnTo>
                    <a:pt x="1026" y="427"/>
                  </a:lnTo>
                  <a:lnTo>
                    <a:pt x="1026" y="427"/>
                  </a:lnTo>
                  <a:lnTo>
                    <a:pt x="1027" y="426"/>
                  </a:lnTo>
                  <a:lnTo>
                    <a:pt x="1027" y="426"/>
                  </a:lnTo>
                  <a:lnTo>
                    <a:pt x="1029" y="420"/>
                  </a:lnTo>
                  <a:lnTo>
                    <a:pt x="1029" y="416"/>
                  </a:lnTo>
                  <a:lnTo>
                    <a:pt x="1027" y="413"/>
                  </a:lnTo>
                  <a:lnTo>
                    <a:pt x="1027" y="413"/>
                  </a:lnTo>
                  <a:lnTo>
                    <a:pt x="1024" y="410"/>
                  </a:lnTo>
                  <a:lnTo>
                    <a:pt x="1023" y="410"/>
                  </a:lnTo>
                  <a:lnTo>
                    <a:pt x="1023" y="410"/>
                  </a:lnTo>
                  <a:lnTo>
                    <a:pt x="1020" y="407"/>
                  </a:lnTo>
                  <a:lnTo>
                    <a:pt x="1020" y="407"/>
                  </a:lnTo>
                  <a:lnTo>
                    <a:pt x="1019" y="400"/>
                  </a:lnTo>
                  <a:lnTo>
                    <a:pt x="1019" y="400"/>
                  </a:lnTo>
                  <a:lnTo>
                    <a:pt x="1017" y="397"/>
                  </a:lnTo>
                  <a:lnTo>
                    <a:pt x="1016" y="393"/>
                  </a:lnTo>
                  <a:lnTo>
                    <a:pt x="1014" y="390"/>
                  </a:lnTo>
                  <a:lnTo>
                    <a:pt x="1010" y="389"/>
                  </a:lnTo>
                  <a:lnTo>
                    <a:pt x="1010" y="389"/>
                  </a:lnTo>
                  <a:lnTo>
                    <a:pt x="1007" y="389"/>
                  </a:lnTo>
                  <a:lnTo>
                    <a:pt x="1007" y="389"/>
                  </a:lnTo>
                  <a:lnTo>
                    <a:pt x="1006" y="389"/>
                  </a:lnTo>
                  <a:lnTo>
                    <a:pt x="1006" y="389"/>
                  </a:lnTo>
                  <a:lnTo>
                    <a:pt x="1004" y="389"/>
                  </a:lnTo>
                  <a:lnTo>
                    <a:pt x="1004" y="389"/>
                  </a:lnTo>
                  <a:lnTo>
                    <a:pt x="1004" y="386"/>
                  </a:lnTo>
                  <a:lnTo>
                    <a:pt x="1004" y="386"/>
                  </a:lnTo>
                  <a:lnTo>
                    <a:pt x="1004" y="380"/>
                  </a:lnTo>
                  <a:lnTo>
                    <a:pt x="1004" y="380"/>
                  </a:lnTo>
                  <a:lnTo>
                    <a:pt x="1003" y="376"/>
                  </a:lnTo>
                  <a:lnTo>
                    <a:pt x="999" y="374"/>
                  </a:lnTo>
                  <a:lnTo>
                    <a:pt x="999" y="374"/>
                  </a:lnTo>
                  <a:lnTo>
                    <a:pt x="997" y="374"/>
                  </a:lnTo>
                  <a:lnTo>
                    <a:pt x="997" y="374"/>
                  </a:lnTo>
                  <a:lnTo>
                    <a:pt x="996" y="374"/>
                  </a:lnTo>
                  <a:lnTo>
                    <a:pt x="996" y="374"/>
                  </a:lnTo>
                  <a:lnTo>
                    <a:pt x="999" y="367"/>
                  </a:lnTo>
                  <a:lnTo>
                    <a:pt x="999" y="367"/>
                  </a:lnTo>
                  <a:lnTo>
                    <a:pt x="1001" y="354"/>
                  </a:lnTo>
                  <a:lnTo>
                    <a:pt x="1001" y="354"/>
                  </a:lnTo>
                  <a:lnTo>
                    <a:pt x="1001" y="344"/>
                  </a:lnTo>
                  <a:lnTo>
                    <a:pt x="1001" y="340"/>
                  </a:lnTo>
                  <a:lnTo>
                    <a:pt x="1000" y="337"/>
                  </a:lnTo>
                  <a:lnTo>
                    <a:pt x="1000" y="337"/>
                  </a:lnTo>
                  <a:lnTo>
                    <a:pt x="997" y="336"/>
                  </a:lnTo>
                  <a:lnTo>
                    <a:pt x="997" y="336"/>
                  </a:lnTo>
                  <a:lnTo>
                    <a:pt x="994" y="337"/>
                  </a:lnTo>
                  <a:lnTo>
                    <a:pt x="991" y="340"/>
                  </a:lnTo>
                  <a:lnTo>
                    <a:pt x="991" y="340"/>
                  </a:lnTo>
                  <a:lnTo>
                    <a:pt x="990" y="342"/>
                  </a:lnTo>
                  <a:lnTo>
                    <a:pt x="990" y="342"/>
                  </a:lnTo>
                  <a:lnTo>
                    <a:pt x="987" y="340"/>
                  </a:lnTo>
                  <a:lnTo>
                    <a:pt x="987" y="340"/>
                  </a:lnTo>
                  <a:lnTo>
                    <a:pt x="984" y="337"/>
                  </a:lnTo>
                  <a:lnTo>
                    <a:pt x="980" y="337"/>
                  </a:lnTo>
                  <a:lnTo>
                    <a:pt x="980" y="337"/>
                  </a:lnTo>
                  <a:lnTo>
                    <a:pt x="979" y="337"/>
                  </a:lnTo>
                  <a:lnTo>
                    <a:pt x="977" y="339"/>
                  </a:lnTo>
                  <a:lnTo>
                    <a:pt x="977" y="339"/>
                  </a:lnTo>
                  <a:lnTo>
                    <a:pt x="976" y="339"/>
                  </a:lnTo>
                  <a:lnTo>
                    <a:pt x="976" y="339"/>
                  </a:lnTo>
                  <a:lnTo>
                    <a:pt x="974" y="333"/>
                  </a:lnTo>
                  <a:lnTo>
                    <a:pt x="974" y="333"/>
                  </a:lnTo>
                  <a:lnTo>
                    <a:pt x="973" y="317"/>
                  </a:lnTo>
                  <a:lnTo>
                    <a:pt x="973" y="317"/>
                  </a:lnTo>
                  <a:lnTo>
                    <a:pt x="973" y="310"/>
                  </a:lnTo>
                  <a:lnTo>
                    <a:pt x="971" y="306"/>
                  </a:lnTo>
                  <a:lnTo>
                    <a:pt x="969" y="303"/>
                  </a:lnTo>
                  <a:lnTo>
                    <a:pt x="966" y="300"/>
                  </a:lnTo>
                  <a:lnTo>
                    <a:pt x="966" y="300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0" y="294"/>
                  </a:lnTo>
                  <a:lnTo>
                    <a:pt x="961" y="292"/>
                  </a:lnTo>
                  <a:lnTo>
                    <a:pt x="961" y="292"/>
                  </a:lnTo>
                  <a:lnTo>
                    <a:pt x="963" y="287"/>
                  </a:lnTo>
                  <a:lnTo>
                    <a:pt x="963" y="287"/>
                  </a:lnTo>
                  <a:lnTo>
                    <a:pt x="963" y="283"/>
                  </a:lnTo>
                  <a:lnTo>
                    <a:pt x="963" y="279"/>
                  </a:lnTo>
                  <a:lnTo>
                    <a:pt x="963" y="279"/>
                  </a:lnTo>
                  <a:lnTo>
                    <a:pt x="963" y="277"/>
                  </a:lnTo>
                  <a:lnTo>
                    <a:pt x="963" y="277"/>
                  </a:lnTo>
                  <a:lnTo>
                    <a:pt x="961" y="274"/>
                  </a:lnTo>
                  <a:lnTo>
                    <a:pt x="958" y="273"/>
                  </a:lnTo>
                  <a:lnTo>
                    <a:pt x="954" y="270"/>
                  </a:lnTo>
                  <a:lnTo>
                    <a:pt x="947" y="270"/>
                  </a:lnTo>
                  <a:lnTo>
                    <a:pt x="947" y="270"/>
                  </a:lnTo>
                  <a:lnTo>
                    <a:pt x="944" y="269"/>
                  </a:lnTo>
                  <a:lnTo>
                    <a:pt x="943" y="267"/>
                  </a:lnTo>
                  <a:lnTo>
                    <a:pt x="941" y="262"/>
                  </a:lnTo>
                  <a:lnTo>
                    <a:pt x="941" y="262"/>
                  </a:lnTo>
                  <a:lnTo>
                    <a:pt x="940" y="259"/>
                  </a:lnTo>
                  <a:lnTo>
                    <a:pt x="938" y="256"/>
                  </a:lnTo>
                  <a:lnTo>
                    <a:pt x="938" y="256"/>
                  </a:lnTo>
                  <a:lnTo>
                    <a:pt x="937" y="254"/>
                  </a:lnTo>
                  <a:lnTo>
                    <a:pt x="934" y="253"/>
                  </a:lnTo>
                  <a:lnTo>
                    <a:pt x="934" y="253"/>
                  </a:lnTo>
                  <a:lnTo>
                    <a:pt x="933" y="253"/>
                  </a:lnTo>
                  <a:lnTo>
                    <a:pt x="933" y="253"/>
                  </a:lnTo>
                  <a:lnTo>
                    <a:pt x="930" y="253"/>
                  </a:lnTo>
                  <a:lnTo>
                    <a:pt x="924" y="252"/>
                  </a:lnTo>
                  <a:lnTo>
                    <a:pt x="924" y="252"/>
                  </a:lnTo>
                  <a:lnTo>
                    <a:pt x="918" y="249"/>
                  </a:lnTo>
                  <a:lnTo>
                    <a:pt x="916" y="246"/>
                  </a:lnTo>
                  <a:lnTo>
                    <a:pt x="914" y="240"/>
                  </a:lnTo>
                  <a:lnTo>
                    <a:pt x="914" y="231"/>
                  </a:lnTo>
                  <a:lnTo>
                    <a:pt x="914" y="231"/>
                  </a:lnTo>
                  <a:lnTo>
                    <a:pt x="914" y="224"/>
                  </a:lnTo>
                  <a:lnTo>
                    <a:pt x="914" y="221"/>
                  </a:lnTo>
                  <a:lnTo>
                    <a:pt x="914" y="221"/>
                  </a:lnTo>
                  <a:lnTo>
                    <a:pt x="911" y="220"/>
                  </a:lnTo>
                  <a:lnTo>
                    <a:pt x="911" y="220"/>
                  </a:lnTo>
                  <a:lnTo>
                    <a:pt x="910" y="220"/>
                  </a:lnTo>
                  <a:lnTo>
                    <a:pt x="910" y="220"/>
                  </a:lnTo>
                  <a:lnTo>
                    <a:pt x="910" y="220"/>
                  </a:lnTo>
                  <a:lnTo>
                    <a:pt x="908" y="220"/>
                  </a:lnTo>
                  <a:lnTo>
                    <a:pt x="908" y="220"/>
                  </a:lnTo>
                  <a:lnTo>
                    <a:pt x="910" y="217"/>
                  </a:lnTo>
                  <a:lnTo>
                    <a:pt x="911" y="213"/>
                  </a:lnTo>
                  <a:lnTo>
                    <a:pt x="911" y="213"/>
                  </a:lnTo>
                  <a:lnTo>
                    <a:pt x="914" y="207"/>
                  </a:lnTo>
                  <a:lnTo>
                    <a:pt x="914" y="201"/>
                  </a:lnTo>
                  <a:lnTo>
                    <a:pt x="914" y="201"/>
                  </a:lnTo>
                  <a:lnTo>
                    <a:pt x="914" y="196"/>
                  </a:lnTo>
                  <a:lnTo>
                    <a:pt x="913" y="189"/>
                  </a:lnTo>
                  <a:lnTo>
                    <a:pt x="910" y="181"/>
                  </a:lnTo>
                  <a:lnTo>
                    <a:pt x="908" y="179"/>
                  </a:lnTo>
                  <a:lnTo>
                    <a:pt x="906" y="177"/>
                  </a:lnTo>
                  <a:lnTo>
                    <a:pt x="906" y="177"/>
                  </a:lnTo>
                  <a:lnTo>
                    <a:pt x="904" y="176"/>
                  </a:lnTo>
                  <a:lnTo>
                    <a:pt x="904" y="174"/>
                  </a:lnTo>
                  <a:lnTo>
                    <a:pt x="904" y="169"/>
                  </a:lnTo>
                  <a:lnTo>
                    <a:pt x="904" y="167"/>
                  </a:lnTo>
                  <a:lnTo>
                    <a:pt x="904" y="167"/>
                  </a:lnTo>
                  <a:lnTo>
                    <a:pt x="906" y="156"/>
                  </a:lnTo>
                  <a:lnTo>
                    <a:pt x="906" y="149"/>
                  </a:lnTo>
                  <a:lnTo>
                    <a:pt x="904" y="143"/>
                  </a:lnTo>
                  <a:lnTo>
                    <a:pt x="904" y="143"/>
                  </a:lnTo>
                  <a:lnTo>
                    <a:pt x="904" y="141"/>
                  </a:lnTo>
                  <a:lnTo>
                    <a:pt x="904" y="140"/>
                  </a:lnTo>
                  <a:lnTo>
                    <a:pt x="904" y="140"/>
                  </a:lnTo>
                  <a:lnTo>
                    <a:pt x="906" y="139"/>
                  </a:lnTo>
                  <a:lnTo>
                    <a:pt x="906" y="137"/>
                  </a:lnTo>
                  <a:lnTo>
                    <a:pt x="906" y="137"/>
                  </a:lnTo>
                  <a:lnTo>
                    <a:pt x="907" y="134"/>
                  </a:lnTo>
                  <a:lnTo>
                    <a:pt x="907" y="130"/>
                  </a:lnTo>
                  <a:lnTo>
                    <a:pt x="906" y="124"/>
                  </a:lnTo>
                  <a:lnTo>
                    <a:pt x="903" y="121"/>
                  </a:lnTo>
                  <a:lnTo>
                    <a:pt x="898" y="119"/>
                  </a:lnTo>
                  <a:lnTo>
                    <a:pt x="898" y="119"/>
                  </a:lnTo>
                  <a:lnTo>
                    <a:pt x="891" y="113"/>
                  </a:lnTo>
                  <a:lnTo>
                    <a:pt x="890" y="109"/>
                  </a:lnTo>
                  <a:lnTo>
                    <a:pt x="890" y="109"/>
                  </a:lnTo>
                  <a:lnTo>
                    <a:pt x="888" y="106"/>
                  </a:lnTo>
                  <a:lnTo>
                    <a:pt x="888" y="106"/>
                  </a:lnTo>
                  <a:lnTo>
                    <a:pt x="887" y="104"/>
                  </a:lnTo>
                  <a:lnTo>
                    <a:pt x="886" y="103"/>
                  </a:lnTo>
                  <a:lnTo>
                    <a:pt x="886" y="103"/>
                  </a:lnTo>
                  <a:lnTo>
                    <a:pt x="883" y="104"/>
                  </a:lnTo>
                  <a:lnTo>
                    <a:pt x="880" y="106"/>
                  </a:lnTo>
                  <a:lnTo>
                    <a:pt x="880" y="106"/>
                  </a:lnTo>
                  <a:lnTo>
                    <a:pt x="874" y="109"/>
                  </a:lnTo>
                  <a:lnTo>
                    <a:pt x="874" y="109"/>
                  </a:lnTo>
                  <a:lnTo>
                    <a:pt x="873" y="109"/>
                  </a:lnTo>
                  <a:lnTo>
                    <a:pt x="871" y="109"/>
                  </a:lnTo>
                  <a:lnTo>
                    <a:pt x="870" y="101"/>
                  </a:lnTo>
                  <a:lnTo>
                    <a:pt x="870" y="101"/>
                  </a:lnTo>
                  <a:lnTo>
                    <a:pt x="868" y="97"/>
                  </a:lnTo>
                  <a:lnTo>
                    <a:pt x="868" y="97"/>
                  </a:lnTo>
                  <a:lnTo>
                    <a:pt x="868" y="91"/>
                  </a:lnTo>
                  <a:lnTo>
                    <a:pt x="868" y="84"/>
                  </a:lnTo>
                  <a:lnTo>
                    <a:pt x="868" y="84"/>
                  </a:lnTo>
                  <a:lnTo>
                    <a:pt x="870" y="73"/>
                  </a:lnTo>
                  <a:lnTo>
                    <a:pt x="868" y="67"/>
                  </a:lnTo>
                  <a:lnTo>
                    <a:pt x="867" y="63"/>
                  </a:lnTo>
                  <a:lnTo>
                    <a:pt x="867" y="63"/>
                  </a:lnTo>
                  <a:lnTo>
                    <a:pt x="864" y="57"/>
                  </a:lnTo>
                  <a:lnTo>
                    <a:pt x="864" y="50"/>
                  </a:lnTo>
                  <a:lnTo>
                    <a:pt x="864" y="50"/>
                  </a:lnTo>
                  <a:lnTo>
                    <a:pt x="863" y="43"/>
                  </a:lnTo>
                  <a:lnTo>
                    <a:pt x="863" y="43"/>
                  </a:lnTo>
                  <a:lnTo>
                    <a:pt x="861" y="40"/>
                  </a:lnTo>
                  <a:lnTo>
                    <a:pt x="861" y="40"/>
                  </a:lnTo>
                  <a:lnTo>
                    <a:pt x="860" y="34"/>
                  </a:lnTo>
                  <a:lnTo>
                    <a:pt x="858" y="33"/>
                  </a:lnTo>
                  <a:lnTo>
                    <a:pt x="856" y="33"/>
                  </a:lnTo>
                  <a:lnTo>
                    <a:pt x="856" y="33"/>
                  </a:lnTo>
                  <a:lnTo>
                    <a:pt x="856" y="33"/>
                  </a:lnTo>
                  <a:lnTo>
                    <a:pt x="856" y="33"/>
                  </a:lnTo>
                  <a:lnTo>
                    <a:pt x="857" y="26"/>
                  </a:lnTo>
                  <a:lnTo>
                    <a:pt x="857" y="26"/>
                  </a:lnTo>
                  <a:lnTo>
                    <a:pt x="858" y="10"/>
                  </a:lnTo>
                  <a:lnTo>
                    <a:pt x="857" y="6"/>
                  </a:lnTo>
                  <a:lnTo>
                    <a:pt x="856" y="4"/>
                  </a:lnTo>
                  <a:lnTo>
                    <a:pt x="856" y="4"/>
                  </a:lnTo>
                  <a:lnTo>
                    <a:pt x="853" y="3"/>
                  </a:lnTo>
                  <a:lnTo>
                    <a:pt x="853" y="3"/>
                  </a:lnTo>
                  <a:lnTo>
                    <a:pt x="851" y="1"/>
                  </a:lnTo>
                  <a:lnTo>
                    <a:pt x="850" y="0"/>
                  </a:lnTo>
                  <a:lnTo>
                    <a:pt x="850" y="0"/>
                  </a:lnTo>
                  <a:lnTo>
                    <a:pt x="847" y="1"/>
                  </a:lnTo>
                  <a:lnTo>
                    <a:pt x="843" y="6"/>
                  </a:lnTo>
                  <a:lnTo>
                    <a:pt x="843" y="6"/>
                  </a:lnTo>
                  <a:lnTo>
                    <a:pt x="841" y="7"/>
                  </a:lnTo>
                  <a:lnTo>
                    <a:pt x="841" y="8"/>
                  </a:lnTo>
                  <a:lnTo>
                    <a:pt x="841" y="8"/>
                  </a:lnTo>
                  <a:lnTo>
                    <a:pt x="838" y="8"/>
                  </a:lnTo>
                  <a:lnTo>
                    <a:pt x="837" y="10"/>
                  </a:lnTo>
                  <a:lnTo>
                    <a:pt x="836" y="18"/>
                  </a:lnTo>
                  <a:lnTo>
                    <a:pt x="836" y="18"/>
                  </a:lnTo>
                  <a:lnTo>
                    <a:pt x="834" y="27"/>
                  </a:lnTo>
                  <a:lnTo>
                    <a:pt x="833" y="34"/>
                  </a:lnTo>
                  <a:lnTo>
                    <a:pt x="830" y="38"/>
                  </a:lnTo>
                  <a:lnTo>
                    <a:pt x="830" y="38"/>
                  </a:lnTo>
                  <a:lnTo>
                    <a:pt x="828" y="41"/>
                  </a:lnTo>
                  <a:lnTo>
                    <a:pt x="828" y="41"/>
                  </a:lnTo>
                  <a:lnTo>
                    <a:pt x="823" y="47"/>
                  </a:lnTo>
                  <a:lnTo>
                    <a:pt x="820" y="51"/>
                  </a:lnTo>
                  <a:lnTo>
                    <a:pt x="818" y="57"/>
                  </a:lnTo>
                  <a:lnTo>
                    <a:pt x="818" y="57"/>
                  </a:lnTo>
                  <a:lnTo>
                    <a:pt x="818" y="58"/>
                  </a:lnTo>
                  <a:lnTo>
                    <a:pt x="818" y="61"/>
                  </a:lnTo>
                  <a:lnTo>
                    <a:pt x="818" y="61"/>
                  </a:lnTo>
                  <a:lnTo>
                    <a:pt x="820" y="61"/>
                  </a:lnTo>
                  <a:lnTo>
                    <a:pt x="823" y="61"/>
                  </a:lnTo>
                  <a:lnTo>
                    <a:pt x="823" y="61"/>
                  </a:lnTo>
                  <a:lnTo>
                    <a:pt x="823" y="63"/>
                  </a:lnTo>
                  <a:lnTo>
                    <a:pt x="823" y="63"/>
                  </a:lnTo>
                  <a:lnTo>
                    <a:pt x="821" y="63"/>
                  </a:lnTo>
                  <a:lnTo>
                    <a:pt x="821" y="63"/>
                  </a:lnTo>
                  <a:lnTo>
                    <a:pt x="820" y="63"/>
                  </a:lnTo>
                  <a:lnTo>
                    <a:pt x="820" y="63"/>
                  </a:lnTo>
                  <a:lnTo>
                    <a:pt x="817" y="64"/>
                  </a:lnTo>
                  <a:lnTo>
                    <a:pt x="816" y="67"/>
                  </a:lnTo>
                  <a:lnTo>
                    <a:pt x="816" y="67"/>
                  </a:lnTo>
                  <a:lnTo>
                    <a:pt x="814" y="70"/>
                  </a:lnTo>
                  <a:lnTo>
                    <a:pt x="816" y="71"/>
                  </a:lnTo>
                  <a:lnTo>
                    <a:pt x="816" y="71"/>
                  </a:lnTo>
                  <a:lnTo>
                    <a:pt x="816" y="76"/>
                  </a:lnTo>
                  <a:lnTo>
                    <a:pt x="816" y="76"/>
                  </a:lnTo>
                  <a:lnTo>
                    <a:pt x="814" y="78"/>
                  </a:lnTo>
                  <a:lnTo>
                    <a:pt x="813" y="80"/>
                  </a:lnTo>
                  <a:lnTo>
                    <a:pt x="813" y="80"/>
                  </a:lnTo>
                  <a:lnTo>
                    <a:pt x="808" y="84"/>
                  </a:lnTo>
                  <a:lnTo>
                    <a:pt x="807" y="87"/>
                  </a:lnTo>
                  <a:lnTo>
                    <a:pt x="807" y="91"/>
                  </a:lnTo>
                  <a:lnTo>
                    <a:pt x="807" y="91"/>
                  </a:lnTo>
                  <a:lnTo>
                    <a:pt x="808" y="99"/>
                  </a:lnTo>
                  <a:lnTo>
                    <a:pt x="810" y="101"/>
                  </a:lnTo>
                  <a:lnTo>
                    <a:pt x="810" y="101"/>
                  </a:lnTo>
                  <a:lnTo>
                    <a:pt x="810" y="101"/>
                  </a:lnTo>
                  <a:lnTo>
                    <a:pt x="810" y="101"/>
                  </a:lnTo>
                  <a:lnTo>
                    <a:pt x="810" y="103"/>
                  </a:lnTo>
                  <a:lnTo>
                    <a:pt x="810" y="103"/>
                  </a:lnTo>
                  <a:lnTo>
                    <a:pt x="808" y="107"/>
                  </a:lnTo>
                  <a:lnTo>
                    <a:pt x="808" y="107"/>
                  </a:lnTo>
                  <a:lnTo>
                    <a:pt x="806" y="116"/>
                  </a:lnTo>
                  <a:lnTo>
                    <a:pt x="806" y="121"/>
                  </a:lnTo>
                  <a:lnTo>
                    <a:pt x="807" y="126"/>
                  </a:lnTo>
                  <a:lnTo>
                    <a:pt x="807" y="126"/>
                  </a:lnTo>
                  <a:lnTo>
                    <a:pt x="807" y="129"/>
                  </a:lnTo>
                  <a:lnTo>
                    <a:pt x="807" y="129"/>
                  </a:lnTo>
                  <a:lnTo>
                    <a:pt x="806" y="131"/>
                  </a:lnTo>
                  <a:lnTo>
                    <a:pt x="806" y="131"/>
                  </a:lnTo>
                  <a:lnTo>
                    <a:pt x="804" y="134"/>
                  </a:lnTo>
                  <a:lnTo>
                    <a:pt x="804" y="134"/>
                  </a:lnTo>
                  <a:lnTo>
                    <a:pt x="800" y="143"/>
                  </a:lnTo>
                  <a:lnTo>
                    <a:pt x="798" y="147"/>
                  </a:lnTo>
                  <a:lnTo>
                    <a:pt x="797" y="154"/>
                  </a:lnTo>
                  <a:lnTo>
                    <a:pt x="797" y="154"/>
                  </a:lnTo>
                  <a:lnTo>
                    <a:pt x="796" y="164"/>
                  </a:lnTo>
                  <a:lnTo>
                    <a:pt x="794" y="167"/>
                  </a:lnTo>
                  <a:lnTo>
                    <a:pt x="794" y="167"/>
                  </a:lnTo>
                  <a:lnTo>
                    <a:pt x="791" y="169"/>
                  </a:lnTo>
                  <a:lnTo>
                    <a:pt x="791" y="169"/>
                  </a:lnTo>
                  <a:lnTo>
                    <a:pt x="786" y="177"/>
                  </a:lnTo>
                  <a:lnTo>
                    <a:pt x="781" y="184"/>
                  </a:lnTo>
                  <a:lnTo>
                    <a:pt x="778" y="193"/>
                  </a:lnTo>
                  <a:lnTo>
                    <a:pt x="778" y="193"/>
                  </a:lnTo>
                  <a:lnTo>
                    <a:pt x="776" y="197"/>
                  </a:lnTo>
                  <a:lnTo>
                    <a:pt x="773" y="200"/>
                  </a:lnTo>
                  <a:lnTo>
                    <a:pt x="768" y="203"/>
                  </a:lnTo>
                  <a:lnTo>
                    <a:pt x="763" y="203"/>
                  </a:lnTo>
                  <a:lnTo>
                    <a:pt x="763" y="203"/>
                  </a:lnTo>
                  <a:lnTo>
                    <a:pt x="756" y="201"/>
                  </a:lnTo>
                  <a:lnTo>
                    <a:pt x="750" y="199"/>
                  </a:lnTo>
                  <a:lnTo>
                    <a:pt x="750" y="199"/>
                  </a:lnTo>
                  <a:lnTo>
                    <a:pt x="744" y="196"/>
                  </a:lnTo>
                  <a:lnTo>
                    <a:pt x="741" y="194"/>
                  </a:lnTo>
                  <a:lnTo>
                    <a:pt x="741" y="194"/>
                  </a:lnTo>
                  <a:lnTo>
                    <a:pt x="738" y="191"/>
                  </a:lnTo>
                  <a:lnTo>
                    <a:pt x="738" y="191"/>
                  </a:lnTo>
                  <a:lnTo>
                    <a:pt x="737" y="190"/>
                  </a:lnTo>
                  <a:lnTo>
                    <a:pt x="738" y="187"/>
                  </a:lnTo>
                  <a:lnTo>
                    <a:pt x="738" y="187"/>
                  </a:lnTo>
                  <a:lnTo>
                    <a:pt x="738" y="184"/>
                  </a:lnTo>
                  <a:lnTo>
                    <a:pt x="738" y="183"/>
                  </a:lnTo>
                  <a:lnTo>
                    <a:pt x="738" y="183"/>
                  </a:lnTo>
                  <a:lnTo>
                    <a:pt x="736" y="180"/>
                  </a:lnTo>
                  <a:lnTo>
                    <a:pt x="730" y="179"/>
                  </a:lnTo>
                  <a:lnTo>
                    <a:pt x="730" y="179"/>
                  </a:lnTo>
                  <a:lnTo>
                    <a:pt x="721" y="177"/>
                  </a:lnTo>
                  <a:lnTo>
                    <a:pt x="716" y="174"/>
                  </a:lnTo>
                  <a:lnTo>
                    <a:pt x="710" y="171"/>
                  </a:lnTo>
                  <a:lnTo>
                    <a:pt x="707" y="167"/>
                  </a:lnTo>
                  <a:lnTo>
                    <a:pt x="707" y="167"/>
                  </a:lnTo>
                  <a:lnTo>
                    <a:pt x="706" y="163"/>
                  </a:lnTo>
                  <a:lnTo>
                    <a:pt x="703" y="161"/>
                  </a:lnTo>
                  <a:lnTo>
                    <a:pt x="698" y="160"/>
                  </a:lnTo>
                  <a:lnTo>
                    <a:pt x="698" y="160"/>
                  </a:lnTo>
                  <a:lnTo>
                    <a:pt x="696" y="160"/>
                  </a:lnTo>
                  <a:lnTo>
                    <a:pt x="696" y="160"/>
                  </a:lnTo>
                  <a:lnTo>
                    <a:pt x="694" y="159"/>
                  </a:lnTo>
                  <a:lnTo>
                    <a:pt x="694" y="159"/>
                  </a:lnTo>
                  <a:lnTo>
                    <a:pt x="691" y="156"/>
                  </a:lnTo>
                  <a:lnTo>
                    <a:pt x="683" y="153"/>
                  </a:lnTo>
                  <a:lnTo>
                    <a:pt x="683" y="153"/>
                  </a:lnTo>
                  <a:lnTo>
                    <a:pt x="678" y="150"/>
                  </a:lnTo>
                  <a:lnTo>
                    <a:pt x="677" y="149"/>
                  </a:lnTo>
                  <a:lnTo>
                    <a:pt x="677" y="149"/>
                  </a:lnTo>
                  <a:lnTo>
                    <a:pt x="676" y="144"/>
                  </a:lnTo>
                  <a:lnTo>
                    <a:pt x="673" y="143"/>
                  </a:lnTo>
                  <a:lnTo>
                    <a:pt x="670" y="143"/>
                  </a:lnTo>
                  <a:lnTo>
                    <a:pt x="670" y="143"/>
                  </a:lnTo>
                  <a:lnTo>
                    <a:pt x="670" y="143"/>
                  </a:lnTo>
                  <a:lnTo>
                    <a:pt x="670" y="143"/>
                  </a:lnTo>
                  <a:lnTo>
                    <a:pt x="670" y="140"/>
                  </a:lnTo>
                  <a:lnTo>
                    <a:pt x="668" y="136"/>
                  </a:lnTo>
                  <a:lnTo>
                    <a:pt x="668" y="136"/>
                  </a:lnTo>
                  <a:lnTo>
                    <a:pt x="661" y="130"/>
                  </a:lnTo>
                  <a:lnTo>
                    <a:pt x="661" y="130"/>
                  </a:lnTo>
                  <a:lnTo>
                    <a:pt x="656" y="126"/>
                  </a:lnTo>
                  <a:lnTo>
                    <a:pt x="654" y="123"/>
                  </a:lnTo>
                  <a:lnTo>
                    <a:pt x="653" y="121"/>
                  </a:lnTo>
                  <a:lnTo>
                    <a:pt x="653" y="121"/>
                  </a:lnTo>
                  <a:lnTo>
                    <a:pt x="654" y="119"/>
                  </a:lnTo>
                  <a:lnTo>
                    <a:pt x="654" y="119"/>
                  </a:lnTo>
                  <a:lnTo>
                    <a:pt x="658" y="114"/>
                  </a:lnTo>
                  <a:lnTo>
                    <a:pt x="658" y="114"/>
                  </a:lnTo>
                  <a:lnTo>
                    <a:pt x="664" y="110"/>
                  </a:lnTo>
                  <a:lnTo>
                    <a:pt x="667" y="104"/>
                  </a:lnTo>
                  <a:lnTo>
                    <a:pt x="670" y="96"/>
                  </a:lnTo>
                  <a:lnTo>
                    <a:pt x="670" y="84"/>
                  </a:lnTo>
                  <a:lnTo>
                    <a:pt x="670" y="84"/>
                  </a:lnTo>
                  <a:lnTo>
                    <a:pt x="668" y="78"/>
                  </a:lnTo>
                  <a:lnTo>
                    <a:pt x="670" y="76"/>
                  </a:lnTo>
                  <a:lnTo>
                    <a:pt x="670" y="76"/>
                  </a:lnTo>
                  <a:lnTo>
                    <a:pt x="671" y="76"/>
                  </a:lnTo>
                  <a:lnTo>
                    <a:pt x="671" y="76"/>
                  </a:lnTo>
                  <a:lnTo>
                    <a:pt x="674" y="76"/>
                  </a:lnTo>
                  <a:lnTo>
                    <a:pt x="674" y="76"/>
                  </a:lnTo>
                  <a:lnTo>
                    <a:pt x="680" y="76"/>
                  </a:lnTo>
                  <a:lnTo>
                    <a:pt x="684" y="76"/>
                  </a:lnTo>
                  <a:lnTo>
                    <a:pt x="684" y="76"/>
                  </a:lnTo>
                  <a:lnTo>
                    <a:pt x="688" y="74"/>
                  </a:lnTo>
                  <a:lnTo>
                    <a:pt x="690" y="71"/>
                  </a:lnTo>
                  <a:lnTo>
                    <a:pt x="690" y="68"/>
                  </a:lnTo>
                  <a:lnTo>
                    <a:pt x="690" y="66"/>
                  </a:lnTo>
                  <a:lnTo>
                    <a:pt x="690" y="66"/>
                  </a:lnTo>
                  <a:lnTo>
                    <a:pt x="690" y="63"/>
                  </a:lnTo>
                  <a:lnTo>
                    <a:pt x="690" y="63"/>
                  </a:lnTo>
                  <a:lnTo>
                    <a:pt x="691" y="60"/>
                  </a:lnTo>
                  <a:lnTo>
                    <a:pt x="694" y="58"/>
                  </a:lnTo>
                  <a:lnTo>
                    <a:pt x="694" y="58"/>
                  </a:lnTo>
                  <a:lnTo>
                    <a:pt x="698" y="54"/>
                  </a:lnTo>
                  <a:lnTo>
                    <a:pt x="701" y="48"/>
                  </a:lnTo>
                  <a:lnTo>
                    <a:pt x="701" y="48"/>
                  </a:lnTo>
                  <a:lnTo>
                    <a:pt x="703" y="46"/>
                  </a:lnTo>
                  <a:lnTo>
                    <a:pt x="701" y="43"/>
                  </a:lnTo>
                  <a:lnTo>
                    <a:pt x="701" y="43"/>
                  </a:lnTo>
                  <a:lnTo>
                    <a:pt x="700" y="43"/>
                  </a:lnTo>
                  <a:lnTo>
                    <a:pt x="697" y="43"/>
                  </a:lnTo>
                  <a:lnTo>
                    <a:pt x="697" y="43"/>
                  </a:lnTo>
                  <a:lnTo>
                    <a:pt x="696" y="43"/>
                  </a:lnTo>
                  <a:lnTo>
                    <a:pt x="696" y="43"/>
                  </a:lnTo>
                  <a:lnTo>
                    <a:pt x="696" y="40"/>
                  </a:lnTo>
                  <a:lnTo>
                    <a:pt x="696" y="37"/>
                  </a:lnTo>
                  <a:lnTo>
                    <a:pt x="696" y="37"/>
                  </a:lnTo>
                  <a:lnTo>
                    <a:pt x="697" y="33"/>
                  </a:lnTo>
                  <a:lnTo>
                    <a:pt x="696" y="30"/>
                  </a:lnTo>
                  <a:lnTo>
                    <a:pt x="696" y="30"/>
                  </a:lnTo>
                  <a:lnTo>
                    <a:pt x="694" y="28"/>
                  </a:lnTo>
                  <a:lnTo>
                    <a:pt x="693" y="28"/>
                  </a:lnTo>
                  <a:lnTo>
                    <a:pt x="693" y="28"/>
                  </a:lnTo>
                  <a:lnTo>
                    <a:pt x="688" y="31"/>
                  </a:lnTo>
                  <a:lnTo>
                    <a:pt x="686" y="34"/>
                  </a:lnTo>
                  <a:lnTo>
                    <a:pt x="686" y="34"/>
                  </a:lnTo>
                  <a:lnTo>
                    <a:pt x="684" y="37"/>
                  </a:lnTo>
                  <a:lnTo>
                    <a:pt x="684" y="37"/>
                  </a:lnTo>
                  <a:lnTo>
                    <a:pt x="680" y="37"/>
                  </a:lnTo>
                  <a:lnTo>
                    <a:pt x="678" y="38"/>
                  </a:lnTo>
                  <a:lnTo>
                    <a:pt x="678" y="38"/>
                  </a:lnTo>
                  <a:lnTo>
                    <a:pt x="678" y="41"/>
                  </a:lnTo>
                  <a:lnTo>
                    <a:pt x="680" y="44"/>
                  </a:lnTo>
                  <a:lnTo>
                    <a:pt x="680" y="44"/>
                  </a:lnTo>
                  <a:lnTo>
                    <a:pt x="683" y="50"/>
                  </a:lnTo>
                  <a:lnTo>
                    <a:pt x="683" y="50"/>
                  </a:lnTo>
                  <a:lnTo>
                    <a:pt x="681" y="50"/>
                  </a:lnTo>
                  <a:lnTo>
                    <a:pt x="681" y="50"/>
                  </a:lnTo>
                  <a:lnTo>
                    <a:pt x="680" y="47"/>
                  </a:lnTo>
                  <a:lnTo>
                    <a:pt x="680" y="47"/>
                  </a:lnTo>
                  <a:lnTo>
                    <a:pt x="678" y="46"/>
                  </a:lnTo>
                  <a:lnTo>
                    <a:pt x="676" y="43"/>
                  </a:lnTo>
                  <a:lnTo>
                    <a:pt x="676" y="43"/>
                  </a:lnTo>
                  <a:lnTo>
                    <a:pt x="677" y="36"/>
                  </a:lnTo>
                  <a:lnTo>
                    <a:pt x="677" y="36"/>
                  </a:lnTo>
                  <a:lnTo>
                    <a:pt x="678" y="31"/>
                  </a:lnTo>
                  <a:lnTo>
                    <a:pt x="678" y="30"/>
                  </a:lnTo>
                  <a:lnTo>
                    <a:pt x="678" y="30"/>
                  </a:lnTo>
                  <a:lnTo>
                    <a:pt x="678" y="27"/>
                  </a:lnTo>
                  <a:lnTo>
                    <a:pt x="677" y="28"/>
                  </a:lnTo>
                  <a:lnTo>
                    <a:pt x="676" y="28"/>
                  </a:lnTo>
                  <a:lnTo>
                    <a:pt x="676" y="28"/>
                  </a:lnTo>
                  <a:lnTo>
                    <a:pt x="674" y="30"/>
                  </a:lnTo>
                  <a:lnTo>
                    <a:pt x="670" y="34"/>
                  </a:lnTo>
                  <a:lnTo>
                    <a:pt x="670" y="34"/>
                  </a:lnTo>
                  <a:lnTo>
                    <a:pt x="666" y="38"/>
                  </a:lnTo>
                  <a:lnTo>
                    <a:pt x="666" y="38"/>
                  </a:lnTo>
                  <a:lnTo>
                    <a:pt x="660" y="43"/>
                  </a:lnTo>
                  <a:lnTo>
                    <a:pt x="660" y="43"/>
                  </a:lnTo>
                  <a:lnTo>
                    <a:pt x="657" y="43"/>
                  </a:lnTo>
                  <a:lnTo>
                    <a:pt x="657" y="43"/>
                  </a:lnTo>
                  <a:lnTo>
                    <a:pt x="656" y="43"/>
                  </a:lnTo>
                  <a:lnTo>
                    <a:pt x="656" y="43"/>
                  </a:lnTo>
                  <a:lnTo>
                    <a:pt x="653" y="43"/>
                  </a:lnTo>
                  <a:lnTo>
                    <a:pt x="650" y="38"/>
                  </a:lnTo>
                  <a:lnTo>
                    <a:pt x="650" y="38"/>
                  </a:lnTo>
                  <a:lnTo>
                    <a:pt x="647" y="36"/>
                  </a:lnTo>
                  <a:lnTo>
                    <a:pt x="643" y="34"/>
                  </a:lnTo>
                  <a:lnTo>
                    <a:pt x="643" y="34"/>
                  </a:lnTo>
                  <a:lnTo>
                    <a:pt x="638" y="36"/>
                  </a:lnTo>
                  <a:lnTo>
                    <a:pt x="638" y="36"/>
                  </a:lnTo>
                  <a:lnTo>
                    <a:pt x="633" y="36"/>
                  </a:lnTo>
                  <a:lnTo>
                    <a:pt x="633" y="36"/>
                  </a:lnTo>
                  <a:lnTo>
                    <a:pt x="633" y="36"/>
                  </a:lnTo>
                  <a:lnTo>
                    <a:pt x="628" y="34"/>
                  </a:lnTo>
                  <a:lnTo>
                    <a:pt x="627" y="31"/>
                  </a:lnTo>
                  <a:lnTo>
                    <a:pt x="627" y="31"/>
                  </a:lnTo>
                  <a:lnTo>
                    <a:pt x="624" y="28"/>
                  </a:lnTo>
                  <a:lnTo>
                    <a:pt x="620" y="28"/>
                  </a:lnTo>
                  <a:lnTo>
                    <a:pt x="620" y="28"/>
                  </a:lnTo>
                  <a:lnTo>
                    <a:pt x="617" y="28"/>
                  </a:lnTo>
                  <a:lnTo>
                    <a:pt x="617" y="28"/>
                  </a:lnTo>
                  <a:lnTo>
                    <a:pt x="614" y="30"/>
                  </a:lnTo>
                  <a:lnTo>
                    <a:pt x="611" y="30"/>
                  </a:lnTo>
                  <a:lnTo>
                    <a:pt x="608" y="28"/>
                  </a:lnTo>
                  <a:lnTo>
                    <a:pt x="605" y="26"/>
                  </a:lnTo>
                  <a:lnTo>
                    <a:pt x="605" y="26"/>
                  </a:lnTo>
                  <a:lnTo>
                    <a:pt x="601" y="21"/>
                  </a:lnTo>
                  <a:lnTo>
                    <a:pt x="594" y="20"/>
                  </a:lnTo>
                  <a:lnTo>
                    <a:pt x="594" y="20"/>
                  </a:lnTo>
                  <a:lnTo>
                    <a:pt x="590" y="21"/>
                  </a:lnTo>
                  <a:lnTo>
                    <a:pt x="588" y="23"/>
                  </a:lnTo>
                  <a:lnTo>
                    <a:pt x="587" y="26"/>
                  </a:lnTo>
                  <a:lnTo>
                    <a:pt x="587" y="26"/>
                  </a:lnTo>
                  <a:lnTo>
                    <a:pt x="587" y="28"/>
                  </a:lnTo>
                  <a:lnTo>
                    <a:pt x="587" y="33"/>
                  </a:lnTo>
                  <a:lnTo>
                    <a:pt x="587" y="33"/>
                  </a:lnTo>
                  <a:lnTo>
                    <a:pt x="587" y="37"/>
                  </a:lnTo>
                  <a:lnTo>
                    <a:pt x="587" y="38"/>
                  </a:lnTo>
                  <a:lnTo>
                    <a:pt x="587" y="38"/>
                  </a:lnTo>
                  <a:lnTo>
                    <a:pt x="584" y="40"/>
                  </a:lnTo>
                  <a:lnTo>
                    <a:pt x="580" y="41"/>
                  </a:lnTo>
                  <a:lnTo>
                    <a:pt x="580" y="41"/>
                  </a:lnTo>
                  <a:lnTo>
                    <a:pt x="577" y="43"/>
                  </a:lnTo>
                  <a:lnTo>
                    <a:pt x="574" y="46"/>
                  </a:lnTo>
                  <a:lnTo>
                    <a:pt x="574" y="46"/>
                  </a:lnTo>
                  <a:lnTo>
                    <a:pt x="573" y="47"/>
                  </a:lnTo>
                  <a:lnTo>
                    <a:pt x="571" y="47"/>
                  </a:lnTo>
                  <a:lnTo>
                    <a:pt x="571" y="47"/>
                  </a:lnTo>
                  <a:lnTo>
                    <a:pt x="567" y="46"/>
                  </a:lnTo>
                  <a:lnTo>
                    <a:pt x="561" y="44"/>
                  </a:lnTo>
                  <a:lnTo>
                    <a:pt x="560" y="43"/>
                  </a:lnTo>
                  <a:lnTo>
                    <a:pt x="560" y="43"/>
                  </a:lnTo>
                  <a:lnTo>
                    <a:pt x="554" y="40"/>
                  </a:lnTo>
                  <a:lnTo>
                    <a:pt x="551" y="40"/>
                  </a:lnTo>
                  <a:lnTo>
                    <a:pt x="551" y="40"/>
                  </a:lnTo>
                  <a:lnTo>
                    <a:pt x="548" y="40"/>
                  </a:lnTo>
                  <a:lnTo>
                    <a:pt x="547" y="41"/>
                  </a:lnTo>
                  <a:lnTo>
                    <a:pt x="545" y="46"/>
                  </a:lnTo>
                  <a:lnTo>
                    <a:pt x="545" y="46"/>
                  </a:lnTo>
                  <a:lnTo>
                    <a:pt x="545" y="48"/>
                  </a:lnTo>
                  <a:lnTo>
                    <a:pt x="545" y="48"/>
                  </a:lnTo>
                  <a:lnTo>
                    <a:pt x="543" y="51"/>
                  </a:lnTo>
                  <a:lnTo>
                    <a:pt x="541" y="53"/>
                  </a:lnTo>
                  <a:lnTo>
                    <a:pt x="541" y="53"/>
                  </a:lnTo>
                  <a:lnTo>
                    <a:pt x="538" y="54"/>
                  </a:lnTo>
                  <a:lnTo>
                    <a:pt x="535" y="57"/>
                  </a:lnTo>
                  <a:lnTo>
                    <a:pt x="535" y="57"/>
                  </a:lnTo>
                  <a:lnTo>
                    <a:pt x="534" y="57"/>
                  </a:lnTo>
                  <a:lnTo>
                    <a:pt x="533" y="57"/>
                  </a:lnTo>
                  <a:lnTo>
                    <a:pt x="533" y="57"/>
                  </a:lnTo>
                  <a:lnTo>
                    <a:pt x="531" y="57"/>
                  </a:lnTo>
                  <a:lnTo>
                    <a:pt x="531" y="57"/>
                  </a:lnTo>
                  <a:lnTo>
                    <a:pt x="527" y="58"/>
                  </a:lnTo>
                  <a:lnTo>
                    <a:pt x="525" y="63"/>
                  </a:lnTo>
                  <a:lnTo>
                    <a:pt x="525" y="63"/>
                  </a:lnTo>
                  <a:lnTo>
                    <a:pt x="525" y="64"/>
                  </a:lnTo>
                  <a:lnTo>
                    <a:pt x="524" y="64"/>
                  </a:lnTo>
                  <a:lnTo>
                    <a:pt x="524" y="64"/>
                  </a:lnTo>
                  <a:lnTo>
                    <a:pt x="524" y="64"/>
                  </a:lnTo>
                  <a:lnTo>
                    <a:pt x="521" y="64"/>
                  </a:lnTo>
                  <a:lnTo>
                    <a:pt x="520" y="66"/>
                  </a:lnTo>
                  <a:lnTo>
                    <a:pt x="520" y="66"/>
                  </a:lnTo>
                  <a:lnTo>
                    <a:pt x="518" y="70"/>
                  </a:lnTo>
                  <a:lnTo>
                    <a:pt x="520" y="76"/>
                  </a:lnTo>
                  <a:lnTo>
                    <a:pt x="520" y="76"/>
                  </a:lnTo>
                  <a:lnTo>
                    <a:pt x="521" y="80"/>
                  </a:lnTo>
                  <a:lnTo>
                    <a:pt x="521" y="80"/>
                  </a:lnTo>
                  <a:lnTo>
                    <a:pt x="521" y="80"/>
                  </a:lnTo>
                  <a:lnTo>
                    <a:pt x="521" y="80"/>
                  </a:lnTo>
                  <a:lnTo>
                    <a:pt x="518" y="78"/>
                  </a:lnTo>
                  <a:lnTo>
                    <a:pt x="515" y="80"/>
                  </a:lnTo>
                  <a:lnTo>
                    <a:pt x="515" y="80"/>
                  </a:lnTo>
                  <a:lnTo>
                    <a:pt x="515" y="80"/>
                  </a:lnTo>
                  <a:lnTo>
                    <a:pt x="515" y="80"/>
                  </a:lnTo>
                  <a:lnTo>
                    <a:pt x="513" y="81"/>
                  </a:lnTo>
                  <a:lnTo>
                    <a:pt x="510" y="83"/>
                  </a:lnTo>
                  <a:lnTo>
                    <a:pt x="508" y="87"/>
                  </a:lnTo>
                  <a:lnTo>
                    <a:pt x="508" y="93"/>
                  </a:lnTo>
                  <a:lnTo>
                    <a:pt x="508" y="93"/>
                  </a:lnTo>
                  <a:lnTo>
                    <a:pt x="507" y="96"/>
                  </a:lnTo>
                  <a:lnTo>
                    <a:pt x="505" y="97"/>
                  </a:lnTo>
                  <a:lnTo>
                    <a:pt x="501" y="101"/>
                  </a:lnTo>
                  <a:lnTo>
                    <a:pt x="501" y="101"/>
                  </a:lnTo>
                  <a:lnTo>
                    <a:pt x="497" y="106"/>
                  </a:lnTo>
                  <a:lnTo>
                    <a:pt x="497" y="107"/>
                  </a:lnTo>
                  <a:lnTo>
                    <a:pt x="497" y="109"/>
                  </a:lnTo>
                  <a:lnTo>
                    <a:pt x="497" y="109"/>
                  </a:lnTo>
                  <a:lnTo>
                    <a:pt x="498" y="111"/>
                  </a:lnTo>
                  <a:lnTo>
                    <a:pt x="504" y="114"/>
                  </a:lnTo>
                  <a:lnTo>
                    <a:pt x="505" y="114"/>
                  </a:lnTo>
                  <a:lnTo>
                    <a:pt x="505" y="114"/>
                  </a:lnTo>
                  <a:lnTo>
                    <a:pt x="507" y="114"/>
                  </a:lnTo>
                  <a:lnTo>
                    <a:pt x="508" y="116"/>
                  </a:lnTo>
                  <a:lnTo>
                    <a:pt x="508" y="116"/>
                  </a:lnTo>
                  <a:lnTo>
                    <a:pt x="508" y="117"/>
                  </a:lnTo>
                  <a:lnTo>
                    <a:pt x="508" y="121"/>
                  </a:lnTo>
                  <a:lnTo>
                    <a:pt x="508" y="121"/>
                  </a:lnTo>
                  <a:lnTo>
                    <a:pt x="507" y="123"/>
                  </a:lnTo>
                  <a:lnTo>
                    <a:pt x="504" y="126"/>
                  </a:lnTo>
                  <a:lnTo>
                    <a:pt x="504" y="126"/>
                  </a:lnTo>
                  <a:lnTo>
                    <a:pt x="503" y="126"/>
                  </a:lnTo>
                  <a:lnTo>
                    <a:pt x="503" y="127"/>
                  </a:lnTo>
                  <a:lnTo>
                    <a:pt x="503" y="133"/>
                  </a:lnTo>
                  <a:lnTo>
                    <a:pt x="503" y="133"/>
                  </a:lnTo>
                  <a:lnTo>
                    <a:pt x="503" y="133"/>
                  </a:lnTo>
                  <a:lnTo>
                    <a:pt x="503" y="133"/>
                  </a:lnTo>
                  <a:lnTo>
                    <a:pt x="500" y="130"/>
                  </a:lnTo>
                  <a:lnTo>
                    <a:pt x="500" y="130"/>
                  </a:lnTo>
                  <a:lnTo>
                    <a:pt x="498" y="127"/>
                  </a:lnTo>
                  <a:lnTo>
                    <a:pt x="495" y="126"/>
                  </a:lnTo>
                  <a:lnTo>
                    <a:pt x="495" y="126"/>
                  </a:lnTo>
                  <a:lnTo>
                    <a:pt x="493" y="127"/>
                  </a:lnTo>
                  <a:lnTo>
                    <a:pt x="491" y="129"/>
                  </a:lnTo>
                  <a:lnTo>
                    <a:pt x="491" y="129"/>
                  </a:lnTo>
                  <a:lnTo>
                    <a:pt x="488" y="124"/>
                  </a:lnTo>
                  <a:lnTo>
                    <a:pt x="488" y="124"/>
                  </a:lnTo>
                  <a:lnTo>
                    <a:pt x="484" y="121"/>
                  </a:lnTo>
                  <a:lnTo>
                    <a:pt x="478" y="120"/>
                  </a:lnTo>
                  <a:lnTo>
                    <a:pt x="478" y="120"/>
                  </a:lnTo>
                  <a:lnTo>
                    <a:pt x="475" y="120"/>
                  </a:lnTo>
                  <a:lnTo>
                    <a:pt x="473" y="121"/>
                  </a:lnTo>
                  <a:lnTo>
                    <a:pt x="471" y="124"/>
                  </a:lnTo>
                  <a:lnTo>
                    <a:pt x="470" y="127"/>
                  </a:lnTo>
                  <a:lnTo>
                    <a:pt x="468" y="129"/>
                  </a:lnTo>
                  <a:lnTo>
                    <a:pt x="468" y="129"/>
                  </a:lnTo>
                  <a:lnTo>
                    <a:pt x="465" y="136"/>
                  </a:lnTo>
                  <a:lnTo>
                    <a:pt x="463" y="139"/>
                  </a:lnTo>
                  <a:lnTo>
                    <a:pt x="458" y="139"/>
                  </a:lnTo>
                  <a:lnTo>
                    <a:pt x="458" y="139"/>
                  </a:lnTo>
                  <a:lnTo>
                    <a:pt x="458" y="139"/>
                  </a:lnTo>
                  <a:lnTo>
                    <a:pt x="458" y="139"/>
                  </a:lnTo>
                  <a:lnTo>
                    <a:pt x="458" y="137"/>
                  </a:lnTo>
                  <a:lnTo>
                    <a:pt x="460" y="133"/>
                  </a:lnTo>
                  <a:lnTo>
                    <a:pt x="463" y="127"/>
                  </a:lnTo>
                  <a:lnTo>
                    <a:pt x="463" y="127"/>
                  </a:lnTo>
                  <a:lnTo>
                    <a:pt x="464" y="123"/>
                  </a:lnTo>
                  <a:lnTo>
                    <a:pt x="464" y="123"/>
                  </a:lnTo>
                  <a:lnTo>
                    <a:pt x="465" y="119"/>
                  </a:lnTo>
                  <a:lnTo>
                    <a:pt x="465" y="116"/>
                  </a:lnTo>
                  <a:lnTo>
                    <a:pt x="461" y="111"/>
                  </a:lnTo>
                  <a:lnTo>
                    <a:pt x="461" y="111"/>
                  </a:lnTo>
                  <a:lnTo>
                    <a:pt x="458" y="109"/>
                  </a:lnTo>
                  <a:lnTo>
                    <a:pt x="458" y="109"/>
                  </a:lnTo>
                  <a:lnTo>
                    <a:pt x="457" y="106"/>
                  </a:lnTo>
                  <a:lnTo>
                    <a:pt x="457" y="106"/>
                  </a:lnTo>
                  <a:lnTo>
                    <a:pt x="448" y="97"/>
                  </a:lnTo>
                  <a:lnTo>
                    <a:pt x="444" y="93"/>
                  </a:lnTo>
                  <a:lnTo>
                    <a:pt x="437" y="91"/>
                  </a:lnTo>
                  <a:lnTo>
                    <a:pt x="437" y="91"/>
                  </a:lnTo>
                  <a:lnTo>
                    <a:pt x="435" y="91"/>
                  </a:lnTo>
                  <a:lnTo>
                    <a:pt x="435" y="91"/>
                  </a:lnTo>
                  <a:lnTo>
                    <a:pt x="433" y="93"/>
                  </a:lnTo>
                  <a:lnTo>
                    <a:pt x="430" y="94"/>
                  </a:lnTo>
                  <a:lnTo>
                    <a:pt x="430" y="96"/>
                  </a:lnTo>
                  <a:lnTo>
                    <a:pt x="428" y="97"/>
                  </a:lnTo>
                  <a:lnTo>
                    <a:pt x="428" y="97"/>
                  </a:lnTo>
                  <a:lnTo>
                    <a:pt x="428" y="100"/>
                  </a:lnTo>
                  <a:lnTo>
                    <a:pt x="425" y="101"/>
                  </a:lnTo>
                  <a:lnTo>
                    <a:pt x="425" y="101"/>
                  </a:lnTo>
                  <a:lnTo>
                    <a:pt x="421" y="101"/>
                  </a:lnTo>
                  <a:lnTo>
                    <a:pt x="420" y="101"/>
                  </a:lnTo>
                  <a:lnTo>
                    <a:pt x="420" y="101"/>
                  </a:lnTo>
                  <a:lnTo>
                    <a:pt x="417" y="103"/>
                  </a:lnTo>
                  <a:lnTo>
                    <a:pt x="414" y="103"/>
                  </a:lnTo>
                  <a:lnTo>
                    <a:pt x="411" y="106"/>
                  </a:lnTo>
                  <a:lnTo>
                    <a:pt x="408" y="111"/>
                  </a:lnTo>
                  <a:lnTo>
                    <a:pt x="408" y="111"/>
                  </a:lnTo>
                  <a:lnTo>
                    <a:pt x="407" y="114"/>
                  </a:lnTo>
                  <a:lnTo>
                    <a:pt x="407" y="114"/>
                  </a:lnTo>
                  <a:lnTo>
                    <a:pt x="407" y="114"/>
                  </a:lnTo>
                  <a:lnTo>
                    <a:pt x="407" y="114"/>
                  </a:lnTo>
                  <a:lnTo>
                    <a:pt x="404" y="113"/>
                  </a:lnTo>
                  <a:lnTo>
                    <a:pt x="400" y="111"/>
                  </a:lnTo>
                  <a:lnTo>
                    <a:pt x="400" y="111"/>
                  </a:lnTo>
                  <a:lnTo>
                    <a:pt x="393" y="113"/>
                  </a:lnTo>
                  <a:lnTo>
                    <a:pt x="393" y="113"/>
                  </a:lnTo>
                  <a:lnTo>
                    <a:pt x="387" y="116"/>
                  </a:lnTo>
                  <a:lnTo>
                    <a:pt x="385" y="119"/>
                  </a:lnTo>
                  <a:lnTo>
                    <a:pt x="385" y="119"/>
                  </a:lnTo>
                  <a:lnTo>
                    <a:pt x="387" y="121"/>
                  </a:lnTo>
                  <a:lnTo>
                    <a:pt x="390" y="123"/>
                  </a:lnTo>
                  <a:lnTo>
                    <a:pt x="390" y="123"/>
                  </a:lnTo>
                  <a:lnTo>
                    <a:pt x="393" y="124"/>
                  </a:lnTo>
                  <a:lnTo>
                    <a:pt x="393" y="124"/>
                  </a:lnTo>
                  <a:lnTo>
                    <a:pt x="393" y="127"/>
                  </a:lnTo>
                  <a:lnTo>
                    <a:pt x="393" y="129"/>
                  </a:lnTo>
                  <a:lnTo>
                    <a:pt x="393" y="129"/>
                  </a:lnTo>
                  <a:lnTo>
                    <a:pt x="391" y="129"/>
                  </a:lnTo>
                  <a:lnTo>
                    <a:pt x="391" y="129"/>
                  </a:lnTo>
                  <a:lnTo>
                    <a:pt x="388" y="129"/>
                  </a:lnTo>
                  <a:lnTo>
                    <a:pt x="388" y="129"/>
                  </a:lnTo>
                  <a:lnTo>
                    <a:pt x="384" y="129"/>
                  </a:lnTo>
                  <a:lnTo>
                    <a:pt x="383" y="131"/>
                  </a:lnTo>
                  <a:lnTo>
                    <a:pt x="383" y="131"/>
                  </a:lnTo>
                  <a:lnTo>
                    <a:pt x="381" y="134"/>
                  </a:lnTo>
                  <a:lnTo>
                    <a:pt x="384" y="140"/>
                  </a:lnTo>
                  <a:lnTo>
                    <a:pt x="384" y="140"/>
                  </a:lnTo>
                  <a:lnTo>
                    <a:pt x="383" y="139"/>
                  </a:lnTo>
                  <a:lnTo>
                    <a:pt x="383" y="139"/>
                  </a:lnTo>
                  <a:lnTo>
                    <a:pt x="377" y="134"/>
                  </a:lnTo>
                  <a:lnTo>
                    <a:pt x="374" y="133"/>
                  </a:lnTo>
                  <a:lnTo>
                    <a:pt x="374" y="133"/>
                  </a:lnTo>
                  <a:lnTo>
                    <a:pt x="371" y="134"/>
                  </a:lnTo>
                  <a:lnTo>
                    <a:pt x="370" y="136"/>
                  </a:lnTo>
                  <a:lnTo>
                    <a:pt x="370" y="136"/>
                  </a:lnTo>
                  <a:lnTo>
                    <a:pt x="368" y="139"/>
                  </a:lnTo>
                  <a:lnTo>
                    <a:pt x="368" y="139"/>
                  </a:lnTo>
                  <a:lnTo>
                    <a:pt x="364" y="143"/>
                  </a:lnTo>
                  <a:lnTo>
                    <a:pt x="363" y="144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4" y="150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8" y="153"/>
                  </a:lnTo>
                  <a:lnTo>
                    <a:pt x="368" y="153"/>
                  </a:lnTo>
                  <a:lnTo>
                    <a:pt x="365" y="156"/>
                  </a:lnTo>
                  <a:lnTo>
                    <a:pt x="365" y="159"/>
                  </a:lnTo>
                  <a:lnTo>
                    <a:pt x="365" y="160"/>
                  </a:lnTo>
                  <a:lnTo>
                    <a:pt x="365" y="160"/>
                  </a:lnTo>
                  <a:lnTo>
                    <a:pt x="368" y="164"/>
                  </a:lnTo>
                  <a:lnTo>
                    <a:pt x="370" y="166"/>
                  </a:lnTo>
                  <a:lnTo>
                    <a:pt x="370" y="166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68" y="169"/>
                  </a:lnTo>
                  <a:lnTo>
                    <a:pt x="367" y="169"/>
                  </a:lnTo>
                  <a:lnTo>
                    <a:pt x="367" y="169"/>
                  </a:lnTo>
                  <a:lnTo>
                    <a:pt x="361" y="169"/>
                  </a:lnTo>
                  <a:lnTo>
                    <a:pt x="358" y="167"/>
                  </a:lnTo>
                  <a:lnTo>
                    <a:pt x="358" y="167"/>
                  </a:lnTo>
                  <a:lnTo>
                    <a:pt x="353" y="164"/>
                  </a:lnTo>
                  <a:lnTo>
                    <a:pt x="347" y="163"/>
                  </a:lnTo>
                  <a:lnTo>
                    <a:pt x="347" y="163"/>
                  </a:lnTo>
                  <a:lnTo>
                    <a:pt x="344" y="164"/>
                  </a:lnTo>
                  <a:lnTo>
                    <a:pt x="343" y="164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38" y="173"/>
                  </a:lnTo>
                  <a:lnTo>
                    <a:pt x="340" y="177"/>
                  </a:lnTo>
                  <a:lnTo>
                    <a:pt x="341" y="180"/>
                  </a:lnTo>
                  <a:lnTo>
                    <a:pt x="347" y="183"/>
                  </a:lnTo>
                  <a:lnTo>
                    <a:pt x="347" y="183"/>
                  </a:lnTo>
                  <a:lnTo>
                    <a:pt x="348" y="183"/>
                  </a:lnTo>
                  <a:lnTo>
                    <a:pt x="348" y="183"/>
                  </a:lnTo>
                  <a:lnTo>
                    <a:pt x="344" y="187"/>
                  </a:lnTo>
                  <a:lnTo>
                    <a:pt x="344" y="187"/>
                  </a:lnTo>
                  <a:lnTo>
                    <a:pt x="340" y="190"/>
                  </a:lnTo>
                  <a:lnTo>
                    <a:pt x="340" y="190"/>
                  </a:lnTo>
                  <a:lnTo>
                    <a:pt x="337" y="193"/>
                  </a:lnTo>
                  <a:lnTo>
                    <a:pt x="335" y="199"/>
                  </a:lnTo>
                  <a:lnTo>
                    <a:pt x="335" y="199"/>
                  </a:lnTo>
                  <a:lnTo>
                    <a:pt x="334" y="201"/>
                  </a:lnTo>
                  <a:lnTo>
                    <a:pt x="334" y="201"/>
                  </a:lnTo>
                  <a:lnTo>
                    <a:pt x="334" y="199"/>
                  </a:lnTo>
                  <a:lnTo>
                    <a:pt x="334" y="199"/>
                  </a:lnTo>
                  <a:lnTo>
                    <a:pt x="333" y="191"/>
                  </a:lnTo>
                  <a:lnTo>
                    <a:pt x="330" y="187"/>
                  </a:lnTo>
                  <a:lnTo>
                    <a:pt x="330" y="187"/>
                  </a:lnTo>
                  <a:lnTo>
                    <a:pt x="328" y="181"/>
                  </a:lnTo>
                  <a:lnTo>
                    <a:pt x="328" y="181"/>
                  </a:lnTo>
                  <a:lnTo>
                    <a:pt x="328" y="177"/>
                  </a:lnTo>
                  <a:lnTo>
                    <a:pt x="327" y="174"/>
                  </a:lnTo>
                  <a:lnTo>
                    <a:pt x="325" y="171"/>
                  </a:lnTo>
                  <a:lnTo>
                    <a:pt x="323" y="170"/>
                  </a:lnTo>
                  <a:lnTo>
                    <a:pt x="323" y="170"/>
                  </a:lnTo>
                  <a:lnTo>
                    <a:pt x="321" y="170"/>
                  </a:lnTo>
                  <a:lnTo>
                    <a:pt x="318" y="171"/>
                  </a:lnTo>
                  <a:lnTo>
                    <a:pt x="315" y="174"/>
                  </a:lnTo>
                  <a:lnTo>
                    <a:pt x="311" y="181"/>
                  </a:lnTo>
                  <a:lnTo>
                    <a:pt x="311" y="181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3" y="189"/>
                  </a:lnTo>
                  <a:lnTo>
                    <a:pt x="300" y="191"/>
                  </a:lnTo>
                  <a:lnTo>
                    <a:pt x="300" y="194"/>
                  </a:lnTo>
                  <a:lnTo>
                    <a:pt x="300" y="194"/>
                  </a:lnTo>
                  <a:lnTo>
                    <a:pt x="300" y="211"/>
                  </a:lnTo>
                  <a:lnTo>
                    <a:pt x="300" y="211"/>
                  </a:lnTo>
                  <a:lnTo>
                    <a:pt x="300" y="216"/>
                  </a:lnTo>
                  <a:lnTo>
                    <a:pt x="300" y="219"/>
                  </a:lnTo>
                  <a:lnTo>
                    <a:pt x="298" y="220"/>
                  </a:lnTo>
                  <a:lnTo>
                    <a:pt x="294" y="221"/>
                  </a:lnTo>
                  <a:lnTo>
                    <a:pt x="294" y="221"/>
                  </a:lnTo>
                  <a:lnTo>
                    <a:pt x="288" y="227"/>
                  </a:lnTo>
                  <a:lnTo>
                    <a:pt x="281" y="234"/>
                  </a:lnTo>
                  <a:lnTo>
                    <a:pt x="275" y="244"/>
                  </a:lnTo>
                  <a:lnTo>
                    <a:pt x="271" y="252"/>
                  </a:lnTo>
                  <a:lnTo>
                    <a:pt x="271" y="252"/>
                  </a:lnTo>
                  <a:lnTo>
                    <a:pt x="268" y="256"/>
                  </a:lnTo>
                  <a:lnTo>
                    <a:pt x="264" y="259"/>
                  </a:lnTo>
                  <a:lnTo>
                    <a:pt x="250" y="264"/>
                  </a:lnTo>
                  <a:lnTo>
                    <a:pt x="250" y="264"/>
                  </a:lnTo>
                  <a:lnTo>
                    <a:pt x="250" y="264"/>
                  </a:lnTo>
                  <a:lnTo>
                    <a:pt x="242" y="267"/>
                  </a:lnTo>
                  <a:lnTo>
                    <a:pt x="242" y="267"/>
                  </a:lnTo>
                  <a:lnTo>
                    <a:pt x="231" y="270"/>
                  </a:lnTo>
                  <a:lnTo>
                    <a:pt x="221" y="270"/>
                  </a:lnTo>
                  <a:lnTo>
                    <a:pt x="221" y="270"/>
                  </a:lnTo>
                  <a:lnTo>
                    <a:pt x="214" y="272"/>
                  </a:lnTo>
                  <a:lnTo>
                    <a:pt x="207" y="273"/>
                  </a:lnTo>
                  <a:lnTo>
                    <a:pt x="207" y="273"/>
                  </a:lnTo>
                  <a:lnTo>
                    <a:pt x="204" y="274"/>
                  </a:lnTo>
                  <a:lnTo>
                    <a:pt x="201" y="276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198" y="280"/>
                  </a:lnTo>
                  <a:lnTo>
                    <a:pt x="195" y="282"/>
                  </a:lnTo>
                  <a:lnTo>
                    <a:pt x="195" y="282"/>
                  </a:lnTo>
                  <a:lnTo>
                    <a:pt x="190" y="282"/>
                  </a:lnTo>
                  <a:lnTo>
                    <a:pt x="190" y="282"/>
                  </a:lnTo>
                  <a:lnTo>
                    <a:pt x="187" y="282"/>
                  </a:lnTo>
                  <a:lnTo>
                    <a:pt x="187" y="282"/>
                  </a:lnTo>
                  <a:lnTo>
                    <a:pt x="181" y="283"/>
                  </a:lnTo>
                  <a:lnTo>
                    <a:pt x="177" y="284"/>
                  </a:lnTo>
                  <a:lnTo>
                    <a:pt x="177" y="284"/>
                  </a:lnTo>
                  <a:lnTo>
                    <a:pt x="174" y="287"/>
                  </a:lnTo>
                  <a:lnTo>
                    <a:pt x="171" y="290"/>
                  </a:lnTo>
                  <a:lnTo>
                    <a:pt x="171" y="290"/>
                  </a:lnTo>
                  <a:lnTo>
                    <a:pt x="170" y="292"/>
                  </a:lnTo>
                  <a:lnTo>
                    <a:pt x="167" y="293"/>
                  </a:lnTo>
                  <a:lnTo>
                    <a:pt x="167" y="293"/>
                  </a:lnTo>
                  <a:lnTo>
                    <a:pt x="161" y="292"/>
                  </a:lnTo>
                  <a:lnTo>
                    <a:pt x="161" y="292"/>
                  </a:lnTo>
                  <a:lnTo>
                    <a:pt x="152" y="290"/>
                  </a:lnTo>
                  <a:lnTo>
                    <a:pt x="147" y="290"/>
                  </a:lnTo>
                  <a:lnTo>
                    <a:pt x="142" y="292"/>
                  </a:lnTo>
                  <a:lnTo>
                    <a:pt x="138" y="293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0" y="299"/>
                  </a:lnTo>
                  <a:lnTo>
                    <a:pt x="121" y="306"/>
                  </a:lnTo>
                  <a:lnTo>
                    <a:pt x="121" y="306"/>
                  </a:lnTo>
                  <a:lnTo>
                    <a:pt x="111" y="314"/>
                  </a:lnTo>
                  <a:lnTo>
                    <a:pt x="107" y="317"/>
                  </a:lnTo>
                  <a:lnTo>
                    <a:pt x="102" y="319"/>
                  </a:lnTo>
                  <a:lnTo>
                    <a:pt x="102" y="319"/>
                  </a:lnTo>
                  <a:lnTo>
                    <a:pt x="97" y="320"/>
                  </a:lnTo>
                  <a:lnTo>
                    <a:pt x="90" y="323"/>
                  </a:lnTo>
                  <a:lnTo>
                    <a:pt x="85" y="326"/>
                  </a:lnTo>
                  <a:lnTo>
                    <a:pt x="81" y="329"/>
                  </a:lnTo>
                  <a:lnTo>
                    <a:pt x="78" y="334"/>
                  </a:lnTo>
                  <a:lnTo>
                    <a:pt x="75" y="340"/>
                  </a:lnTo>
                  <a:lnTo>
                    <a:pt x="75" y="340"/>
                  </a:lnTo>
                  <a:lnTo>
                    <a:pt x="71" y="346"/>
                  </a:lnTo>
                  <a:lnTo>
                    <a:pt x="71" y="346"/>
                  </a:lnTo>
                  <a:lnTo>
                    <a:pt x="71" y="343"/>
                  </a:lnTo>
                  <a:lnTo>
                    <a:pt x="71" y="343"/>
                  </a:lnTo>
                  <a:lnTo>
                    <a:pt x="72" y="336"/>
                  </a:lnTo>
                  <a:lnTo>
                    <a:pt x="72" y="332"/>
                  </a:lnTo>
                  <a:lnTo>
                    <a:pt x="72" y="329"/>
                  </a:lnTo>
                  <a:lnTo>
                    <a:pt x="72" y="327"/>
                  </a:lnTo>
                  <a:lnTo>
                    <a:pt x="72" y="327"/>
                  </a:lnTo>
                  <a:lnTo>
                    <a:pt x="71" y="327"/>
                  </a:lnTo>
                  <a:lnTo>
                    <a:pt x="70" y="326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68" y="329"/>
                  </a:lnTo>
                  <a:lnTo>
                    <a:pt x="67" y="330"/>
                  </a:lnTo>
                  <a:lnTo>
                    <a:pt x="67" y="330"/>
                  </a:lnTo>
                  <a:lnTo>
                    <a:pt x="62" y="337"/>
                  </a:lnTo>
                  <a:lnTo>
                    <a:pt x="62" y="337"/>
                  </a:lnTo>
                  <a:lnTo>
                    <a:pt x="58" y="342"/>
                  </a:lnTo>
                  <a:lnTo>
                    <a:pt x="58" y="342"/>
                  </a:lnTo>
                  <a:lnTo>
                    <a:pt x="55" y="344"/>
                  </a:lnTo>
                  <a:lnTo>
                    <a:pt x="54" y="347"/>
                  </a:lnTo>
                  <a:lnTo>
                    <a:pt x="54" y="347"/>
                  </a:lnTo>
                  <a:lnTo>
                    <a:pt x="55" y="349"/>
                  </a:lnTo>
                  <a:lnTo>
                    <a:pt x="57" y="352"/>
                  </a:lnTo>
                  <a:lnTo>
                    <a:pt x="57" y="352"/>
                  </a:lnTo>
                  <a:lnTo>
                    <a:pt x="58" y="353"/>
                  </a:lnTo>
                  <a:lnTo>
                    <a:pt x="60" y="356"/>
                  </a:lnTo>
                  <a:lnTo>
                    <a:pt x="60" y="359"/>
                  </a:lnTo>
                  <a:lnTo>
                    <a:pt x="58" y="362"/>
                  </a:lnTo>
                  <a:lnTo>
                    <a:pt x="58" y="362"/>
                  </a:lnTo>
                  <a:lnTo>
                    <a:pt x="57" y="364"/>
                  </a:lnTo>
                  <a:lnTo>
                    <a:pt x="57" y="364"/>
                  </a:lnTo>
                  <a:lnTo>
                    <a:pt x="55" y="369"/>
                  </a:lnTo>
                  <a:lnTo>
                    <a:pt x="54" y="374"/>
                  </a:lnTo>
                  <a:lnTo>
                    <a:pt x="54" y="374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4" y="376"/>
                  </a:lnTo>
                  <a:lnTo>
                    <a:pt x="51" y="377"/>
                  </a:lnTo>
                  <a:lnTo>
                    <a:pt x="50" y="379"/>
                  </a:lnTo>
                  <a:lnTo>
                    <a:pt x="50" y="379"/>
                  </a:lnTo>
                  <a:lnTo>
                    <a:pt x="45" y="384"/>
                  </a:lnTo>
                  <a:lnTo>
                    <a:pt x="42" y="392"/>
                  </a:lnTo>
                  <a:lnTo>
                    <a:pt x="41" y="399"/>
                  </a:lnTo>
                  <a:lnTo>
                    <a:pt x="41" y="406"/>
                  </a:lnTo>
                  <a:lnTo>
                    <a:pt x="41" y="406"/>
                  </a:lnTo>
                  <a:lnTo>
                    <a:pt x="42" y="410"/>
                  </a:lnTo>
                  <a:lnTo>
                    <a:pt x="44" y="412"/>
                  </a:lnTo>
                  <a:lnTo>
                    <a:pt x="44" y="412"/>
                  </a:lnTo>
                  <a:lnTo>
                    <a:pt x="45" y="415"/>
                  </a:lnTo>
                  <a:lnTo>
                    <a:pt x="47" y="427"/>
                  </a:lnTo>
                  <a:lnTo>
                    <a:pt x="47" y="427"/>
                  </a:lnTo>
                  <a:lnTo>
                    <a:pt x="48" y="436"/>
                  </a:lnTo>
                  <a:lnTo>
                    <a:pt x="50" y="442"/>
                  </a:lnTo>
                  <a:lnTo>
                    <a:pt x="51" y="445"/>
                  </a:lnTo>
                  <a:lnTo>
                    <a:pt x="52" y="446"/>
                  </a:lnTo>
                  <a:lnTo>
                    <a:pt x="52" y="446"/>
                  </a:lnTo>
                  <a:lnTo>
                    <a:pt x="52" y="447"/>
                  </a:lnTo>
                  <a:lnTo>
                    <a:pt x="52" y="447"/>
                  </a:lnTo>
                  <a:lnTo>
                    <a:pt x="51" y="453"/>
                  </a:lnTo>
                  <a:lnTo>
                    <a:pt x="51" y="453"/>
                  </a:lnTo>
                  <a:lnTo>
                    <a:pt x="50" y="455"/>
                  </a:lnTo>
                  <a:lnTo>
                    <a:pt x="48" y="460"/>
                  </a:lnTo>
                  <a:lnTo>
                    <a:pt x="48" y="460"/>
                  </a:lnTo>
                  <a:lnTo>
                    <a:pt x="48" y="460"/>
                  </a:lnTo>
                  <a:lnTo>
                    <a:pt x="48" y="460"/>
                  </a:lnTo>
                  <a:lnTo>
                    <a:pt x="48" y="460"/>
                  </a:lnTo>
                  <a:lnTo>
                    <a:pt x="48" y="460"/>
                  </a:lnTo>
                  <a:lnTo>
                    <a:pt x="44" y="457"/>
                  </a:lnTo>
                  <a:lnTo>
                    <a:pt x="40" y="459"/>
                  </a:lnTo>
                  <a:lnTo>
                    <a:pt x="40" y="459"/>
                  </a:lnTo>
                  <a:lnTo>
                    <a:pt x="37" y="460"/>
                  </a:lnTo>
                  <a:lnTo>
                    <a:pt x="37" y="463"/>
                  </a:lnTo>
                  <a:lnTo>
                    <a:pt x="37" y="463"/>
                  </a:lnTo>
                  <a:lnTo>
                    <a:pt x="35" y="462"/>
                  </a:lnTo>
                  <a:lnTo>
                    <a:pt x="35" y="462"/>
                  </a:lnTo>
                  <a:lnTo>
                    <a:pt x="34" y="463"/>
                  </a:lnTo>
                  <a:lnTo>
                    <a:pt x="32" y="463"/>
                  </a:lnTo>
                  <a:lnTo>
                    <a:pt x="31" y="466"/>
                  </a:lnTo>
                  <a:lnTo>
                    <a:pt x="31" y="466"/>
                  </a:lnTo>
                  <a:lnTo>
                    <a:pt x="31" y="470"/>
                  </a:lnTo>
                  <a:lnTo>
                    <a:pt x="34" y="473"/>
                  </a:lnTo>
                  <a:lnTo>
                    <a:pt x="34" y="473"/>
                  </a:lnTo>
                  <a:lnTo>
                    <a:pt x="35" y="477"/>
                  </a:lnTo>
                  <a:lnTo>
                    <a:pt x="35" y="480"/>
                  </a:lnTo>
                  <a:lnTo>
                    <a:pt x="35" y="482"/>
                  </a:lnTo>
                  <a:lnTo>
                    <a:pt x="35" y="482"/>
                  </a:lnTo>
                  <a:lnTo>
                    <a:pt x="35" y="482"/>
                  </a:lnTo>
                  <a:lnTo>
                    <a:pt x="38" y="487"/>
                  </a:lnTo>
                  <a:lnTo>
                    <a:pt x="40" y="492"/>
                  </a:lnTo>
                  <a:lnTo>
                    <a:pt x="38" y="493"/>
                  </a:lnTo>
                  <a:lnTo>
                    <a:pt x="38" y="493"/>
                  </a:lnTo>
                  <a:lnTo>
                    <a:pt x="37" y="497"/>
                  </a:lnTo>
                  <a:lnTo>
                    <a:pt x="35" y="505"/>
                  </a:lnTo>
                  <a:lnTo>
                    <a:pt x="35" y="510"/>
                  </a:lnTo>
                  <a:lnTo>
                    <a:pt x="38" y="515"/>
                  </a:lnTo>
                  <a:lnTo>
                    <a:pt x="38" y="515"/>
                  </a:lnTo>
                  <a:lnTo>
                    <a:pt x="41" y="519"/>
                  </a:lnTo>
                  <a:lnTo>
                    <a:pt x="42" y="525"/>
                  </a:lnTo>
                  <a:lnTo>
                    <a:pt x="44" y="530"/>
                  </a:lnTo>
                  <a:lnTo>
                    <a:pt x="44" y="539"/>
                  </a:lnTo>
                  <a:lnTo>
                    <a:pt x="44" y="539"/>
                  </a:lnTo>
                  <a:lnTo>
                    <a:pt x="41" y="553"/>
                  </a:lnTo>
                  <a:lnTo>
                    <a:pt x="41" y="553"/>
                  </a:lnTo>
                  <a:lnTo>
                    <a:pt x="38" y="567"/>
                  </a:lnTo>
                  <a:lnTo>
                    <a:pt x="38" y="576"/>
                  </a:lnTo>
                  <a:lnTo>
                    <a:pt x="38" y="585"/>
                  </a:lnTo>
                  <a:lnTo>
                    <a:pt x="40" y="586"/>
                  </a:lnTo>
                  <a:lnTo>
                    <a:pt x="40" y="586"/>
                  </a:lnTo>
                  <a:lnTo>
                    <a:pt x="42" y="603"/>
                  </a:lnTo>
                  <a:lnTo>
                    <a:pt x="44" y="610"/>
                  </a:lnTo>
                  <a:lnTo>
                    <a:pt x="42" y="616"/>
                  </a:lnTo>
                  <a:lnTo>
                    <a:pt x="42" y="616"/>
                  </a:lnTo>
                  <a:lnTo>
                    <a:pt x="41" y="622"/>
                  </a:lnTo>
                  <a:lnTo>
                    <a:pt x="38" y="629"/>
                  </a:lnTo>
                  <a:lnTo>
                    <a:pt x="38" y="629"/>
                  </a:lnTo>
                  <a:lnTo>
                    <a:pt x="35" y="633"/>
                  </a:lnTo>
                  <a:lnTo>
                    <a:pt x="34" y="639"/>
                  </a:lnTo>
                  <a:lnTo>
                    <a:pt x="34" y="639"/>
                  </a:lnTo>
                  <a:lnTo>
                    <a:pt x="32" y="640"/>
                  </a:lnTo>
                  <a:lnTo>
                    <a:pt x="32" y="640"/>
                  </a:lnTo>
                  <a:lnTo>
                    <a:pt x="31" y="643"/>
                  </a:lnTo>
                  <a:lnTo>
                    <a:pt x="30" y="645"/>
                  </a:lnTo>
                  <a:lnTo>
                    <a:pt x="28" y="656"/>
                  </a:lnTo>
                  <a:lnTo>
                    <a:pt x="28" y="656"/>
                  </a:lnTo>
                  <a:lnTo>
                    <a:pt x="27" y="662"/>
                  </a:lnTo>
                  <a:lnTo>
                    <a:pt x="24" y="666"/>
                  </a:lnTo>
                  <a:lnTo>
                    <a:pt x="18" y="668"/>
                  </a:lnTo>
                  <a:lnTo>
                    <a:pt x="14" y="668"/>
                  </a:lnTo>
                  <a:lnTo>
                    <a:pt x="12" y="668"/>
                  </a:lnTo>
                  <a:lnTo>
                    <a:pt x="12" y="668"/>
                  </a:lnTo>
                  <a:lnTo>
                    <a:pt x="10" y="668"/>
                  </a:lnTo>
                  <a:lnTo>
                    <a:pt x="10" y="668"/>
                  </a:lnTo>
                  <a:lnTo>
                    <a:pt x="5" y="669"/>
                  </a:lnTo>
                  <a:lnTo>
                    <a:pt x="4" y="670"/>
                  </a:lnTo>
                  <a:lnTo>
                    <a:pt x="4" y="670"/>
                  </a:lnTo>
                  <a:lnTo>
                    <a:pt x="2" y="673"/>
                  </a:lnTo>
                  <a:lnTo>
                    <a:pt x="2" y="678"/>
                  </a:lnTo>
                  <a:lnTo>
                    <a:pt x="2" y="678"/>
                  </a:lnTo>
                  <a:lnTo>
                    <a:pt x="2" y="682"/>
                  </a:lnTo>
                  <a:lnTo>
                    <a:pt x="2" y="682"/>
                  </a:lnTo>
                  <a:lnTo>
                    <a:pt x="1" y="686"/>
                  </a:lnTo>
                  <a:lnTo>
                    <a:pt x="0" y="689"/>
                  </a:lnTo>
                  <a:lnTo>
                    <a:pt x="1" y="692"/>
                  </a:lnTo>
                  <a:lnTo>
                    <a:pt x="1" y="692"/>
                  </a:lnTo>
                  <a:lnTo>
                    <a:pt x="2" y="693"/>
                  </a:lnTo>
                  <a:lnTo>
                    <a:pt x="4" y="695"/>
                  </a:lnTo>
                  <a:lnTo>
                    <a:pt x="11" y="696"/>
                  </a:lnTo>
                  <a:lnTo>
                    <a:pt x="11" y="696"/>
                  </a:lnTo>
                  <a:lnTo>
                    <a:pt x="12" y="696"/>
                  </a:lnTo>
                  <a:lnTo>
                    <a:pt x="14" y="696"/>
                  </a:lnTo>
                  <a:lnTo>
                    <a:pt x="14" y="696"/>
                  </a:lnTo>
                  <a:lnTo>
                    <a:pt x="15" y="696"/>
                  </a:lnTo>
                  <a:lnTo>
                    <a:pt x="17" y="699"/>
                  </a:lnTo>
                  <a:lnTo>
                    <a:pt x="17" y="699"/>
                  </a:lnTo>
                  <a:lnTo>
                    <a:pt x="17" y="705"/>
                  </a:lnTo>
                  <a:lnTo>
                    <a:pt x="20" y="709"/>
                  </a:lnTo>
                  <a:lnTo>
                    <a:pt x="25" y="712"/>
                  </a:lnTo>
                  <a:lnTo>
                    <a:pt x="37" y="715"/>
                  </a:lnTo>
                  <a:lnTo>
                    <a:pt x="44" y="715"/>
                  </a:lnTo>
                  <a:lnTo>
                    <a:pt x="44" y="715"/>
                  </a:lnTo>
                  <a:lnTo>
                    <a:pt x="58" y="716"/>
                  </a:lnTo>
                  <a:lnTo>
                    <a:pt x="58" y="716"/>
                  </a:lnTo>
                  <a:lnTo>
                    <a:pt x="65" y="716"/>
                  </a:lnTo>
                  <a:lnTo>
                    <a:pt x="72" y="713"/>
                  </a:lnTo>
                  <a:lnTo>
                    <a:pt x="90" y="703"/>
                  </a:lnTo>
                  <a:lnTo>
                    <a:pt x="91" y="703"/>
                  </a:lnTo>
                  <a:lnTo>
                    <a:pt x="91" y="703"/>
                  </a:lnTo>
                  <a:lnTo>
                    <a:pt x="92" y="702"/>
                  </a:lnTo>
                  <a:lnTo>
                    <a:pt x="95" y="700"/>
                  </a:lnTo>
                  <a:lnTo>
                    <a:pt x="100" y="700"/>
                  </a:lnTo>
                  <a:lnTo>
                    <a:pt x="100" y="700"/>
                  </a:lnTo>
                  <a:lnTo>
                    <a:pt x="104" y="700"/>
                  </a:lnTo>
                  <a:lnTo>
                    <a:pt x="107" y="700"/>
                  </a:lnTo>
                  <a:lnTo>
                    <a:pt x="112" y="696"/>
                  </a:lnTo>
                  <a:lnTo>
                    <a:pt x="118" y="690"/>
                  </a:lnTo>
                  <a:lnTo>
                    <a:pt x="122" y="683"/>
                  </a:lnTo>
                  <a:lnTo>
                    <a:pt x="122" y="683"/>
                  </a:lnTo>
                  <a:lnTo>
                    <a:pt x="124" y="682"/>
                  </a:lnTo>
                  <a:lnTo>
                    <a:pt x="127" y="680"/>
                  </a:lnTo>
                  <a:lnTo>
                    <a:pt x="127" y="680"/>
                  </a:lnTo>
                  <a:lnTo>
                    <a:pt x="131" y="682"/>
                  </a:lnTo>
                  <a:lnTo>
                    <a:pt x="131" y="682"/>
                  </a:lnTo>
                  <a:lnTo>
                    <a:pt x="137" y="683"/>
                  </a:lnTo>
                  <a:lnTo>
                    <a:pt x="142" y="683"/>
                  </a:lnTo>
                  <a:lnTo>
                    <a:pt x="142" y="683"/>
                  </a:lnTo>
                  <a:lnTo>
                    <a:pt x="152" y="680"/>
                  </a:lnTo>
                  <a:lnTo>
                    <a:pt x="161" y="680"/>
                  </a:lnTo>
                  <a:lnTo>
                    <a:pt x="161" y="680"/>
                  </a:lnTo>
                  <a:lnTo>
                    <a:pt x="164" y="680"/>
                  </a:lnTo>
                  <a:lnTo>
                    <a:pt x="165" y="680"/>
                  </a:lnTo>
                  <a:lnTo>
                    <a:pt x="165" y="680"/>
                  </a:lnTo>
                  <a:lnTo>
                    <a:pt x="170" y="683"/>
                  </a:lnTo>
                  <a:lnTo>
                    <a:pt x="174" y="683"/>
                  </a:lnTo>
                  <a:lnTo>
                    <a:pt x="174" y="683"/>
                  </a:lnTo>
                  <a:lnTo>
                    <a:pt x="177" y="682"/>
                  </a:lnTo>
                  <a:lnTo>
                    <a:pt x="177" y="682"/>
                  </a:lnTo>
                  <a:lnTo>
                    <a:pt x="177" y="683"/>
                  </a:lnTo>
                  <a:lnTo>
                    <a:pt x="177" y="686"/>
                  </a:lnTo>
                  <a:lnTo>
                    <a:pt x="177" y="686"/>
                  </a:lnTo>
                  <a:lnTo>
                    <a:pt x="180" y="688"/>
                  </a:lnTo>
                  <a:lnTo>
                    <a:pt x="180" y="688"/>
                  </a:lnTo>
                  <a:lnTo>
                    <a:pt x="181" y="689"/>
                  </a:lnTo>
                  <a:lnTo>
                    <a:pt x="181" y="689"/>
                  </a:lnTo>
                  <a:lnTo>
                    <a:pt x="184" y="688"/>
                  </a:lnTo>
                  <a:lnTo>
                    <a:pt x="187" y="685"/>
                  </a:lnTo>
                  <a:lnTo>
                    <a:pt x="187" y="685"/>
                  </a:lnTo>
                  <a:lnTo>
                    <a:pt x="190" y="682"/>
                  </a:lnTo>
                  <a:lnTo>
                    <a:pt x="192" y="682"/>
                  </a:lnTo>
                  <a:lnTo>
                    <a:pt x="195" y="682"/>
                  </a:lnTo>
                  <a:lnTo>
                    <a:pt x="195" y="682"/>
                  </a:lnTo>
                  <a:lnTo>
                    <a:pt x="204" y="683"/>
                  </a:lnTo>
                  <a:lnTo>
                    <a:pt x="204" y="683"/>
                  </a:lnTo>
                  <a:lnTo>
                    <a:pt x="208" y="685"/>
                  </a:lnTo>
                  <a:lnTo>
                    <a:pt x="212" y="686"/>
                  </a:lnTo>
                  <a:lnTo>
                    <a:pt x="212" y="686"/>
                  </a:lnTo>
                  <a:lnTo>
                    <a:pt x="218" y="685"/>
                  </a:lnTo>
                  <a:lnTo>
                    <a:pt x="222" y="682"/>
                  </a:lnTo>
                  <a:lnTo>
                    <a:pt x="222" y="682"/>
                  </a:lnTo>
                  <a:lnTo>
                    <a:pt x="228" y="676"/>
                  </a:lnTo>
                  <a:lnTo>
                    <a:pt x="232" y="670"/>
                  </a:lnTo>
                  <a:lnTo>
                    <a:pt x="232" y="670"/>
                  </a:lnTo>
                  <a:lnTo>
                    <a:pt x="237" y="665"/>
                  </a:lnTo>
                  <a:lnTo>
                    <a:pt x="242" y="659"/>
                  </a:lnTo>
                  <a:lnTo>
                    <a:pt x="242" y="659"/>
                  </a:lnTo>
                  <a:lnTo>
                    <a:pt x="248" y="655"/>
                  </a:lnTo>
                  <a:lnTo>
                    <a:pt x="253" y="653"/>
                  </a:lnTo>
                  <a:lnTo>
                    <a:pt x="267" y="648"/>
                  </a:lnTo>
                  <a:lnTo>
                    <a:pt x="267" y="648"/>
                  </a:lnTo>
                  <a:lnTo>
                    <a:pt x="283" y="643"/>
                  </a:lnTo>
                  <a:lnTo>
                    <a:pt x="288" y="639"/>
                  </a:lnTo>
                  <a:lnTo>
                    <a:pt x="294" y="635"/>
                  </a:lnTo>
                  <a:lnTo>
                    <a:pt x="294" y="635"/>
                  </a:lnTo>
                  <a:lnTo>
                    <a:pt x="295" y="635"/>
                  </a:lnTo>
                  <a:lnTo>
                    <a:pt x="298" y="633"/>
                  </a:lnTo>
                  <a:lnTo>
                    <a:pt x="298" y="633"/>
                  </a:lnTo>
                  <a:lnTo>
                    <a:pt x="301" y="635"/>
                  </a:lnTo>
                  <a:lnTo>
                    <a:pt x="301" y="635"/>
                  </a:lnTo>
                  <a:lnTo>
                    <a:pt x="308" y="638"/>
                  </a:lnTo>
                  <a:lnTo>
                    <a:pt x="315" y="638"/>
                  </a:lnTo>
                  <a:lnTo>
                    <a:pt x="315" y="638"/>
                  </a:lnTo>
                  <a:lnTo>
                    <a:pt x="323" y="638"/>
                  </a:lnTo>
                  <a:lnTo>
                    <a:pt x="327" y="636"/>
                  </a:lnTo>
                  <a:lnTo>
                    <a:pt x="327" y="636"/>
                  </a:lnTo>
                  <a:lnTo>
                    <a:pt x="354" y="625"/>
                  </a:lnTo>
                  <a:lnTo>
                    <a:pt x="370" y="620"/>
                  </a:lnTo>
                  <a:lnTo>
                    <a:pt x="378" y="618"/>
                  </a:lnTo>
                  <a:lnTo>
                    <a:pt x="378" y="618"/>
                  </a:lnTo>
                  <a:lnTo>
                    <a:pt x="381" y="618"/>
                  </a:lnTo>
                  <a:lnTo>
                    <a:pt x="381" y="618"/>
                  </a:lnTo>
                  <a:lnTo>
                    <a:pt x="394" y="619"/>
                  </a:lnTo>
                  <a:lnTo>
                    <a:pt x="394" y="619"/>
                  </a:lnTo>
                  <a:lnTo>
                    <a:pt x="411" y="618"/>
                  </a:lnTo>
                  <a:lnTo>
                    <a:pt x="425" y="616"/>
                  </a:lnTo>
                  <a:lnTo>
                    <a:pt x="425" y="616"/>
                  </a:lnTo>
                  <a:lnTo>
                    <a:pt x="434" y="615"/>
                  </a:lnTo>
                  <a:lnTo>
                    <a:pt x="434" y="615"/>
                  </a:lnTo>
                  <a:lnTo>
                    <a:pt x="437" y="615"/>
                  </a:lnTo>
                  <a:lnTo>
                    <a:pt x="437" y="616"/>
                  </a:lnTo>
                  <a:lnTo>
                    <a:pt x="437" y="616"/>
                  </a:lnTo>
                  <a:lnTo>
                    <a:pt x="440" y="620"/>
                  </a:lnTo>
                  <a:lnTo>
                    <a:pt x="444" y="626"/>
                  </a:lnTo>
                  <a:lnTo>
                    <a:pt x="444" y="626"/>
                  </a:lnTo>
                  <a:lnTo>
                    <a:pt x="450" y="629"/>
                  </a:lnTo>
                  <a:lnTo>
                    <a:pt x="454" y="630"/>
                  </a:lnTo>
                  <a:lnTo>
                    <a:pt x="454" y="630"/>
                  </a:lnTo>
                  <a:lnTo>
                    <a:pt x="458" y="629"/>
                  </a:lnTo>
                  <a:lnTo>
                    <a:pt x="460" y="628"/>
                  </a:lnTo>
                  <a:lnTo>
                    <a:pt x="460" y="628"/>
                  </a:lnTo>
                  <a:lnTo>
                    <a:pt x="461" y="626"/>
                  </a:lnTo>
                  <a:lnTo>
                    <a:pt x="461" y="626"/>
                  </a:lnTo>
                  <a:lnTo>
                    <a:pt x="464" y="628"/>
                  </a:lnTo>
                  <a:lnTo>
                    <a:pt x="464" y="628"/>
                  </a:lnTo>
                  <a:lnTo>
                    <a:pt x="468" y="632"/>
                  </a:lnTo>
                  <a:lnTo>
                    <a:pt x="471" y="633"/>
                  </a:lnTo>
                  <a:lnTo>
                    <a:pt x="474" y="633"/>
                  </a:lnTo>
                  <a:lnTo>
                    <a:pt x="474" y="633"/>
                  </a:lnTo>
                  <a:lnTo>
                    <a:pt x="480" y="633"/>
                  </a:lnTo>
                  <a:lnTo>
                    <a:pt x="480" y="633"/>
                  </a:lnTo>
                  <a:lnTo>
                    <a:pt x="484" y="632"/>
                  </a:lnTo>
                  <a:lnTo>
                    <a:pt x="484" y="632"/>
                  </a:lnTo>
                  <a:lnTo>
                    <a:pt x="487" y="633"/>
                  </a:lnTo>
                  <a:lnTo>
                    <a:pt x="487" y="633"/>
                  </a:lnTo>
                  <a:lnTo>
                    <a:pt x="487" y="636"/>
                  </a:lnTo>
                  <a:lnTo>
                    <a:pt x="487" y="638"/>
                  </a:lnTo>
                  <a:lnTo>
                    <a:pt x="487" y="638"/>
                  </a:lnTo>
                  <a:lnTo>
                    <a:pt x="488" y="640"/>
                  </a:lnTo>
                  <a:lnTo>
                    <a:pt x="488" y="640"/>
                  </a:lnTo>
                  <a:lnTo>
                    <a:pt x="491" y="642"/>
                  </a:lnTo>
                  <a:lnTo>
                    <a:pt x="491" y="642"/>
                  </a:lnTo>
                  <a:lnTo>
                    <a:pt x="488" y="645"/>
                  </a:lnTo>
                  <a:lnTo>
                    <a:pt x="485" y="649"/>
                  </a:lnTo>
                  <a:lnTo>
                    <a:pt x="485" y="649"/>
                  </a:lnTo>
                  <a:lnTo>
                    <a:pt x="484" y="653"/>
                  </a:lnTo>
                  <a:lnTo>
                    <a:pt x="484" y="656"/>
                  </a:lnTo>
                  <a:lnTo>
                    <a:pt x="487" y="659"/>
                  </a:lnTo>
                  <a:lnTo>
                    <a:pt x="490" y="660"/>
                  </a:lnTo>
                  <a:lnTo>
                    <a:pt x="490" y="660"/>
                  </a:lnTo>
                  <a:lnTo>
                    <a:pt x="494" y="663"/>
                  </a:lnTo>
                  <a:lnTo>
                    <a:pt x="494" y="663"/>
                  </a:lnTo>
                  <a:lnTo>
                    <a:pt x="495" y="666"/>
                  </a:lnTo>
                  <a:lnTo>
                    <a:pt x="497" y="668"/>
                  </a:lnTo>
                  <a:lnTo>
                    <a:pt x="495" y="673"/>
                  </a:lnTo>
                  <a:lnTo>
                    <a:pt x="495" y="673"/>
                  </a:lnTo>
                  <a:lnTo>
                    <a:pt x="495" y="676"/>
                  </a:lnTo>
                  <a:lnTo>
                    <a:pt x="495" y="679"/>
                  </a:lnTo>
                  <a:lnTo>
                    <a:pt x="495" y="679"/>
                  </a:lnTo>
                  <a:lnTo>
                    <a:pt x="495" y="680"/>
                  </a:lnTo>
                  <a:lnTo>
                    <a:pt x="495" y="680"/>
                  </a:lnTo>
                  <a:lnTo>
                    <a:pt x="498" y="686"/>
                  </a:lnTo>
                  <a:lnTo>
                    <a:pt x="498" y="689"/>
                  </a:lnTo>
                  <a:lnTo>
                    <a:pt x="497" y="693"/>
                  </a:lnTo>
                  <a:lnTo>
                    <a:pt x="497" y="693"/>
                  </a:lnTo>
                  <a:lnTo>
                    <a:pt x="494" y="698"/>
                  </a:lnTo>
                  <a:lnTo>
                    <a:pt x="493" y="699"/>
                  </a:lnTo>
                  <a:lnTo>
                    <a:pt x="493" y="699"/>
                  </a:lnTo>
                  <a:lnTo>
                    <a:pt x="490" y="699"/>
                  </a:lnTo>
                  <a:lnTo>
                    <a:pt x="488" y="702"/>
                  </a:lnTo>
                  <a:lnTo>
                    <a:pt x="488" y="702"/>
                  </a:lnTo>
                  <a:lnTo>
                    <a:pt x="488" y="702"/>
                  </a:lnTo>
                  <a:lnTo>
                    <a:pt x="488" y="702"/>
                  </a:lnTo>
                  <a:lnTo>
                    <a:pt x="488" y="703"/>
                  </a:lnTo>
                  <a:lnTo>
                    <a:pt x="488" y="703"/>
                  </a:lnTo>
                  <a:lnTo>
                    <a:pt x="490" y="705"/>
                  </a:lnTo>
                  <a:lnTo>
                    <a:pt x="490" y="706"/>
                  </a:lnTo>
                  <a:lnTo>
                    <a:pt x="493" y="708"/>
                  </a:lnTo>
                  <a:lnTo>
                    <a:pt x="493" y="708"/>
                  </a:lnTo>
                  <a:lnTo>
                    <a:pt x="495" y="708"/>
                  </a:lnTo>
                  <a:lnTo>
                    <a:pt x="495" y="708"/>
                  </a:lnTo>
                  <a:lnTo>
                    <a:pt x="495" y="710"/>
                  </a:lnTo>
                  <a:lnTo>
                    <a:pt x="497" y="713"/>
                  </a:lnTo>
                  <a:lnTo>
                    <a:pt x="497" y="713"/>
                  </a:lnTo>
                  <a:lnTo>
                    <a:pt x="500" y="715"/>
                  </a:lnTo>
                  <a:lnTo>
                    <a:pt x="504" y="715"/>
                  </a:lnTo>
                  <a:lnTo>
                    <a:pt x="504" y="715"/>
                  </a:lnTo>
                  <a:lnTo>
                    <a:pt x="507" y="716"/>
                  </a:lnTo>
                  <a:lnTo>
                    <a:pt x="508" y="718"/>
                  </a:lnTo>
                  <a:lnTo>
                    <a:pt x="508" y="718"/>
                  </a:lnTo>
                  <a:lnTo>
                    <a:pt x="510" y="719"/>
                  </a:lnTo>
                  <a:lnTo>
                    <a:pt x="511" y="720"/>
                  </a:lnTo>
                  <a:lnTo>
                    <a:pt x="511" y="720"/>
                  </a:lnTo>
                  <a:lnTo>
                    <a:pt x="514" y="720"/>
                  </a:lnTo>
                  <a:lnTo>
                    <a:pt x="514" y="720"/>
                  </a:lnTo>
                  <a:lnTo>
                    <a:pt x="515" y="718"/>
                  </a:lnTo>
                  <a:lnTo>
                    <a:pt x="515" y="716"/>
                  </a:lnTo>
                  <a:lnTo>
                    <a:pt x="514" y="713"/>
                  </a:lnTo>
                  <a:lnTo>
                    <a:pt x="514" y="713"/>
                  </a:lnTo>
                  <a:lnTo>
                    <a:pt x="513" y="710"/>
                  </a:lnTo>
                  <a:lnTo>
                    <a:pt x="513" y="710"/>
                  </a:lnTo>
                  <a:lnTo>
                    <a:pt x="515" y="706"/>
                  </a:lnTo>
                  <a:lnTo>
                    <a:pt x="521" y="698"/>
                  </a:lnTo>
                  <a:lnTo>
                    <a:pt x="528" y="690"/>
                  </a:lnTo>
                  <a:lnTo>
                    <a:pt x="533" y="688"/>
                  </a:lnTo>
                  <a:lnTo>
                    <a:pt x="538" y="685"/>
                  </a:lnTo>
                  <a:lnTo>
                    <a:pt x="538" y="685"/>
                  </a:lnTo>
                  <a:lnTo>
                    <a:pt x="551" y="679"/>
                  </a:lnTo>
                  <a:lnTo>
                    <a:pt x="557" y="673"/>
                  </a:lnTo>
                  <a:lnTo>
                    <a:pt x="560" y="672"/>
                  </a:lnTo>
                  <a:lnTo>
                    <a:pt x="560" y="672"/>
                  </a:lnTo>
                  <a:lnTo>
                    <a:pt x="567" y="663"/>
                  </a:lnTo>
                  <a:lnTo>
                    <a:pt x="567" y="663"/>
                  </a:lnTo>
                  <a:lnTo>
                    <a:pt x="571" y="656"/>
                  </a:lnTo>
                  <a:lnTo>
                    <a:pt x="577" y="652"/>
                  </a:lnTo>
                  <a:lnTo>
                    <a:pt x="577" y="652"/>
                  </a:lnTo>
                  <a:lnTo>
                    <a:pt x="577" y="652"/>
                  </a:lnTo>
                  <a:lnTo>
                    <a:pt x="577" y="652"/>
                  </a:lnTo>
                  <a:lnTo>
                    <a:pt x="578" y="655"/>
                  </a:lnTo>
                  <a:lnTo>
                    <a:pt x="577" y="658"/>
                  </a:lnTo>
                  <a:lnTo>
                    <a:pt x="577" y="658"/>
                  </a:lnTo>
                  <a:lnTo>
                    <a:pt x="574" y="660"/>
                  </a:lnTo>
                  <a:lnTo>
                    <a:pt x="574" y="660"/>
                  </a:lnTo>
                  <a:lnTo>
                    <a:pt x="571" y="665"/>
                  </a:lnTo>
                  <a:lnTo>
                    <a:pt x="571" y="668"/>
                  </a:lnTo>
                  <a:lnTo>
                    <a:pt x="571" y="672"/>
                  </a:lnTo>
                  <a:lnTo>
                    <a:pt x="571" y="672"/>
                  </a:lnTo>
                  <a:lnTo>
                    <a:pt x="570" y="673"/>
                  </a:lnTo>
                  <a:lnTo>
                    <a:pt x="567" y="675"/>
                  </a:lnTo>
                  <a:lnTo>
                    <a:pt x="567" y="675"/>
                  </a:lnTo>
                  <a:lnTo>
                    <a:pt x="563" y="676"/>
                  </a:lnTo>
                  <a:lnTo>
                    <a:pt x="560" y="679"/>
                  </a:lnTo>
                  <a:lnTo>
                    <a:pt x="558" y="680"/>
                  </a:lnTo>
                  <a:lnTo>
                    <a:pt x="558" y="680"/>
                  </a:lnTo>
                  <a:lnTo>
                    <a:pt x="555" y="686"/>
                  </a:lnTo>
                  <a:lnTo>
                    <a:pt x="555" y="686"/>
                  </a:lnTo>
                  <a:lnTo>
                    <a:pt x="555" y="686"/>
                  </a:lnTo>
                  <a:lnTo>
                    <a:pt x="550" y="696"/>
                  </a:lnTo>
                  <a:lnTo>
                    <a:pt x="544" y="708"/>
                  </a:lnTo>
                  <a:lnTo>
                    <a:pt x="544" y="708"/>
                  </a:lnTo>
                  <a:lnTo>
                    <a:pt x="538" y="709"/>
                  </a:lnTo>
                  <a:lnTo>
                    <a:pt x="531" y="710"/>
                  </a:lnTo>
                  <a:lnTo>
                    <a:pt x="531" y="710"/>
                  </a:lnTo>
                  <a:lnTo>
                    <a:pt x="528" y="713"/>
                  </a:lnTo>
                  <a:lnTo>
                    <a:pt x="527" y="716"/>
                  </a:lnTo>
                  <a:lnTo>
                    <a:pt x="527" y="716"/>
                  </a:lnTo>
                  <a:lnTo>
                    <a:pt x="527" y="718"/>
                  </a:lnTo>
                  <a:lnTo>
                    <a:pt x="527" y="718"/>
                  </a:lnTo>
                  <a:lnTo>
                    <a:pt x="524" y="720"/>
                  </a:lnTo>
                  <a:lnTo>
                    <a:pt x="524" y="725"/>
                  </a:lnTo>
                  <a:lnTo>
                    <a:pt x="524" y="725"/>
                  </a:lnTo>
                  <a:lnTo>
                    <a:pt x="525" y="726"/>
                  </a:lnTo>
                  <a:lnTo>
                    <a:pt x="528" y="726"/>
                  </a:lnTo>
                  <a:lnTo>
                    <a:pt x="528" y="726"/>
                  </a:lnTo>
                  <a:lnTo>
                    <a:pt x="533" y="726"/>
                  </a:lnTo>
                  <a:lnTo>
                    <a:pt x="533" y="726"/>
                  </a:lnTo>
                  <a:lnTo>
                    <a:pt x="538" y="723"/>
                  </a:lnTo>
                  <a:lnTo>
                    <a:pt x="538" y="723"/>
                  </a:lnTo>
                  <a:lnTo>
                    <a:pt x="543" y="722"/>
                  </a:lnTo>
                  <a:lnTo>
                    <a:pt x="548" y="720"/>
                  </a:lnTo>
                  <a:lnTo>
                    <a:pt x="548" y="720"/>
                  </a:lnTo>
                  <a:lnTo>
                    <a:pt x="548" y="720"/>
                  </a:lnTo>
                  <a:lnTo>
                    <a:pt x="550" y="720"/>
                  </a:lnTo>
                  <a:lnTo>
                    <a:pt x="550" y="720"/>
                  </a:lnTo>
                  <a:lnTo>
                    <a:pt x="551" y="720"/>
                  </a:lnTo>
                  <a:lnTo>
                    <a:pt x="554" y="718"/>
                  </a:lnTo>
                  <a:lnTo>
                    <a:pt x="560" y="708"/>
                  </a:lnTo>
                  <a:lnTo>
                    <a:pt x="560" y="708"/>
                  </a:lnTo>
                  <a:lnTo>
                    <a:pt x="564" y="700"/>
                  </a:lnTo>
                  <a:lnTo>
                    <a:pt x="567" y="695"/>
                  </a:lnTo>
                  <a:lnTo>
                    <a:pt x="567" y="695"/>
                  </a:lnTo>
                  <a:lnTo>
                    <a:pt x="568" y="695"/>
                  </a:lnTo>
                  <a:lnTo>
                    <a:pt x="568" y="695"/>
                  </a:lnTo>
                  <a:lnTo>
                    <a:pt x="568" y="700"/>
                  </a:lnTo>
                  <a:lnTo>
                    <a:pt x="567" y="712"/>
                  </a:lnTo>
                  <a:lnTo>
                    <a:pt x="567" y="712"/>
                  </a:lnTo>
                  <a:lnTo>
                    <a:pt x="564" y="716"/>
                  </a:lnTo>
                  <a:lnTo>
                    <a:pt x="561" y="720"/>
                  </a:lnTo>
                  <a:lnTo>
                    <a:pt x="553" y="726"/>
                  </a:lnTo>
                  <a:lnTo>
                    <a:pt x="553" y="726"/>
                  </a:lnTo>
                  <a:lnTo>
                    <a:pt x="548" y="730"/>
                  </a:lnTo>
                  <a:lnTo>
                    <a:pt x="548" y="733"/>
                  </a:lnTo>
                  <a:lnTo>
                    <a:pt x="548" y="735"/>
                  </a:lnTo>
                  <a:lnTo>
                    <a:pt x="548" y="735"/>
                  </a:lnTo>
                  <a:lnTo>
                    <a:pt x="550" y="738"/>
                  </a:lnTo>
                  <a:lnTo>
                    <a:pt x="553" y="739"/>
                  </a:lnTo>
                  <a:lnTo>
                    <a:pt x="555" y="739"/>
                  </a:lnTo>
                  <a:lnTo>
                    <a:pt x="558" y="738"/>
                  </a:lnTo>
                  <a:lnTo>
                    <a:pt x="558" y="738"/>
                  </a:lnTo>
                  <a:lnTo>
                    <a:pt x="564" y="735"/>
                  </a:lnTo>
                  <a:lnTo>
                    <a:pt x="570" y="730"/>
                  </a:lnTo>
                  <a:lnTo>
                    <a:pt x="570" y="730"/>
                  </a:lnTo>
                  <a:lnTo>
                    <a:pt x="575" y="728"/>
                  </a:lnTo>
                  <a:lnTo>
                    <a:pt x="580" y="725"/>
                  </a:lnTo>
                  <a:lnTo>
                    <a:pt x="580" y="725"/>
                  </a:lnTo>
                  <a:lnTo>
                    <a:pt x="580" y="725"/>
                  </a:lnTo>
                  <a:lnTo>
                    <a:pt x="580" y="725"/>
                  </a:lnTo>
                  <a:lnTo>
                    <a:pt x="583" y="726"/>
                  </a:lnTo>
                  <a:lnTo>
                    <a:pt x="583" y="726"/>
                  </a:lnTo>
                  <a:lnTo>
                    <a:pt x="583" y="728"/>
                  </a:lnTo>
                  <a:lnTo>
                    <a:pt x="580" y="732"/>
                  </a:lnTo>
                  <a:lnTo>
                    <a:pt x="580" y="732"/>
                  </a:lnTo>
                  <a:lnTo>
                    <a:pt x="578" y="736"/>
                  </a:lnTo>
                  <a:lnTo>
                    <a:pt x="578" y="736"/>
                  </a:lnTo>
                  <a:lnTo>
                    <a:pt x="575" y="741"/>
                  </a:lnTo>
                  <a:lnTo>
                    <a:pt x="577" y="742"/>
                  </a:lnTo>
                  <a:lnTo>
                    <a:pt x="578" y="743"/>
                  </a:lnTo>
                  <a:lnTo>
                    <a:pt x="580" y="745"/>
                  </a:lnTo>
                  <a:lnTo>
                    <a:pt x="580" y="745"/>
                  </a:lnTo>
                  <a:lnTo>
                    <a:pt x="580" y="746"/>
                  </a:lnTo>
                  <a:lnTo>
                    <a:pt x="580" y="751"/>
                  </a:lnTo>
                  <a:lnTo>
                    <a:pt x="577" y="761"/>
                  </a:lnTo>
                  <a:lnTo>
                    <a:pt x="577" y="761"/>
                  </a:lnTo>
                  <a:lnTo>
                    <a:pt x="575" y="763"/>
                  </a:lnTo>
                  <a:lnTo>
                    <a:pt x="571" y="769"/>
                  </a:lnTo>
                  <a:lnTo>
                    <a:pt x="571" y="769"/>
                  </a:lnTo>
                  <a:lnTo>
                    <a:pt x="568" y="772"/>
                  </a:lnTo>
                  <a:lnTo>
                    <a:pt x="565" y="776"/>
                  </a:lnTo>
                  <a:lnTo>
                    <a:pt x="565" y="782"/>
                  </a:lnTo>
                  <a:lnTo>
                    <a:pt x="568" y="788"/>
                  </a:lnTo>
                  <a:lnTo>
                    <a:pt x="568" y="788"/>
                  </a:lnTo>
                  <a:lnTo>
                    <a:pt x="570" y="793"/>
                  </a:lnTo>
                  <a:lnTo>
                    <a:pt x="570" y="793"/>
                  </a:lnTo>
                  <a:lnTo>
                    <a:pt x="570" y="799"/>
                  </a:lnTo>
                  <a:lnTo>
                    <a:pt x="570" y="799"/>
                  </a:lnTo>
                  <a:lnTo>
                    <a:pt x="573" y="803"/>
                  </a:lnTo>
                  <a:lnTo>
                    <a:pt x="574" y="805"/>
                  </a:lnTo>
                  <a:lnTo>
                    <a:pt x="580" y="806"/>
                  </a:lnTo>
                  <a:lnTo>
                    <a:pt x="580" y="806"/>
                  </a:lnTo>
                  <a:lnTo>
                    <a:pt x="587" y="808"/>
                  </a:lnTo>
                  <a:lnTo>
                    <a:pt x="587" y="808"/>
                  </a:lnTo>
                  <a:lnTo>
                    <a:pt x="588" y="809"/>
                  </a:lnTo>
                  <a:lnTo>
                    <a:pt x="588" y="812"/>
                  </a:lnTo>
                  <a:lnTo>
                    <a:pt x="588" y="812"/>
                  </a:lnTo>
                  <a:lnTo>
                    <a:pt x="587" y="813"/>
                  </a:lnTo>
                  <a:lnTo>
                    <a:pt x="588" y="816"/>
                  </a:lnTo>
                  <a:lnTo>
                    <a:pt x="588" y="816"/>
                  </a:lnTo>
                  <a:lnTo>
                    <a:pt x="588" y="818"/>
                  </a:lnTo>
                  <a:lnTo>
                    <a:pt x="591" y="819"/>
                  </a:lnTo>
                  <a:lnTo>
                    <a:pt x="591" y="819"/>
                  </a:lnTo>
                  <a:lnTo>
                    <a:pt x="595" y="818"/>
                  </a:lnTo>
                  <a:lnTo>
                    <a:pt x="600" y="815"/>
                  </a:lnTo>
                  <a:lnTo>
                    <a:pt x="600" y="815"/>
                  </a:lnTo>
                  <a:lnTo>
                    <a:pt x="603" y="813"/>
                  </a:lnTo>
                  <a:lnTo>
                    <a:pt x="605" y="813"/>
                  </a:lnTo>
                  <a:lnTo>
                    <a:pt x="607" y="813"/>
                  </a:lnTo>
                  <a:lnTo>
                    <a:pt x="607" y="813"/>
                  </a:lnTo>
                  <a:lnTo>
                    <a:pt x="607" y="813"/>
                  </a:lnTo>
                  <a:lnTo>
                    <a:pt x="607" y="813"/>
                  </a:lnTo>
                  <a:lnTo>
                    <a:pt x="608" y="816"/>
                  </a:lnTo>
                  <a:lnTo>
                    <a:pt x="608" y="816"/>
                  </a:lnTo>
                  <a:lnTo>
                    <a:pt x="610" y="818"/>
                  </a:lnTo>
                  <a:lnTo>
                    <a:pt x="613" y="819"/>
                  </a:lnTo>
                  <a:lnTo>
                    <a:pt x="613" y="819"/>
                  </a:lnTo>
                  <a:lnTo>
                    <a:pt x="614" y="819"/>
                  </a:lnTo>
                  <a:lnTo>
                    <a:pt x="614" y="819"/>
                  </a:lnTo>
                  <a:lnTo>
                    <a:pt x="620" y="819"/>
                  </a:lnTo>
                  <a:lnTo>
                    <a:pt x="620" y="819"/>
                  </a:lnTo>
                  <a:lnTo>
                    <a:pt x="623" y="819"/>
                  </a:lnTo>
                  <a:lnTo>
                    <a:pt x="624" y="821"/>
                  </a:lnTo>
                  <a:lnTo>
                    <a:pt x="624" y="821"/>
                  </a:lnTo>
                  <a:lnTo>
                    <a:pt x="628" y="825"/>
                  </a:lnTo>
                  <a:lnTo>
                    <a:pt x="636" y="828"/>
                  </a:lnTo>
                  <a:lnTo>
                    <a:pt x="636" y="828"/>
                  </a:lnTo>
                  <a:lnTo>
                    <a:pt x="641" y="828"/>
                  </a:lnTo>
                  <a:lnTo>
                    <a:pt x="641" y="828"/>
                  </a:lnTo>
                  <a:lnTo>
                    <a:pt x="646" y="828"/>
                  </a:lnTo>
                  <a:lnTo>
                    <a:pt x="650" y="825"/>
                  </a:lnTo>
                  <a:lnTo>
                    <a:pt x="664" y="815"/>
                  </a:lnTo>
                  <a:lnTo>
                    <a:pt x="664" y="815"/>
                  </a:lnTo>
                  <a:lnTo>
                    <a:pt x="671" y="809"/>
                  </a:lnTo>
                  <a:lnTo>
                    <a:pt x="671" y="809"/>
                  </a:lnTo>
                  <a:lnTo>
                    <a:pt x="683" y="799"/>
                  </a:lnTo>
                  <a:lnTo>
                    <a:pt x="687" y="798"/>
                  </a:lnTo>
                  <a:lnTo>
                    <a:pt x="687" y="798"/>
                  </a:lnTo>
                  <a:lnTo>
                    <a:pt x="687" y="799"/>
                  </a:lnTo>
                  <a:lnTo>
                    <a:pt x="687" y="801"/>
                  </a:lnTo>
                  <a:lnTo>
                    <a:pt x="687" y="801"/>
                  </a:lnTo>
                  <a:lnTo>
                    <a:pt x="687" y="808"/>
                  </a:lnTo>
                  <a:lnTo>
                    <a:pt x="688" y="811"/>
                  </a:lnTo>
                  <a:lnTo>
                    <a:pt x="690" y="812"/>
                  </a:lnTo>
                  <a:lnTo>
                    <a:pt x="690" y="812"/>
                  </a:lnTo>
                  <a:lnTo>
                    <a:pt x="690" y="813"/>
                  </a:lnTo>
                  <a:lnTo>
                    <a:pt x="690" y="813"/>
                  </a:lnTo>
                  <a:lnTo>
                    <a:pt x="687" y="818"/>
                  </a:lnTo>
                  <a:lnTo>
                    <a:pt x="686" y="821"/>
                  </a:lnTo>
                  <a:lnTo>
                    <a:pt x="687" y="823"/>
                  </a:lnTo>
                  <a:lnTo>
                    <a:pt x="687" y="823"/>
                  </a:lnTo>
                  <a:lnTo>
                    <a:pt x="691" y="829"/>
                  </a:lnTo>
                  <a:lnTo>
                    <a:pt x="696" y="833"/>
                  </a:lnTo>
                  <a:lnTo>
                    <a:pt x="696" y="833"/>
                  </a:lnTo>
                  <a:lnTo>
                    <a:pt x="700" y="836"/>
                  </a:lnTo>
                  <a:lnTo>
                    <a:pt x="700" y="836"/>
                  </a:lnTo>
                  <a:lnTo>
                    <a:pt x="701" y="838"/>
                  </a:lnTo>
                  <a:lnTo>
                    <a:pt x="701" y="838"/>
                  </a:lnTo>
                  <a:lnTo>
                    <a:pt x="701" y="839"/>
                  </a:lnTo>
                  <a:lnTo>
                    <a:pt x="703" y="841"/>
                  </a:lnTo>
                  <a:lnTo>
                    <a:pt x="703" y="841"/>
                  </a:lnTo>
                  <a:lnTo>
                    <a:pt x="706" y="839"/>
                  </a:lnTo>
                  <a:lnTo>
                    <a:pt x="706" y="838"/>
                  </a:lnTo>
                  <a:lnTo>
                    <a:pt x="706" y="838"/>
                  </a:lnTo>
                  <a:lnTo>
                    <a:pt x="708" y="832"/>
                  </a:lnTo>
                  <a:lnTo>
                    <a:pt x="713" y="829"/>
                  </a:lnTo>
                  <a:lnTo>
                    <a:pt x="718" y="826"/>
                  </a:lnTo>
                  <a:lnTo>
                    <a:pt x="718" y="826"/>
                  </a:lnTo>
                  <a:lnTo>
                    <a:pt x="730" y="819"/>
                  </a:lnTo>
                  <a:lnTo>
                    <a:pt x="741" y="812"/>
                  </a:lnTo>
                  <a:lnTo>
                    <a:pt x="741" y="812"/>
                  </a:lnTo>
                  <a:lnTo>
                    <a:pt x="750" y="805"/>
                  </a:lnTo>
                  <a:lnTo>
                    <a:pt x="754" y="803"/>
                  </a:lnTo>
                  <a:lnTo>
                    <a:pt x="757" y="802"/>
                  </a:lnTo>
                  <a:lnTo>
                    <a:pt x="757" y="802"/>
                  </a:lnTo>
                  <a:lnTo>
                    <a:pt x="777" y="802"/>
                  </a:lnTo>
                  <a:lnTo>
                    <a:pt x="790" y="801"/>
                  </a:lnTo>
                  <a:lnTo>
                    <a:pt x="797" y="799"/>
                  </a:lnTo>
                  <a:lnTo>
                    <a:pt x="797" y="799"/>
                  </a:lnTo>
                  <a:lnTo>
                    <a:pt x="801" y="796"/>
                  </a:lnTo>
                  <a:lnTo>
                    <a:pt x="801" y="796"/>
                  </a:lnTo>
                  <a:lnTo>
                    <a:pt x="803" y="793"/>
                  </a:lnTo>
                  <a:lnTo>
                    <a:pt x="806" y="792"/>
                  </a:lnTo>
                  <a:lnTo>
                    <a:pt x="806" y="792"/>
                  </a:lnTo>
                  <a:lnTo>
                    <a:pt x="810" y="791"/>
                  </a:lnTo>
                  <a:lnTo>
                    <a:pt x="814" y="789"/>
                  </a:lnTo>
                  <a:lnTo>
                    <a:pt x="817" y="785"/>
                  </a:lnTo>
                  <a:lnTo>
                    <a:pt x="818" y="781"/>
                  </a:lnTo>
                  <a:lnTo>
                    <a:pt x="818" y="781"/>
                  </a:lnTo>
                  <a:lnTo>
                    <a:pt x="820" y="776"/>
                  </a:lnTo>
                  <a:lnTo>
                    <a:pt x="824" y="769"/>
                  </a:lnTo>
                  <a:lnTo>
                    <a:pt x="840" y="751"/>
                  </a:lnTo>
                  <a:lnTo>
                    <a:pt x="856" y="732"/>
                  </a:lnTo>
                  <a:lnTo>
                    <a:pt x="863" y="725"/>
                  </a:lnTo>
                  <a:lnTo>
                    <a:pt x="868" y="720"/>
                  </a:lnTo>
                  <a:lnTo>
                    <a:pt x="868" y="720"/>
                  </a:lnTo>
                  <a:lnTo>
                    <a:pt x="873" y="718"/>
                  </a:lnTo>
                  <a:lnTo>
                    <a:pt x="874" y="716"/>
                  </a:lnTo>
                  <a:lnTo>
                    <a:pt x="876" y="713"/>
                  </a:lnTo>
                  <a:lnTo>
                    <a:pt x="874" y="710"/>
                  </a:lnTo>
                  <a:lnTo>
                    <a:pt x="874" y="710"/>
                  </a:lnTo>
                  <a:lnTo>
                    <a:pt x="874" y="709"/>
                  </a:lnTo>
                  <a:lnTo>
                    <a:pt x="876" y="709"/>
                  </a:lnTo>
                  <a:lnTo>
                    <a:pt x="876" y="709"/>
                  </a:lnTo>
                  <a:lnTo>
                    <a:pt x="880" y="703"/>
                  </a:lnTo>
                  <a:lnTo>
                    <a:pt x="880" y="703"/>
                  </a:lnTo>
                  <a:lnTo>
                    <a:pt x="890" y="692"/>
                  </a:lnTo>
                  <a:lnTo>
                    <a:pt x="901" y="678"/>
                  </a:lnTo>
                  <a:lnTo>
                    <a:pt x="916" y="665"/>
                  </a:lnTo>
                  <a:lnTo>
                    <a:pt x="933" y="653"/>
                  </a:lnTo>
                  <a:lnTo>
                    <a:pt x="933" y="653"/>
                  </a:lnTo>
                  <a:lnTo>
                    <a:pt x="951" y="640"/>
                  </a:lnTo>
                  <a:lnTo>
                    <a:pt x="953" y="639"/>
                  </a:lnTo>
                  <a:lnTo>
                    <a:pt x="953" y="636"/>
                  </a:lnTo>
                  <a:lnTo>
                    <a:pt x="953" y="636"/>
                  </a:lnTo>
                  <a:lnTo>
                    <a:pt x="953" y="635"/>
                  </a:lnTo>
                  <a:lnTo>
                    <a:pt x="953" y="635"/>
                  </a:lnTo>
                  <a:lnTo>
                    <a:pt x="956" y="630"/>
                  </a:lnTo>
                  <a:lnTo>
                    <a:pt x="961" y="626"/>
                  </a:lnTo>
                  <a:lnTo>
                    <a:pt x="961" y="626"/>
                  </a:lnTo>
                  <a:lnTo>
                    <a:pt x="969" y="618"/>
                  </a:lnTo>
                  <a:lnTo>
                    <a:pt x="976" y="609"/>
                  </a:lnTo>
                  <a:lnTo>
                    <a:pt x="976" y="609"/>
                  </a:lnTo>
                  <a:lnTo>
                    <a:pt x="981" y="599"/>
                  </a:lnTo>
                  <a:lnTo>
                    <a:pt x="981" y="596"/>
                  </a:lnTo>
                  <a:lnTo>
                    <a:pt x="981" y="593"/>
                  </a:lnTo>
                  <a:lnTo>
                    <a:pt x="981" y="593"/>
                  </a:lnTo>
                  <a:lnTo>
                    <a:pt x="981" y="592"/>
                  </a:lnTo>
                  <a:lnTo>
                    <a:pt x="981" y="592"/>
                  </a:lnTo>
                  <a:lnTo>
                    <a:pt x="983" y="589"/>
                  </a:lnTo>
                  <a:lnTo>
                    <a:pt x="986" y="586"/>
                  </a:lnTo>
                  <a:lnTo>
                    <a:pt x="986" y="586"/>
                  </a:lnTo>
                  <a:lnTo>
                    <a:pt x="991" y="579"/>
                  </a:lnTo>
                  <a:lnTo>
                    <a:pt x="994" y="573"/>
                  </a:lnTo>
                  <a:lnTo>
                    <a:pt x="997" y="567"/>
                  </a:lnTo>
                  <a:lnTo>
                    <a:pt x="997" y="567"/>
                  </a:lnTo>
                  <a:lnTo>
                    <a:pt x="1001" y="557"/>
                  </a:lnTo>
                  <a:lnTo>
                    <a:pt x="1007" y="549"/>
                  </a:lnTo>
                  <a:lnTo>
                    <a:pt x="1013" y="542"/>
                  </a:lnTo>
                  <a:lnTo>
                    <a:pt x="1017" y="539"/>
                  </a:lnTo>
                  <a:lnTo>
                    <a:pt x="1017" y="539"/>
                  </a:lnTo>
                  <a:lnTo>
                    <a:pt x="1020" y="536"/>
                  </a:lnTo>
                  <a:lnTo>
                    <a:pt x="1021" y="532"/>
                  </a:lnTo>
                  <a:lnTo>
                    <a:pt x="1023" y="523"/>
                  </a:lnTo>
                  <a:lnTo>
                    <a:pt x="1023" y="523"/>
                  </a:lnTo>
                  <a:lnTo>
                    <a:pt x="1024" y="515"/>
                  </a:lnTo>
                  <a:lnTo>
                    <a:pt x="1024" y="506"/>
                  </a:lnTo>
                  <a:lnTo>
                    <a:pt x="1021" y="497"/>
                  </a:lnTo>
                  <a:lnTo>
                    <a:pt x="1020" y="495"/>
                  </a:lnTo>
                  <a:lnTo>
                    <a:pt x="1019" y="492"/>
                  </a:lnTo>
                  <a:lnTo>
                    <a:pt x="1019" y="492"/>
                  </a:lnTo>
                  <a:lnTo>
                    <a:pt x="1016" y="490"/>
                  </a:lnTo>
                  <a:lnTo>
                    <a:pt x="1016" y="490"/>
                  </a:lnTo>
                  <a:lnTo>
                    <a:pt x="1019" y="489"/>
                  </a:lnTo>
                  <a:lnTo>
                    <a:pt x="1021" y="487"/>
                  </a:lnTo>
                  <a:lnTo>
                    <a:pt x="1021" y="487"/>
                  </a:lnTo>
                  <a:lnTo>
                    <a:pt x="1026" y="480"/>
                  </a:lnTo>
                  <a:lnTo>
                    <a:pt x="1030" y="472"/>
                  </a:lnTo>
                  <a:lnTo>
                    <a:pt x="1033" y="462"/>
                  </a:lnTo>
                  <a:lnTo>
                    <a:pt x="1034" y="452"/>
                  </a:lnTo>
                  <a:lnTo>
                    <a:pt x="1034" y="452"/>
                  </a:lnTo>
                  <a:lnTo>
                    <a:pt x="1034" y="442"/>
                  </a:lnTo>
                  <a:lnTo>
                    <a:pt x="1034" y="442"/>
                  </a:lnTo>
                  <a:lnTo>
                    <a:pt x="1036" y="435"/>
                  </a:lnTo>
                  <a:lnTo>
                    <a:pt x="1036" y="430"/>
                  </a:lnTo>
                  <a:lnTo>
                    <a:pt x="1034" y="429"/>
                  </a:lnTo>
                  <a:lnTo>
                    <a:pt x="1034" y="4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95" name="Freeform 186"/>
            <p:cNvSpPr>
              <a:spLocks/>
            </p:cNvSpPr>
            <p:nvPr/>
          </p:nvSpPr>
          <p:spPr bwMode="auto">
            <a:xfrm>
              <a:off x="6769100" y="4471988"/>
              <a:ext cx="238125" cy="144462"/>
            </a:xfrm>
            <a:custGeom>
              <a:avLst/>
              <a:gdLst>
                <a:gd name="T0" fmla="*/ 297 w 300"/>
                <a:gd name="T1" fmla="*/ 10 h 181"/>
                <a:gd name="T2" fmla="*/ 294 w 300"/>
                <a:gd name="T3" fmla="*/ 3 h 181"/>
                <a:gd name="T4" fmla="*/ 288 w 300"/>
                <a:gd name="T5" fmla="*/ 8 h 181"/>
                <a:gd name="T6" fmla="*/ 285 w 300"/>
                <a:gd name="T7" fmla="*/ 13 h 181"/>
                <a:gd name="T8" fmla="*/ 283 w 300"/>
                <a:gd name="T9" fmla="*/ 10 h 181"/>
                <a:gd name="T10" fmla="*/ 270 w 300"/>
                <a:gd name="T11" fmla="*/ 18 h 181"/>
                <a:gd name="T12" fmla="*/ 267 w 300"/>
                <a:gd name="T13" fmla="*/ 21 h 181"/>
                <a:gd name="T14" fmla="*/ 270 w 300"/>
                <a:gd name="T15" fmla="*/ 15 h 181"/>
                <a:gd name="T16" fmla="*/ 268 w 300"/>
                <a:gd name="T17" fmla="*/ 3 h 181"/>
                <a:gd name="T18" fmla="*/ 265 w 300"/>
                <a:gd name="T19" fmla="*/ 0 h 181"/>
                <a:gd name="T20" fmla="*/ 254 w 300"/>
                <a:gd name="T21" fmla="*/ 5 h 181"/>
                <a:gd name="T22" fmla="*/ 250 w 300"/>
                <a:gd name="T23" fmla="*/ 5 h 181"/>
                <a:gd name="T24" fmla="*/ 244 w 300"/>
                <a:gd name="T25" fmla="*/ 13 h 181"/>
                <a:gd name="T26" fmla="*/ 223 w 300"/>
                <a:gd name="T27" fmla="*/ 31 h 181"/>
                <a:gd name="T28" fmla="*/ 215 w 300"/>
                <a:gd name="T29" fmla="*/ 33 h 181"/>
                <a:gd name="T30" fmla="*/ 207 w 300"/>
                <a:gd name="T31" fmla="*/ 40 h 181"/>
                <a:gd name="T32" fmla="*/ 175 w 300"/>
                <a:gd name="T33" fmla="*/ 64 h 181"/>
                <a:gd name="T34" fmla="*/ 131 w 300"/>
                <a:gd name="T35" fmla="*/ 86 h 181"/>
                <a:gd name="T36" fmla="*/ 114 w 300"/>
                <a:gd name="T37" fmla="*/ 96 h 181"/>
                <a:gd name="T38" fmla="*/ 103 w 300"/>
                <a:gd name="T39" fmla="*/ 98 h 181"/>
                <a:gd name="T40" fmla="*/ 84 w 300"/>
                <a:gd name="T41" fmla="*/ 101 h 181"/>
                <a:gd name="T42" fmla="*/ 67 w 300"/>
                <a:gd name="T43" fmla="*/ 113 h 181"/>
                <a:gd name="T44" fmla="*/ 27 w 300"/>
                <a:gd name="T45" fmla="*/ 137 h 181"/>
                <a:gd name="T46" fmla="*/ 7 w 300"/>
                <a:gd name="T47" fmla="*/ 148 h 181"/>
                <a:gd name="T48" fmla="*/ 0 w 300"/>
                <a:gd name="T49" fmla="*/ 160 h 181"/>
                <a:gd name="T50" fmla="*/ 11 w 300"/>
                <a:gd name="T51" fmla="*/ 170 h 181"/>
                <a:gd name="T52" fmla="*/ 17 w 300"/>
                <a:gd name="T53" fmla="*/ 168 h 181"/>
                <a:gd name="T54" fmla="*/ 34 w 300"/>
                <a:gd name="T55" fmla="*/ 174 h 181"/>
                <a:gd name="T56" fmla="*/ 54 w 300"/>
                <a:gd name="T57" fmla="*/ 181 h 181"/>
                <a:gd name="T58" fmla="*/ 63 w 300"/>
                <a:gd name="T59" fmla="*/ 180 h 181"/>
                <a:gd name="T60" fmla="*/ 84 w 300"/>
                <a:gd name="T61" fmla="*/ 167 h 181"/>
                <a:gd name="T62" fmla="*/ 97 w 300"/>
                <a:gd name="T63" fmla="*/ 163 h 181"/>
                <a:gd name="T64" fmla="*/ 105 w 300"/>
                <a:gd name="T65" fmla="*/ 161 h 181"/>
                <a:gd name="T66" fmla="*/ 111 w 300"/>
                <a:gd name="T67" fmla="*/ 150 h 181"/>
                <a:gd name="T68" fmla="*/ 125 w 300"/>
                <a:gd name="T69" fmla="*/ 140 h 181"/>
                <a:gd name="T70" fmla="*/ 144 w 300"/>
                <a:gd name="T71" fmla="*/ 126 h 181"/>
                <a:gd name="T72" fmla="*/ 155 w 300"/>
                <a:gd name="T73" fmla="*/ 114 h 181"/>
                <a:gd name="T74" fmla="*/ 181 w 300"/>
                <a:gd name="T75" fmla="*/ 101 h 181"/>
                <a:gd name="T76" fmla="*/ 190 w 300"/>
                <a:gd name="T77" fmla="*/ 98 h 181"/>
                <a:gd name="T78" fmla="*/ 208 w 300"/>
                <a:gd name="T79" fmla="*/ 101 h 181"/>
                <a:gd name="T80" fmla="*/ 214 w 300"/>
                <a:gd name="T81" fmla="*/ 100 h 181"/>
                <a:gd name="T82" fmla="*/ 213 w 300"/>
                <a:gd name="T83" fmla="*/ 91 h 181"/>
                <a:gd name="T84" fmla="*/ 210 w 300"/>
                <a:gd name="T85" fmla="*/ 87 h 181"/>
                <a:gd name="T86" fmla="*/ 224 w 300"/>
                <a:gd name="T87" fmla="*/ 78 h 181"/>
                <a:gd name="T88" fmla="*/ 234 w 300"/>
                <a:gd name="T89" fmla="*/ 74 h 181"/>
                <a:gd name="T90" fmla="*/ 245 w 300"/>
                <a:gd name="T91" fmla="*/ 66 h 181"/>
                <a:gd name="T92" fmla="*/ 265 w 300"/>
                <a:gd name="T93" fmla="*/ 51 h 181"/>
                <a:gd name="T94" fmla="*/ 278 w 300"/>
                <a:gd name="T95" fmla="*/ 43 h 181"/>
                <a:gd name="T96" fmla="*/ 287 w 300"/>
                <a:gd name="T97" fmla="*/ 31 h 181"/>
                <a:gd name="T98" fmla="*/ 294 w 300"/>
                <a:gd name="T99" fmla="*/ 26 h 181"/>
                <a:gd name="T100" fmla="*/ 300 w 300"/>
                <a:gd name="T101" fmla="*/ 23 h 181"/>
                <a:gd name="T102" fmla="*/ 297 w 300"/>
                <a:gd name="T103" fmla="*/ 1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00" h="181">
                  <a:moveTo>
                    <a:pt x="297" y="13"/>
                  </a:moveTo>
                  <a:lnTo>
                    <a:pt x="297" y="13"/>
                  </a:lnTo>
                  <a:lnTo>
                    <a:pt x="297" y="10"/>
                  </a:lnTo>
                  <a:lnTo>
                    <a:pt x="297" y="10"/>
                  </a:lnTo>
                  <a:lnTo>
                    <a:pt x="298" y="7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4" y="3"/>
                  </a:lnTo>
                  <a:lnTo>
                    <a:pt x="294" y="3"/>
                  </a:lnTo>
                  <a:lnTo>
                    <a:pt x="293" y="4"/>
                  </a:lnTo>
                  <a:lnTo>
                    <a:pt x="291" y="4"/>
                  </a:lnTo>
                  <a:lnTo>
                    <a:pt x="288" y="8"/>
                  </a:lnTo>
                  <a:lnTo>
                    <a:pt x="288" y="8"/>
                  </a:lnTo>
                  <a:lnTo>
                    <a:pt x="285" y="13"/>
                  </a:lnTo>
                  <a:lnTo>
                    <a:pt x="285" y="13"/>
                  </a:lnTo>
                  <a:lnTo>
                    <a:pt x="285" y="13"/>
                  </a:lnTo>
                  <a:lnTo>
                    <a:pt x="285" y="13"/>
                  </a:lnTo>
                  <a:lnTo>
                    <a:pt x="284" y="11"/>
                  </a:lnTo>
                  <a:lnTo>
                    <a:pt x="283" y="10"/>
                  </a:lnTo>
                  <a:lnTo>
                    <a:pt x="283" y="10"/>
                  </a:lnTo>
                  <a:lnTo>
                    <a:pt x="280" y="11"/>
                  </a:lnTo>
                  <a:lnTo>
                    <a:pt x="275" y="14"/>
                  </a:lnTo>
                  <a:lnTo>
                    <a:pt x="275" y="14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68" y="20"/>
                  </a:lnTo>
                  <a:lnTo>
                    <a:pt x="267" y="21"/>
                  </a:lnTo>
                  <a:lnTo>
                    <a:pt x="267" y="21"/>
                  </a:lnTo>
                  <a:lnTo>
                    <a:pt x="270" y="17"/>
                  </a:lnTo>
                  <a:lnTo>
                    <a:pt x="270" y="15"/>
                  </a:lnTo>
                  <a:lnTo>
                    <a:pt x="270" y="15"/>
                  </a:lnTo>
                  <a:lnTo>
                    <a:pt x="270" y="15"/>
                  </a:lnTo>
                  <a:lnTo>
                    <a:pt x="271" y="7"/>
                  </a:lnTo>
                  <a:lnTo>
                    <a:pt x="268" y="3"/>
                  </a:lnTo>
                  <a:lnTo>
                    <a:pt x="268" y="3"/>
                  </a:lnTo>
                  <a:lnTo>
                    <a:pt x="268" y="3"/>
                  </a:lnTo>
                  <a:lnTo>
                    <a:pt x="268" y="3"/>
                  </a:lnTo>
                  <a:lnTo>
                    <a:pt x="267" y="1"/>
                  </a:lnTo>
                  <a:lnTo>
                    <a:pt x="265" y="0"/>
                  </a:lnTo>
                  <a:lnTo>
                    <a:pt x="265" y="0"/>
                  </a:lnTo>
                  <a:lnTo>
                    <a:pt x="263" y="1"/>
                  </a:lnTo>
                  <a:lnTo>
                    <a:pt x="258" y="3"/>
                  </a:lnTo>
                  <a:lnTo>
                    <a:pt x="258" y="3"/>
                  </a:lnTo>
                  <a:lnTo>
                    <a:pt x="254" y="5"/>
                  </a:lnTo>
                  <a:lnTo>
                    <a:pt x="254" y="5"/>
                  </a:lnTo>
                  <a:lnTo>
                    <a:pt x="251" y="5"/>
                  </a:lnTo>
                  <a:lnTo>
                    <a:pt x="251" y="5"/>
                  </a:lnTo>
                  <a:lnTo>
                    <a:pt x="250" y="5"/>
                  </a:lnTo>
                  <a:lnTo>
                    <a:pt x="250" y="5"/>
                  </a:lnTo>
                  <a:lnTo>
                    <a:pt x="248" y="7"/>
                  </a:lnTo>
                  <a:lnTo>
                    <a:pt x="247" y="8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0" y="18"/>
                  </a:lnTo>
                  <a:lnTo>
                    <a:pt x="234" y="24"/>
                  </a:lnTo>
                  <a:lnTo>
                    <a:pt x="223" y="31"/>
                  </a:lnTo>
                  <a:lnTo>
                    <a:pt x="223" y="31"/>
                  </a:lnTo>
                  <a:lnTo>
                    <a:pt x="221" y="33"/>
                  </a:lnTo>
                  <a:lnTo>
                    <a:pt x="221" y="33"/>
                  </a:lnTo>
                  <a:lnTo>
                    <a:pt x="215" y="33"/>
                  </a:lnTo>
                  <a:lnTo>
                    <a:pt x="213" y="34"/>
                  </a:lnTo>
                  <a:lnTo>
                    <a:pt x="210" y="37"/>
                  </a:lnTo>
                  <a:lnTo>
                    <a:pt x="210" y="37"/>
                  </a:lnTo>
                  <a:lnTo>
                    <a:pt x="207" y="40"/>
                  </a:lnTo>
                  <a:lnTo>
                    <a:pt x="207" y="40"/>
                  </a:lnTo>
                  <a:lnTo>
                    <a:pt x="197" y="48"/>
                  </a:lnTo>
                  <a:lnTo>
                    <a:pt x="175" y="64"/>
                  </a:lnTo>
                  <a:lnTo>
                    <a:pt x="175" y="64"/>
                  </a:lnTo>
                  <a:lnTo>
                    <a:pt x="164" y="71"/>
                  </a:lnTo>
                  <a:lnTo>
                    <a:pt x="153" y="77"/>
                  </a:lnTo>
                  <a:lnTo>
                    <a:pt x="131" y="86"/>
                  </a:lnTo>
                  <a:lnTo>
                    <a:pt x="131" y="86"/>
                  </a:lnTo>
                  <a:lnTo>
                    <a:pt x="123" y="88"/>
                  </a:lnTo>
                  <a:lnTo>
                    <a:pt x="117" y="91"/>
                  </a:lnTo>
                  <a:lnTo>
                    <a:pt x="117" y="91"/>
                  </a:lnTo>
                  <a:lnTo>
                    <a:pt x="114" y="96"/>
                  </a:lnTo>
                  <a:lnTo>
                    <a:pt x="114" y="96"/>
                  </a:lnTo>
                  <a:lnTo>
                    <a:pt x="114" y="97"/>
                  </a:lnTo>
                  <a:lnTo>
                    <a:pt x="113" y="97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93" y="98"/>
                  </a:lnTo>
                  <a:lnTo>
                    <a:pt x="84" y="101"/>
                  </a:lnTo>
                  <a:lnTo>
                    <a:pt x="77" y="107"/>
                  </a:lnTo>
                  <a:lnTo>
                    <a:pt x="68" y="113"/>
                  </a:lnTo>
                  <a:lnTo>
                    <a:pt x="67" y="113"/>
                  </a:lnTo>
                  <a:lnTo>
                    <a:pt x="67" y="113"/>
                  </a:lnTo>
                  <a:lnTo>
                    <a:pt x="60" y="118"/>
                  </a:lnTo>
                  <a:lnTo>
                    <a:pt x="60" y="118"/>
                  </a:lnTo>
                  <a:lnTo>
                    <a:pt x="44" y="128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15" y="144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1" y="156"/>
                  </a:lnTo>
                  <a:lnTo>
                    <a:pt x="0" y="158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" y="164"/>
                  </a:lnTo>
                  <a:lnTo>
                    <a:pt x="5" y="168"/>
                  </a:lnTo>
                  <a:lnTo>
                    <a:pt x="5" y="168"/>
                  </a:lnTo>
                  <a:lnTo>
                    <a:pt x="11" y="170"/>
                  </a:lnTo>
                  <a:lnTo>
                    <a:pt x="11" y="170"/>
                  </a:lnTo>
                  <a:lnTo>
                    <a:pt x="14" y="168"/>
                  </a:lnTo>
                  <a:lnTo>
                    <a:pt x="14" y="168"/>
                  </a:lnTo>
                  <a:lnTo>
                    <a:pt x="17" y="168"/>
                  </a:lnTo>
                  <a:lnTo>
                    <a:pt x="21" y="168"/>
                  </a:lnTo>
                  <a:lnTo>
                    <a:pt x="21" y="168"/>
                  </a:lnTo>
                  <a:lnTo>
                    <a:pt x="28" y="171"/>
                  </a:lnTo>
                  <a:lnTo>
                    <a:pt x="34" y="174"/>
                  </a:lnTo>
                  <a:lnTo>
                    <a:pt x="34" y="174"/>
                  </a:lnTo>
                  <a:lnTo>
                    <a:pt x="44" y="180"/>
                  </a:lnTo>
                  <a:lnTo>
                    <a:pt x="48" y="181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54" y="181"/>
                  </a:lnTo>
                  <a:lnTo>
                    <a:pt x="63" y="180"/>
                  </a:lnTo>
                  <a:lnTo>
                    <a:pt x="71" y="177"/>
                  </a:lnTo>
                  <a:lnTo>
                    <a:pt x="78" y="171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91" y="161"/>
                  </a:lnTo>
                  <a:lnTo>
                    <a:pt x="93" y="161"/>
                  </a:lnTo>
                  <a:lnTo>
                    <a:pt x="95" y="161"/>
                  </a:lnTo>
                  <a:lnTo>
                    <a:pt x="97" y="163"/>
                  </a:lnTo>
                  <a:lnTo>
                    <a:pt x="97" y="163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5" y="161"/>
                  </a:lnTo>
                  <a:lnTo>
                    <a:pt x="107" y="158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1" y="150"/>
                  </a:lnTo>
                  <a:lnTo>
                    <a:pt x="114" y="147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31" y="137"/>
                  </a:lnTo>
                  <a:lnTo>
                    <a:pt x="131" y="137"/>
                  </a:lnTo>
                  <a:lnTo>
                    <a:pt x="141" y="130"/>
                  </a:lnTo>
                  <a:lnTo>
                    <a:pt x="144" y="126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51" y="118"/>
                  </a:lnTo>
                  <a:lnTo>
                    <a:pt x="155" y="114"/>
                  </a:lnTo>
                  <a:lnTo>
                    <a:pt x="168" y="108"/>
                  </a:lnTo>
                  <a:lnTo>
                    <a:pt x="168" y="108"/>
                  </a:lnTo>
                  <a:lnTo>
                    <a:pt x="175" y="104"/>
                  </a:lnTo>
                  <a:lnTo>
                    <a:pt x="181" y="101"/>
                  </a:lnTo>
                  <a:lnTo>
                    <a:pt x="181" y="101"/>
                  </a:lnTo>
                  <a:lnTo>
                    <a:pt x="185" y="100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11" y="101"/>
                  </a:lnTo>
                  <a:lnTo>
                    <a:pt x="214" y="100"/>
                  </a:lnTo>
                  <a:lnTo>
                    <a:pt x="214" y="100"/>
                  </a:lnTo>
                  <a:lnTo>
                    <a:pt x="214" y="98"/>
                  </a:lnTo>
                  <a:lnTo>
                    <a:pt x="214" y="96"/>
                  </a:lnTo>
                  <a:lnTo>
                    <a:pt x="213" y="91"/>
                  </a:lnTo>
                  <a:lnTo>
                    <a:pt x="213" y="91"/>
                  </a:lnTo>
                  <a:lnTo>
                    <a:pt x="211" y="88"/>
                  </a:lnTo>
                  <a:lnTo>
                    <a:pt x="211" y="88"/>
                  </a:lnTo>
                  <a:lnTo>
                    <a:pt x="210" y="87"/>
                  </a:lnTo>
                  <a:lnTo>
                    <a:pt x="210" y="87"/>
                  </a:lnTo>
                  <a:lnTo>
                    <a:pt x="213" y="84"/>
                  </a:lnTo>
                  <a:lnTo>
                    <a:pt x="215" y="83"/>
                  </a:lnTo>
                  <a:lnTo>
                    <a:pt x="224" y="78"/>
                  </a:lnTo>
                  <a:lnTo>
                    <a:pt x="228" y="77"/>
                  </a:lnTo>
                  <a:lnTo>
                    <a:pt x="228" y="77"/>
                  </a:lnTo>
                  <a:lnTo>
                    <a:pt x="234" y="74"/>
                  </a:lnTo>
                  <a:lnTo>
                    <a:pt x="234" y="74"/>
                  </a:lnTo>
                  <a:lnTo>
                    <a:pt x="240" y="73"/>
                  </a:lnTo>
                  <a:lnTo>
                    <a:pt x="243" y="70"/>
                  </a:lnTo>
                  <a:lnTo>
                    <a:pt x="245" y="66"/>
                  </a:lnTo>
                  <a:lnTo>
                    <a:pt x="245" y="66"/>
                  </a:lnTo>
                  <a:lnTo>
                    <a:pt x="250" y="61"/>
                  </a:lnTo>
                  <a:lnTo>
                    <a:pt x="254" y="57"/>
                  </a:lnTo>
                  <a:lnTo>
                    <a:pt x="265" y="51"/>
                  </a:lnTo>
                  <a:lnTo>
                    <a:pt x="265" y="51"/>
                  </a:lnTo>
                  <a:lnTo>
                    <a:pt x="274" y="46"/>
                  </a:lnTo>
                  <a:lnTo>
                    <a:pt x="274" y="46"/>
                  </a:lnTo>
                  <a:lnTo>
                    <a:pt x="277" y="43"/>
                  </a:lnTo>
                  <a:lnTo>
                    <a:pt x="278" y="43"/>
                  </a:lnTo>
                  <a:lnTo>
                    <a:pt x="278" y="43"/>
                  </a:lnTo>
                  <a:lnTo>
                    <a:pt x="284" y="38"/>
                  </a:lnTo>
                  <a:lnTo>
                    <a:pt x="285" y="36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7" y="28"/>
                  </a:lnTo>
                  <a:lnTo>
                    <a:pt x="288" y="27"/>
                  </a:lnTo>
                  <a:lnTo>
                    <a:pt x="294" y="26"/>
                  </a:lnTo>
                  <a:lnTo>
                    <a:pt x="294" y="26"/>
                  </a:lnTo>
                  <a:lnTo>
                    <a:pt x="297" y="24"/>
                  </a:lnTo>
                  <a:lnTo>
                    <a:pt x="300" y="23"/>
                  </a:lnTo>
                  <a:lnTo>
                    <a:pt x="300" y="23"/>
                  </a:lnTo>
                  <a:lnTo>
                    <a:pt x="300" y="18"/>
                  </a:lnTo>
                  <a:lnTo>
                    <a:pt x="300" y="15"/>
                  </a:lnTo>
                  <a:lnTo>
                    <a:pt x="297" y="13"/>
                  </a:lnTo>
                  <a:lnTo>
                    <a:pt x="29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97" name="Freeform 188"/>
            <p:cNvSpPr>
              <a:spLocks/>
            </p:cNvSpPr>
            <p:nvPr/>
          </p:nvSpPr>
          <p:spPr bwMode="auto">
            <a:xfrm>
              <a:off x="7010400" y="4329113"/>
              <a:ext cx="130175" cy="171450"/>
            </a:xfrm>
            <a:custGeom>
              <a:avLst/>
              <a:gdLst>
                <a:gd name="T0" fmla="*/ 153 w 164"/>
                <a:gd name="T1" fmla="*/ 94 h 216"/>
                <a:gd name="T2" fmla="*/ 127 w 164"/>
                <a:gd name="T3" fmla="*/ 104 h 216"/>
                <a:gd name="T4" fmla="*/ 118 w 164"/>
                <a:gd name="T5" fmla="*/ 105 h 216"/>
                <a:gd name="T6" fmla="*/ 105 w 164"/>
                <a:gd name="T7" fmla="*/ 97 h 216"/>
                <a:gd name="T8" fmla="*/ 108 w 164"/>
                <a:gd name="T9" fmla="*/ 88 h 216"/>
                <a:gd name="T10" fmla="*/ 114 w 164"/>
                <a:gd name="T11" fmla="*/ 71 h 216"/>
                <a:gd name="T12" fmla="*/ 110 w 164"/>
                <a:gd name="T13" fmla="*/ 61 h 216"/>
                <a:gd name="T14" fmla="*/ 104 w 164"/>
                <a:gd name="T15" fmla="*/ 63 h 216"/>
                <a:gd name="T16" fmla="*/ 101 w 164"/>
                <a:gd name="T17" fmla="*/ 71 h 216"/>
                <a:gd name="T18" fmla="*/ 98 w 164"/>
                <a:gd name="T19" fmla="*/ 80 h 216"/>
                <a:gd name="T20" fmla="*/ 93 w 164"/>
                <a:gd name="T21" fmla="*/ 70 h 216"/>
                <a:gd name="T22" fmla="*/ 93 w 164"/>
                <a:gd name="T23" fmla="*/ 68 h 216"/>
                <a:gd name="T24" fmla="*/ 97 w 164"/>
                <a:gd name="T25" fmla="*/ 63 h 216"/>
                <a:gd name="T26" fmla="*/ 98 w 164"/>
                <a:gd name="T27" fmla="*/ 51 h 216"/>
                <a:gd name="T28" fmla="*/ 103 w 164"/>
                <a:gd name="T29" fmla="*/ 38 h 216"/>
                <a:gd name="T30" fmla="*/ 103 w 164"/>
                <a:gd name="T31" fmla="*/ 27 h 216"/>
                <a:gd name="T32" fmla="*/ 98 w 164"/>
                <a:gd name="T33" fmla="*/ 21 h 216"/>
                <a:gd name="T34" fmla="*/ 93 w 164"/>
                <a:gd name="T35" fmla="*/ 17 h 216"/>
                <a:gd name="T36" fmla="*/ 84 w 164"/>
                <a:gd name="T37" fmla="*/ 11 h 216"/>
                <a:gd name="T38" fmla="*/ 87 w 164"/>
                <a:gd name="T39" fmla="*/ 4 h 216"/>
                <a:gd name="T40" fmla="*/ 81 w 164"/>
                <a:gd name="T41" fmla="*/ 0 h 216"/>
                <a:gd name="T42" fmla="*/ 75 w 164"/>
                <a:gd name="T43" fmla="*/ 7 h 216"/>
                <a:gd name="T44" fmla="*/ 74 w 164"/>
                <a:gd name="T45" fmla="*/ 27 h 216"/>
                <a:gd name="T46" fmla="*/ 78 w 164"/>
                <a:gd name="T47" fmla="*/ 32 h 216"/>
                <a:gd name="T48" fmla="*/ 74 w 164"/>
                <a:gd name="T49" fmla="*/ 38 h 216"/>
                <a:gd name="T50" fmla="*/ 78 w 164"/>
                <a:gd name="T51" fmla="*/ 53 h 216"/>
                <a:gd name="T52" fmla="*/ 85 w 164"/>
                <a:gd name="T53" fmla="*/ 57 h 216"/>
                <a:gd name="T54" fmla="*/ 80 w 164"/>
                <a:gd name="T55" fmla="*/ 67 h 216"/>
                <a:gd name="T56" fmla="*/ 78 w 164"/>
                <a:gd name="T57" fmla="*/ 81 h 216"/>
                <a:gd name="T58" fmla="*/ 77 w 164"/>
                <a:gd name="T59" fmla="*/ 83 h 216"/>
                <a:gd name="T60" fmla="*/ 73 w 164"/>
                <a:gd name="T61" fmla="*/ 90 h 216"/>
                <a:gd name="T62" fmla="*/ 70 w 164"/>
                <a:gd name="T63" fmla="*/ 101 h 216"/>
                <a:gd name="T64" fmla="*/ 50 w 164"/>
                <a:gd name="T65" fmla="*/ 121 h 216"/>
                <a:gd name="T66" fmla="*/ 41 w 164"/>
                <a:gd name="T67" fmla="*/ 131 h 216"/>
                <a:gd name="T68" fmla="*/ 20 w 164"/>
                <a:gd name="T69" fmla="*/ 140 h 216"/>
                <a:gd name="T70" fmla="*/ 15 w 164"/>
                <a:gd name="T71" fmla="*/ 151 h 216"/>
                <a:gd name="T72" fmla="*/ 24 w 164"/>
                <a:gd name="T73" fmla="*/ 160 h 216"/>
                <a:gd name="T74" fmla="*/ 28 w 164"/>
                <a:gd name="T75" fmla="*/ 164 h 216"/>
                <a:gd name="T76" fmla="*/ 28 w 164"/>
                <a:gd name="T77" fmla="*/ 173 h 216"/>
                <a:gd name="T78" fmla="*/ 15 w 164"/>
                <a:gd name="T79" fmla="*/ 184 h 216"/>
                <a:gd name="T80" fmla="*/ 0 w 164"/>
                <a:gd name="T81" fmla="*/ 203 h 216"/>
                <a:gd name="T82" fmla="*/ 3 w 164"/>
                <a:gd name="T83" fmla="*/ 213 h 216"/>
                <a:gd name="T84" fmla="*/ 8 w 164"/>
                <a:gd name="T85" fmla="*/ 216 h 216"/>
                <a:gd name="T86" fmla="*/ 27 w 164"/>
                <a:gd name="T87" fmla="*/ 207 h 216"/>
                <a:gd name="T88" fmla="*/ 43 w 164"/>
                <a:gd name="T89" fmla="*/ 194 h 216"/>
                <a:gd name="T90" fmla="*/ 63 w 164"/>
                <a:gd name="T91" fmla="*/ 180 h 216"/>
                <a:gd name="T92" fmla="*/ 88 w 164"/>
                <a:gd name="T93" fmla="*/ 158 h 216"/>
                <a:gd name="T94" fmla="*/ 91 w 164"/>
                <a:gd name="T95" fmla="*/ 147 h 216"/>
                <a:gd name="T96" fmla="*/ 94 w 164"/>
                <a:gd name="T97" fmla="*/ 147 h 216"/>
                <a:gd name="T98" fmla="*/ 100 w 164"/>
                <a:gd name="T99" fmla="*/ 141 h 216"/>
                <a:gd name="T100" fmla="*/ 105 w 164"/>
                <a:gd name="T101" fmla="*/ 140 h 216"/>
                <a:gd name="T102" fmla="*/ 114 w 164"/>
                <a:gd name="T103" fmla="*/ 144 h 216"/>
                <a:gd name="T104" fmla="*/ 124 w 164"/>
                <a:gd name="T105" fmla="*/ 140 h 216"/>
                <a:gd name="T106" fmla="*/ 128 w 164"/>
                <a:gd name="T107" fmla="*/ 133 h 216"/>
                <a:gd name="T108" fmla="*/ 144 w 164"/>
                <a:gd name="T109" fmla="*/ 123 h 216"/>
                <a:gd name="T110" fmla="*/ 157 w 164"/>
                <a:gd name="T111" fmla="*/ 105 h 216"/>
                <a:gd name="T112" fmla="*/ 164 w 164"/>
                <a:gd name="T113" fmla="*/ 100 h 216"/>
                <a:gd name="T114" fmla="*/ 163 w 164"/>
                <a:gd name="T115" fmla="*/ 9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4" h="216">
                  <a:moveTo>
                    <a:pt x="163" y="97"/>
                  </a:moveTo>
                  <a:lnTo>
                    <a:pt x="163" y="97"/>
                  </a:lnTo>
                  <a:lnTo>
                    <a:pt x="158" y="94"/>
                  </a:lnTo>
                  <a:lnTo>
                    <a:pt x="153" y="94"/>
                  </a:lnTo>
                  <a:lnTo>
                    <a:pt x="144" y="97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27" y="104"/>
                  </a:lnTo>
                  <a:lnTo>
                    <a:pt x="121" y="105"/>
                  </a:lnTo>
                  <a:lnTo>
                    <a:pt x="121" y="105"/>
                  </a:lnTo>
                  <a:lnTo>
                    <a:pt x="118" y="105"/>
                  </a:lnTo>
                  <a:lnTo>
                    <a:pt x="118" y="105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05" y="97"/>
                  </a:lnTo>
                  <a:lnTo>
                    <a:pt x="104" y="95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13" y="80"/>
                  </a:lnTo>
                  <a:lnTo>
                    <a:pt x="114" y="75"/>
                  </a:lnTo>
                  <a:lnTo>
                    <a:pt x="114" y="71"/>
                  </a:lnTo>
                  <a:lnTo>
                    <a:pt x="114" y="71"/>
                  </a:lnTo>
                  <a:lnTo>
                    <a:pt x="114" y="67"/>
                  </a:lnTo>
                  <a:lnTo>
                    <a:pt x="111" y="64"/>
                  </a:lnTo>
                  <a:lnTo>
                    <a:pt x="110" y="61"/>
                  </a:lnTo>
                  <a:lnTo>
                    <a:pt x="107" y="61"/>
                  </a:lnTo>
                  <a:lnTo>
                    <a:pt x="107" y="61"/>
                  </a:lnTo>
                  <a:lnTo>
                    <a:pt x="104" y="61"/>
                  </a:lnTo>
                  <a:lnTo>
                    <a:pt x="104" y="63"/>
                  </a:lnTo>
                  <a:lnTo>
                    <a:pt x="103" y="65"/>
                  </a:lnTo>
                  <a:lnTo>
                    <a:pt x="103" y="65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0" y="78"/>
                  </a:lnTo>
                  <a:lnTo>
                    <a:pt x="100" y="80"/>
                  </a:lnTo>
                  <a:lnTo>
                    <a:pt x="98" y="80"/>
                  </a:lnTo>
                  <a:lnTo>
                    <a:pt x="98" y="80"/>
                  </a:lnTo>
                  <a:lnTo>
                    <a:pt x="95" y="80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68"/>
                  </a:lnTo>
                  <a:lnTo>
                    <a:pt x="93" y="68"/>
                  </a:lnTo>
                  <a:lnTo>
                    <a:pt x="93" y="68"/>
                  </a:lnTo>
                  <a:lnTo>
                    <a:pt x="93" y="68"/>
                  </a:lnTo>
                  <a:lnTo>
                    <a:pt x="95" y="67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8" y="60"/>
                  </a:lnTo>
                  <a:lnTo>
                    <a:pt x="98" y="57"/>
                  </a:lnTo>
                  <a:lnTo>
                    <a:pt x="98" y="51"/>
                  </a:lnTo>
                  <a:lnTo>
                    <a:pt x="98" y="51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100" y="44"/>
                  </a:lnTo>
                  <a:lnTo>
                    <a:pt x="103" y="38"/>
                  </a:lnTo>
                  <a:lnTo>
                    <a:pt x="104" y="31"/>
                  </a:lnTo>
                  <a:lnTo>
                    <a:pt x="104" y="28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1"/>
                  </a:lnTo>
                  <a:lnTo>
                    <a:pt x="98" y="21"/>
                  </a:lnTo>
                  <a:lnTo>
                    <a:pt x="98" y="20"/>
                  </a:lnTo>
                  <a:lnTo>
                    <a:pt x="95" y="17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88" y="15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4" y="11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7" y="5"/>
                  </a:lnTo>
                  <a:lnTo>
                    <a:pt x="87" y="4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5" y="7"/>
                  </a:lnTo>
                  <a:lnTo>
                    <a:pt x="74" y="18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7"/>
                  </a:lnTo>
                  <a:lnTo>
                    <a:pt x="75" y="30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4" y="38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5" y="50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83" y="55"/>
                  </a:lnTo>
                  <a:lnTo>
                    <a:pt x="85" y="57"/>
                  </a:lnTo>
                  <a:lnTo>
                    <a:pt x="85" y="57"/>
                  </a:lnTo>
                  <a:lnTo>
                    <a:pt x="85" y="60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78" y="73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4" y="84"/>
                  </a:lnTo>
                  <a:lnTo>
                    <a:pt x="73" y="87"/>
                  </a:lnTo>
                  <a:lnTo>
                    <a:pt x="73" y="90"/>
                  </a:lnTo>
                  <a:lnTo>
                    <a:pt x="73" y="90"/>
                  </a:lnTo>
                  <a:lnTo>
                    <a:pt x="73" y="94"/>
                  </a:lnTo>
                  <a:lnTo>
                    <a:pt x="71" y="97"/>
                  </a:lnTo>
                  <a:lnTo>
                    <a:pt x="70" y="100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61" y="110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44" y="125"/>
                  </a:lnTo>
                  <a:lnTo>
                    <a:pt x="43" y="130"/>
                  </a:lnTo>
                  <a:lnTo>
                    <a:pt x="43" y="130"/>
                  </a:lnTo>
                  <a:lnTo>
                    <a:pt x="41" y="131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23" y="137"/>
                  </a:lnTo>
                  <a:lnTo>
                    <a:pt x="20" y="140"/>
                  </a:lnTo>
                  <a:lnTo>
                    <a:pt x="17" y="143"/>
                  </a:lnTo>
                  <a:lnTo>
                    <a:pt x="17" y="143"/>
                  </a:lnTo>
                  <a:lnTo>
                    <a:pt x="15" y="147"/>
                  </a:lnTo>
                  <a:lnTo>
                    <a:pt x="15" y="151"/>
                  </a:lnTo>
                  <a:lnTo>
                    <a:pt x="15" y="151"/>
                  </a:lnTo>
                  <a:lnTo>
                    <a:pt x="17" y="154"/>
                  </a:lnTo>
                  <a:lnTo>
                    <a:pt x="18" y="157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5" y="161"/>
                  </a:lnTo>
                  <a:lnTo>
                    <a:pt x="25" y="161"/>
                  </a:lnTo>
                  <a:lnTo>
                    <a:pt x="28" y="164"/>
                  </a:lnTo>
                  <a:lnTo>
                    <a:pt x="30" y="167"/>
                  </a:lnTo>
                  <a:lnTo>
                    <a:pt x="30" y="170"/>
                  </a:lnTo>
                  <a:lnTo>
                    <a:pt x="28" y="173"/>
                  </a:lnTo>
                  <a:lnTo>
                    <a:pt x="28" y="173"/>
                  </a:lnTo>
                  <a:lnTo>
                    <a:pt x="24" y="177"/>
                  </a:lnTo>
                  <a:lnTo>
                    <a:pt x="24" y="177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5" y="193"/>
                  </a:lnTo>
                  <a:lnTo>
                    <a:pt x="1" y="197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10"/>
                  </a:lnTo>
                  <a:lnTo>
                    <a:pt x="1" y="211"/>
                  </a:lnTo>
                  <a:lnTo>
                    <a:pt x="3" y="213"/>
                  </a:lnTo>
                  <a:lnTo>
                    <a:pt x="3" y="213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14" y="214"/>
                  </a:lnTo>
                  <a:lnTo>
                    <a:pt x="20" y="211"/>
                  </a:lnTo>
                  <a:lnTo>
                    <a:pt x="20" y="211"/>
                  </a:lnTo>
                  <a:lnTo>
                    <a:pt x="27" y="207"/>
                  </a:lnTo>
                  <a:lnTo>
                    <a:pt x="27" y="207"/>
                  </a:lnTo>
                  <a:lnTo>
                    <a:pt x="35" y="201"/>
                  </a:lnTo>
                  <a:lnTo>
                    <a:pt x="43" y="194"/>
                  </a:lnTo>
                  <a:lnTo>
                    <a:pt x="43" y="194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71" y="175"/>
                  </a:lnTo>
                  <a:lnTo>
                    <a:pt x="80" y="170"/>
                  </a:lnTo>
                  <a:lnTo>
                    <a:pt x="85" y="163"/>
                  </a:lnTo>
                  <a:lnTo>
                    <a:pt x="88" y="158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90" y="148"/>
                  </a:lnTo>
                  <a:lnTo>
                    <a:pt x="91" y="147"/>
                  </a:lnTo>
                  <a:lnTo>
                    <a:pt x="91" y="147"/>
                  </a:lnTo>
                  <a:lnTo>
                    <a:pt x="91" y="147"/>
                  </a:lnTo>
                  <a:lnTo>
                    <a:pt x="91" y="147"/>
                  </a:lnTo>
                  <a:lnTo>
                    <a:pt x="94" y="147"/>
                  </a:lnTo>
                  <a:lnTo>
                    <a:pt x="94" y="147"/>
                  </a:lnTo>
                  <a:lnTo>
                    <a:pt x="95" y="147"/>
                  </a:lnTo>
                  <a:lnTo>
                    <a:pt x="98" y="145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1" y="140"/>
                  </a:lnTo>
                  <a:lnTo>
                    <a:pt x="105" y="140"/>
                  </a:lnTo>
                  <a:lnTo>
                    <a:pt x="105" y="140"/>
                  </a:lnTo>
                  <a:lnTo>
                    <a:pt x="108" y="140"/>
                  </a:lnTo>
                  <a:lnTo>
                    <a:pt x="110" y="141"/>
                  </a:lnTo>
                  <a:lnTo>
                    <a:pt x="110" y="141"/>
                  </a:lnTo>
                  <a:lnTo>
                    <a:pt x="114" y="144"/>
                  </a:lnTo>
                  <a:lnTo>
                    <a:pt x="118" y="145"/>
                  </a:lnTo>
                  <a:lnTo>
                    <a:pt x="118" y="145"/>
                  </a:lnTo>
                  <a:lnTo>
                    <a:pt x="121" y="144"/>
                  </a:lnTo>
                  <a:lnTo>
                    <a:pt x="124" y="140"/>
                  </a:lnTo>
                  <a:lnTo>
                    <a:pt x="124" y="140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8" y="133"/>
                  </a:lnTo>
                  <a:lnTo>
                    <a:pt x="133" y="130"/>
                  </a:lnTo>
                  <a:lnTo>
                    <a:pt x="133" y="130"/>
                  </a:lnTo>
                  <a:lnTo>
                    <a:pt x="138" y="127"/>
                  </a:lnTo>
                  <a:lnTo>
                    <a:pt x="144" y="123"/>
                  </a:lnTo>
                  <a:lnTo>
                    <a:pt x="148" y="118"/>
                  </a:lnTo>
                  <a:lnTo>
                    <a:pt x="154" y="111"/>
                  </a:lnTo>
                  <a:lnTo>
                    <a:pt x="154" y="111"/>
                  </a:lnTo>
                  <a:lnTo>
                    <a:pt x="157" y="105"/>
                  </a:lnTo>
                  <a:lnTo>
                    <a:pt x="160" y="104"/>
                  </a:lnTo>
                  <a:lnTo>
                    <a:pt x="160" y="104"/>
                  </a:lnTo>
                  <a:lnTo>
                    <a:pt x="163" y="103"/>
                  </a:lnTo>
                  <a:lnTo>
                    <a:pt x="164" y="100"/>
                  </a:lnTo>
                  <a:lnTo>
                    <a:pt x="164" y="100"/>
                  </a:lnTo>
                  <a:lnTo>
                    <a:pt x="164" y="98"/>
                  </a:lnTo>
                  <a:lnTo>
                    <a:pt x="163" y="97"/>
                  </a:lnTo>
                  <a:lnTo>
                    <a:pt x="163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98" name="Freeform 189"/>
            <p:cNvSpPr>
              <a:spLocks/>
            </p:cNvSpPr>
            <p:nvPr/>
          </p:nvSpPr>
          <p:spPr bwMode="auto">
            <a:xfrm>
              <a:off x="6388100" y="3532188"/>
              <a:ext cx="400050" cy="246062"/>
            </a:xfrm>
            <a:custGeom>
              <a:avLst/>
              <a:gdLst>
                <a:gd name="T0" fmla="*/ 32 w 505"/>
                <a:gd name="T1" fmla="*/ 13 h 309"/>
                <a:gd name="T2" fmla="*/ 19 w 505"/>
                <a:gd name="T3" fmla="*/ 23 h 309"/>
                <a:gd name="T4" fmla="*/ 5 w 505"/>
                <a:gd name="T5" fmla="*/ 13 h 309"/>
                <a:gd name="T6" fmla="*/ 5 w 505"/>
                <a:gd name="T7" fmla="*/ 26 h 309"/>
                <a:gd name="T8" fmla="*/ 33 w 505"/>
                <a:gd name="T9" fmla="*/ 38 h 309"/>
                <a:gd name="T10" fmla="*/ 61 w 505"/>
                <a:gd name="T11" fmla="*/ 60 h 309"/>
                <a:gd name="T12" fmla="*/ 88 w 505"/>
                <a:gd name="T13" fmla="*/ 60 h 309"/>
                <a:gd name="T14" fmla="*/ 69 w 505"/>
                <a:gd name="T15" fmla="*/ 61 h 309"/>
                <a:gd name="T16" fmla="*/ 43 w 505"/>
                <a:gd name="T17" fmla="*/ 73 h 309"/>
                <a:gd name="T18" fmla="*/ 59 w 505"/>
                <a:gd name="T19" fmla="*/ 87 h 309"/>
                <a:gd name="T20" fmla="*/ 55 w 505"/>
                <a:gd name="T21" fmla="*/ 106 h 309"/>
                <a:gd name="T22" fmla="*/ 78 w 505"/>
                <a:gd name="T23" fmla="*/ 104 h 309"/>
                <a:gd name="T24" fmla="*/ 101 w 505"/>
                <a:gd name="T25" fmla="*/ 111 h 309"/>
                <a:gd name="T26" fmla="*/ 136 w 505"/>
                <a:gd name="T27" fmla="*/ 126 h 309"/>
                <a:gd name="T28" fmla="*/ 183 w 505"/>
                <a:gd name="T29" fmla="*/ 146 h 309"/>
                <a:gd name="T30" fmla="*/ 208 w 505"/>
                <a:gd name="T31" fmla="*/ 193 h 309"/>
                <a:gd name="T32" fmla="*/ 189 w 505"/>
                <a:gd name="T33" fmla="*/ 207 h 309"/>
                <a:gd name="T34" fmla="*/ 173 w 505"/>
                <a:gd name="T35" fmla="*/ 240 h 309"/>
                <a:gd name="T36" fmla="*/ 212 w 505"/>
                <a:gd name="T37" fmla="*/ 234 h 309"/>
                <a:gd name="T38" fmla="*/ 233 w 505"/>
                <a:gd name="T39" fmla="*/ 233 h 309"/>
                <a:gd name="T40" fmla="*/ 269 w 505"/>
                <a:gd name="T41" fmla="*/ 269 h 309"/>
                <a:gd name="T42" fmla="*/ 298 w 505"/>
                <a:gd name="T43" fmla="*/ 270 h 309"/>
                <a:gd name="T44" fmla="*/ 326 w 505"/>
                <a:gd name="T45" fmla="*/ 254 h 309"/>
                <a:gd name="T46" fmla="*/ 306 w 505"/>
                <a:gd name="T47" fmla="*/ 237 h 309"/>
                <a:gd name="T48" fmla="*/ 338 w 505"/>
                <a:gd name="T49" fmla="*/ 223 h 309"/>
                <a:gd name="T50" fmla="*/ 356 w 505"/>
                <a:gd name="T51" fmla="*/ 219 h 309"/>
                <a:gd name="T52" fmla="*/ 381 w 505"/>
                <a:gd name="T53" fmla="*/ 232 h 309"/>
                <a:gd name="T54" fmla="*/ 406 w 505"/>
                <a:gd name="T55" fmla="*/ 263 h 309"/>
                <a:gd name="T56" fmla="*/ 421 w 505"/>
                <a:gd name="T57" fmla="*/ 282 h 309"/>
                <a:gd name="T58" fmla="*/ 434 w 505"/>
                <a:gd name="T59" fmla="*/ 296 h 309"/>
                <a:gd name="T60" fmla="*/ 451 w 505"/>
                <a:gd name="T61" fmla="*/ 302 h 309"/>
                <a:gd name="T62" fmla="*/ 482 w 505"/>
                <a:gd name="T63" fmla="*/ 304 h 309"/>
                <a:gd name="T64" fmla="*/ 501 w 505"/>
                <a:gd name="T65" fmla="*/ 307 h 309"/>
                <a:gd name="T66" fmla="*/ 496 w 505"/>
                <a:gd name="T67" fmla="*/ 289 h 309"/>
                <a:gd name="T68" fmla="*/ 486 w 505"/>
                <a:gd name="T69" fmla="*/ 276 h 309"/>
                <a:gd name="T70" fmla="*/ 472 w 505"/>
                <a:gd name="T71" fmla="*/ 272 h 309"/>
                <a:gd name="T72" fmla="*/ 458 w 505"/>
                <a:gd name="T73" fmla="*/ 259 h 309"/>
                <a:gd name="T74" fmla="*/ 452 w 505"/>
                <a:gd name="T75" fmla="*/ 229 h 309"/>
                <a:gd name="T76" fmla="*/ 425 w 505"/>
                <a:gd name="T77" fmla="*/ 206 h 309"/>
                <a:gd name="T78" fmla="*/ 444 w 505"/>
                <a:gd name="T79" fmla="*/ 193 h 309"/>
                <a:gd name="T80" fmla="*/ 436 w 505"/>
                <a:gd name="T81" fmla="*/ 170 h 309"/>
                <a:gd name="T82" fmla="*/ 396 w 505"/>
                <a:gd name="T83" fmla="*/ 151 h 309"/>
                <a:gd name="T84" fmla="*/ 393 w 505"/>
                <a:gd name="T85" fmla="*/ 141 h 309"/>
                <a:gd name="T86" fmla="*/ 391 w 505"/>
                <a:gd name="T87" fmla="*/ 124 h 309"/>
                <a:gd name="T88" fmla="*/ 373 w 505"/>
                <a:gd name="T89" fmla="*/ 111 h 309"/>
                <a:gd name="T90" fmla="*/ 342 w 505"/>
                <a:gd name="T91" fmla="*/ 93 h 309"/>
                <a:gd name="T92" fmla="*/ 305 w 505"/>
                <a:gd name="T93" fmla="*/ 81 h 309"/>
                <a:gd name="T94" fmla="*/ 272 w 505"/>
                <a:gd name="T95" fmla="*/ 67 h 309"/>
                <a:gd name="T96" fmla="*/ 228 w 505"/>
                <a:gd name="T97" fmla="*/ 53 h 309"/>
                <a:gd name="T98" fmla="*/ 182 w 505"/>
                <a:gd name="T99" fmla="*/ 40 h 309"/>
                <a:gd name="T100" fmla="*/ 172 w 505"/>
                <a:gd name="T101" fmla="*/ 50 h 309"/>
                <a:gd name="T102" fmla="*/ 149 w 505"/>
                <a:gd name="T103" fmla="*/ 60 h 309"/>
                <a:gd name="T104" fmla="*/ 142 w 505"/>
                <a:gd name="T105" fmla="*/ 71 h 309"/>
                <a:gd name="T106" fmla="*/ 129 w 505"/>
                <a:gd name="T107" fmla="*/ 89 h 309"/>
                <a:gd name="T108" fmla="*/ 105 w 505"/>
                <a:gd name="T109" fmla="*/ 74 h 309"/>
                <a:gd name="T110" fmla="*/ 102 w 505"/>
                <a:gd name="T111" fmla="*/ 43 h 309"/>
                <a:gd name="T112" fmla="*/ 99 w 505"/>
                <a:gd name="T113" fmla="*/ 14 h 309"/>
                <a:gd name="T114" fmla="*/ 73 w 505"/>
                <a:gd name="T115" fmla="*/ 7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05" h="309">
                  <a:moveTo>
                    <a:pt x="53" y="0"/>
                  </a:moveTo>
                  <a:lnTo>
                    <a:pt x="53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5" y="1"/>
                  </a:lnTo>
                  <a:lnTo>
                    <a:pt x="42" y="3"/>
                  </a:lnTo>
                  <a:lnTo>
                    <a:pt x="40" y="6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6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3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6" y="28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4"/>
                  </a:lnTo>
                  <a:lnTo>
                    <a:pt x="13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9" y="37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6" y="41"/>
                  </a:lnTo>
                  <a:lnTo>
                    <a:pt x="39" y="44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7"/>
                  </a:lnTo>
                  <a:lnTo>
                    <a:pt x="46" y="58"/>
                  </a:lnTo>
                  <a:lnTo>
                    <a:pt x="52" y="60"/>
                  </a:lnTo>
                  <a:lnTo>
                    <a:pt x="61" y="60"/>
                  </a:lnTo>
                  <a:lnTo>
                    <a:pt x="61" y="60"/>
                  </a:lnTo>
                  <a:lnTo>
                    <a:pt x="72" y="60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6" y="61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5" y="63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3" y="66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5" y="73"/>
                  </a:lnTo>
                  <a:lnTo>
                    <a:pt x="55" y="73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39" y="77"/>
                  </a:lnTo>
                  <a:lnTo>
                    <a:pt x="39" y="77"/>
                  </a:lnTo>
                  <a:lnTo>
                    <a:pt x="40" y="80"/>
                  </a:lnTo>
                  <a:lnTo>
                    <a:pt x="42" y="83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3" y="86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62" y="89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3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6" y="99"/>
                  </a:lnTo>
                  <a:lnTo>
                    <a:pt x="55" y="103"/>
                  </a:lnTo>
                  <a:lnTo>
                    <a:pt x="55" y="106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8" y="111"/>
                  </a:lnTo>
                  <a:lnTo>
                    <a:pt x="59" y="114"/>
                  </a:lnTo>
                  <a:lnTo>
                    <a:pt x="65" y="116"/>
                  </a:lnTo>
                  <a:lnTo>
                    <a:pt x="65" y="116"/>
                  </a:lnTo>
                  <a:lnTo>
                    <a:pt x="68" y="114"/>
                  </a:lnTo>
                  <a:lnTo>
                    <a:pt x="71" y="114"/>
                  </a:lnTo>
                  <a:lnTo>
                    <a:pt x="75" y="109"/>
                  </a:lnTo>
                  <a:lnTo>
                    <a:pt x="75" y="109"/>
                  </a:lnTo>
                  <a:lnTo>
                    <a:pt x="78" y="104"/>
                  </a:lnTo>
                  <a:lnTo>
                    <a:pt x="78" y="104"/>
                  </a:lnTo>
                  <a:lnTo>
                    <a:pt x="78" y="104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83" y="100"/>
                  </a:lnTo>
                  <a:lnTo>
                    <a:pt x="86" y="103"/>
                  </a:lnTo>
                  <a:lnTo>
                    <a:pt x="91" y="106"/>
                  </a:lnTo>
                  <a:lnTo>
                    <a:pt x="95" y="107"/>
                  </a:lnTo>
                  <a:lnTo>
                    <a:pt x="95" y="107"/>
                  </a:lnTo>
                  <a:lnTo>
                    <a:pt x="98" y="109"/>
                  </a:lnTo>
                  <a:lnTo>
                    <a:pt x="101" y="111"/>
                  </a:lnTo>
                  <a:lnTo>
                    <a:pt x="108" y="119"/>
                  </a:lnTo>
                  <a:lnTo>
                    <a:pt x="108" y="119"/>
                  </a:lnTo>
                  <a:lnTo>
                    <a:pt x="116" y="127"/>
                  </a:lnTo>
                  <a:lnTo>
                    <a:pt x="116" y="127"/>
                  </a:lnTo>
                  <a:lnTo>
                    <a:pt x="119" y="129"/>
                  </a:lnTo>
                  <a:lnTo>
                    <a:pt x="122" y="129"/>
                  </a:lnTo>
                  <a:lnTo>
                    <a:pt x="122" y="129"/>
                  </a:lnTo>
                  <a:lnTo>
                    <a:pt x="126" y="127"/>
                  </a:lnTo>
                  <a:lnTo>
                    <a:pt x="131" y="127"/>
                  </a:lnTo>
                  <a:lnTo>
                    <a:pt x="131" y="127"/>
                  </a:lnTo>
                  <a:lnTo>
                    <a:pt x="136" y="126"/>
                  </a:lnTo>
                  <a:lnTo>
                    <a:pt x="136" y="126"/>
                  </a:lnTo>
                  <a:lnTo>
                    <a:pt x="138" y="126"/>
                  </a:lnTo>
                  <a:lnTo>
                    <a:pt x="138" y="126"/>
                  </a:lnTo>
                  <a:lnTo>
                    <a:pt x="138" y="129"/>
                  </a:lnTo>
                  <a:lnTo>
                    <a:pt x="141" y="130"/>
                  </a:lnTo>
                  <a:lnTo>
                    <a:pt x="148" y="134"/>
                  </a:lnTo>
                  <a:lnTo>
                    <a:pt x="159" y="139"/>
                  </a:lnTo>
                  <a:lnTo>
                    <a:pt x="173" y="141"/>
                  </a:lnTo>
                  <a:lnTo>
                    <a:pt x="173" y="141"/>
                  </a:lnTo>
                  <a:lnTo>
                    <a:pt x="179" y="143"/>
                  </a:lnTo>
                  <a:lnTo>
                    <a:pt x="183" y="146"/>
                  </a:lnTo>
                  <a:lnTo>
                    <a:pt x="191" y="150"/>
                  </a:lnTo>
                  <a:lnTo>
                    <a:pt x="193" y="156"/>
                  </a:lnTo>
                  <a:lnTo>
                    <a:pt x="195" y="160"/>
                  </a:lnTo>
                  <a:lnTo>
                    <a:pt x="195" y="160"/>
                  </a:lnTo>
                  <a:lnTo>
                    <a:pt x="195" y="167"/>
                  </a:lnTo>
                  <a:lnTo>
                    <a:pt x="196" y="176"/>
                  </a:lnTo>
                  <a:lnTo>
                    <a:pt x="199" y="184"/>
                  </a:lnTo>
                  <a:lnTo>
                    <a:pt x="205" y="190"/>
                  </a:lnTo>
                  <a:lnTo>
                    <a:pt x="205" y="190"/>
                  </a:lnTo>
                  <a:lnTo>
                    <a:pt x="208" y="193"/>
                  </a:lnTo>
                  <a:lnTo>
                    <a:pt x="208" y="193"/>
                  </a:lnTo>
                  <a:lnTo>
                    <a:pt x="206" y="196"/>
                  </a:lnTo>
                  <a:lnTo>
                    <a:pt x="202" y="201"/>
                  </a:lnTo>
                  <a:lnTo>
                    <a:pt x="199" y="204"/>
                  </a:lnTo>
                  <a:lnTo>
                    <a:pt x="199" y="204"/>
                  </a:lnTo>
                  <a:lnTo>
                    <a:pt x="196" y="207"/>
                  </a:lnTo>
                  <a:lnTo>
                    <a:pt x="195" y="207"/>
                  </a:lnTo>
                  <a:lnTo>
                    <a:pt x="195" y="207"/>
                  </a:lnTo>
                  <a:lnTo>
                    <a:pt x="192" y="207"/>
                  </a:lnTo>
                  <a:lnTo>
                    <a:pt x="192" y="207"/>
                  </a:lnTo>
                  <a:lnTo>
                    <a:pt x="189" y="207"/>
                  </a:lnTo>
                  <a:lnTo>
                    <a:pt x="189" y="207"/>
                  </a:lnTo>
                  <a:lnTo>
                    <a:pt x="186" y="207"/>
                  </a:lnTo>
                  <a:lnTo>
                    <a:pt x="185" y="209"/>
                  </a:lnTo>
                  <a:lnTo>
                    <a:pt x="182" y="214"/>
                  </a:lnTo>
                  <a:lnTo>
                    <a:pt x="182" y="214"/>
                  </a:lnTo>
                  <a:lnTo>
                    <a:pt x="179" y="223"/>
                  </a:lnTo>
                  <a:lnTo>
                    <a:pt x="175" y="230"/>
                  </a:lnTo>
                  <a:lnTo>
                    <a:pt x="175" y="230"/>
                  </a:lnTo>
                  <a:lnTo>
                    <a:pt x="172" y="234"/>
                  </a:lnTo>
                  <a:lnTo>
                    <a:pt x="172" y="237"/>
                  </a:lnTo>
                  <a:lnTo>
                    <a:pt x="173" y="240"/>
                  </a:lnTo>
                  <a:lnTo>
                    <a:pt x="173" y="240"/>
                  </a:lnTo>
                  <a:lnTo>
                    <a:pt x="176" y="243"/>
                  </a:lnTo>
                  <a:lnTo>
                    <a:pt x="181" y="244"/>
                  </a:lnTo>
                  <a:lnTo>
                    <a:pt x="188" y="244"/>
                  </a:lnTo>
                  <a:lnTo>
                    <a:pt x="188" y="244"/>
                  </a:lnTo>
                  <a:lnTo>
                    <a:pt x="198" y="243"/>
                  </a:lnTo>
                  <a:lnTo>
                    <a:pt x="202" y="242"/>
                  </a:lnTo>
                  <a:lnTo>
                    <a:pt x="206" y="240"/>
                  </a:lnTo>
                  <a:lnTo>
                    <a:pt x="206" y="240"/>
                  </a:lnTo>
                  <a:lnTo>
                    <a:pt x="211" y="236"/>
                  </a:lnTo>
                  <a:lnTo>
                    <a:pt x="211" y="236"/>
                  </a:lnTo>
                  <a:lnTo>
                    <a:pt x="212" y="234"/>
                  </a:lnTo>
                  <a:lnTo>
                    <a:pt x="212" y="234"/>
                  </a:lnTo>
                  <a:lnTo>
                    <a:pt x="213" y="236"/>
                  </a:lnTo>
                  <a:lnTo>
                    <a:pt x="213" y="236"/>
                  </a:lnTo>
                  <a:lnTo>
                    <a:pt x="215" y="237"/>
                  </a:lnTo>
                  <a:lnTo>
                    <a:pt x="218" y="237"/>
                  </a:lnTo>
                  <a:lnTo>
                    <a:pt x="218" y="237"/>
                  </a:lnTo>
                  <a:lnTo>
                    <a:pt x="222" y="237"/>
                  </a:lnTo>
                  <a:lnTo>
                    <a:pt x="225" y="236"/>
                  </a:lnTo>
                  <a:lnTo>
                    <a:pt x="225" y="236"/>
                  </a:lnTo>
                  <a:lnTo>
                    <a:pt x="229" y="233"/>
                  </a:lnTo>
                  <a:lnTo>
                    <a:pt x="233" y="233"/>
                  </a:lnTo>
                  <a:lnTo>
                    <a:pt x="233" y="233"/>
                  </a:lnTo>
                  <a:lnTo>
                    <a:pt x="236" y="234"/>
                  </a:lnTo>
                  <a:lnTo>
                    <a:pt x="239" y="239"/>
                  </a:lnTo>
                  <a:lnTo>
                    <a:pt x="246" y="247"/>
                  </a:lnTo>
                  <a:lnTo>
                    <a:pt x="246" y="247"/>
                  </a:lnTo>
                  <a:lnTo>
                    <a:pt x="252" y="257"/>
                  </a:lnTo>
                  <a:lnTo>
                    <a:pt x="258" y="264"/>
                  </a:lnTo>
                  <a:lnTo>
                    <a:pt x="258" y="264"/>
                  </a:lnTo>
                  <a:lnTo>
                    <a:pt x="262" y="267"/>
                  </a:lnTo>
                  <a:lnTo>
                    <a:pt x="269" y="269"/>
                  </a:lnTo>
                  <a:lnTo>
                    <a:pt x="269" y="269"/>
                  </a:lnTo>
                  <a:lnTo>
                    <a:pt x="273" y="269"/>
                  </a:lnTo>
                  <a:lnTo>
                    <a:pt x="279" y="267"/>
                  </a:lnTo>
                  <a:lnTo>
                    <a:pt x="279" y="267"/>
                  </a:lnTo>
                  <a:lnTo>
                    <a:pt x="283" y="266"/>
                  </a:lnTo>
                  <a:lnTo>
                    <a:pt x="288" y="264"/>
                  </a:lnTo>
                  <a:lnTo>
                    <a:pt x="288" y="264"/>
                  </a:lnTo>
                  <a:lnTo>
                    <a:pt x="288" y="264"/>
                  </a:lnTo>
                  <a:lnTo>
                    <a:pt x="292" y="266"/>
                  </a:lnTo>
                  <a:lnTo>
                    <a:pt x="295" y="267"/>
                  </a:lnTo>
                  <a:lnTo>
                    <a:pt x="295" y="267"/>
                  </a:lnTo>
                  <a:lnTo>
                    <a:pt x="298" y="270"/>
                  </a:lnTo>
                  <a:lnTo>
                    <a:pt x="301" y="270"/>
                  </a:lnTo>
                  <a:lnTo>
                    <a:pt x="303" y="270"/>
                  </a:lnTo>
                  <a:lnTo>
                    <a:pt x="303" y="270"/>
                  </a:lnTo>
                  <a:lnTo>
                    <a:pt x="308" y="269"/>
                  </a:lnTo>
                  <a:lnTo>
                    <a:pt x="311" y="266"/>
                  </a:lnTo>
                  <a:lnTo>
                    <a:pt x="311" y="266"/>
                  </a:lnTo>
                  <a:lnTo>
                    <a:pt x="312" y="264"/>
                  </a:lnTo>
                  <a:lnTo>
                    <a:pt x="318" y="262"/>
                  </a:lnTo>
                  <a:lnTo>
                    <a:pt x="318" y="262"/>
                  </a:lnTo>
                  <a:lnTo>
                    <a:pt x="323" y="257"/>
                  </a:lnTo>
                  <a:lnTo>
                    <a:pt x="326" y="254"/>
                  </a:lnTo>
                  <a:lnTo>
                    <a:pt x="326" y="254"/>
                  </a:lnTo>
                  <a:lnTo>
                    <a:pt x="326" y="252"/>
                  </a:lnTo>
                  <a:lnTo>
                    <a:pt x="326" y="250"/>
                  </a:lnTo>
                  <a:lnTo>
                    <a:pt x="323" y="246"/>
                  </a:lnTo>
                  <a:lnTo>
                    <a:pt x="323" y="246"/>
                  </a:lnTo>
                  <a:lnTo>
                    <a:pt x="316" y="242"/>
                  </a:lnTo>
                  <a:lnTo>
                    <a:pt x="311" y="239"/>
                  </a:lnTo>
                  <a:lnTo>
                    <a:pt x="305" y="239"/>
                  </a:lnTo>
                  <a:lnTo>
                    <a:pt x="305" y="239"/>
                  </a:lnTo>
                  <a:lnTo>
                    <a:pt x="306" y="237"/>
                  </a:lnTo>
                  <a:lnTo>
                    <a:pt x="306" y="237"/>
                  </a:lnTo>
                  <a:lnTo>
                    <a:pt x="321" y="236"/>
                  </a:lnTo>
                  <a:lnTo>
                    <a:pt x="326" y="234"/>
                  </a:lnTo>
                  <a:lnTo>
                    <a:pt x="329" y="230"/>
                  </a:lnTo>
                  <a:lnTo>
                    <a:pt x="329" y="230"/>
                  </a:lnTo>
                  <a:lnTo>
                    <a:pt x="332" y="232"/>
                  </a:lnTo>
                  <a:lnTo>
                    <a:pt x="332" y="232"/>
                  </a:lnTo>
                  <a:lnTo>
                    <a:pt x="335" y="230"/>
                  </a:lnTo>
                  <a:lnTo>
                    <a:pt x="336" y="229"/>
                  </a:lnTo>
                  <a:lnTo>
                    <a:pt x="338" y="226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43" y="224"/>
                  </a:lnTo>
                  <a:lnTo>
                    <a:pt x="343" y="224"/>
                  </a:lnTo>
                  <a:lnTo>
                    <a:pt x="346" y="226"/>
                  </a:lnTo>
                  <a:lnTo>
                    <a:pt x="346" y="226"/>
                  </a:lnTo>
                  <a:lnTo>
                    <a:pt x="349" y="226"/>
                  </a:lnTo>
                  <a:lnTo>
                    <a:pt x="352" y="224"/>
                  </a:lnTo>
                  <a:lnTo>
                    <a:pt x="353" y="221"/>
                  </a:lnTo>
                  <a:lnTo>
                    <a:pt x="353" y="221"/>
                  </a:lnTo>
                  <a:lnTo>
                    <a:pt x="356" y="219"/>
                  </a:lnTo>
                  <a:lnTo>
                    <a:pt x="356" y="219"/>
                  </a:lnTo>
                  <a:lnTo>
                    <a:pt x="356" y="219"/>
                  </a:lnTo>
                  <a:lnTo>
                    <a:pt x="356" y="219"/>
                  </a:lnTo>
                  <a:lnTo>
                    <a:pt x="361" y="220"/>
                  </a:lnTo>
                  <a:lnTo>
                    <a:pt x="365" y="221"/>
                  </a:lnTo>
                  <a:lnTo>
                    <a:pt x="369" y="224"/>
                  </a:lnTo>
                  <a:lnTo>
                    <a:pt x="373" y="227"/>
                  </a:lnTo>
                  <a:lnTo>
                    <a:pt x="373" y="227"/>
                  </a:lnTo>
                  <a:lnTo>
                    <a:pt x="376" y="232"/>
                  </a:lnTo>
                  <a:lnTo>
                    <a:pt x="381" y="232"/>
                  </a:lnTo>
                  <a:lnTo>
                    <a:pt x="381" y="232"/>
                  </a:lnTo>
                  <a:lnTo>
                    <a:pt x="385" y="233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93" y="239"/>
                  </a:lnTo>
                  <a:lnTo>
                    <a:pt x="398" y="246"/>
                  </a:lnTo>
                  <a:lnTo>
                    <a:pt x="402" y="257"/>
                  </a:lnTo>
                  <a:lnTo>
                    <a:pt x="402" y="257"/>
                  </a:lnTo>
                  <a:lnTo>
                    <a:pt x="403" y="260"/>
                  </a:lnTo>
                  <a:lnTo>
                    <a:pt x="403" y="260"/>
                  </a:lnTo>
                  <a:lnTo>
                    <a:pt x="405" y="263"/>
                  </a:lnTo>
                  <a:lnTo>
                    <a:pt x="406" y="263"/>
                  </a:lnTo>
                  <a:lnTo>
                    <a:pt x="406" y="263"/>
                  </a:lnTo>
                  <a:lnTo>
                    <a:pt x="408" y="263"/>
                  </a:lnTo>
                  <a:lnTo>
                    <a:pt x="408" y="263"/>
                  </a:lnTo>
                  <a:lnTo>
                    <a:pt x="408" y="264"/>
                  </a:lnTo>
                  <a:lnTo>
                    <a:pt x="408" y="264"/>
                  </a:lnTo>
                  <a:lnTo>
                    <a:pt x="408" y="269"/>
                  </a:lnTo>
                  <a:lnTo>
                    <a:pt x="409" y="272"/>
                  </a:lnTo>
                  <a:lnTo>
                    <a:pt x="414" y="276"/>
                  </a:lnTo>
                  <a:lnTo>
                    <a:pt x="414" y="276"/>
                  </a:lnTo>
                  <a:lnTo>
                    <a:pt x="416" y="279"/>
                  </a:lnTo>
                  <a:lnTo>
                    <a:pt x="421" y="282"/>
                  </a:lnTo>
                  <a:lnTo>
                    <a:pt x="421" y="282"/>
                  </a:lnTo>
                  <a:lnTo>
                    <a:pt x="424" y="286"/>
                  </a:lnTo>
                  <a:lnTo>
                    <a:pt x="424" y="287"/>
                  </a:lnTo>
                  <a:lnTo>
                    <a:pt x="424" y="287"/>
                  </a:lnTo>
                  <a:lnTo>
                    <a:pt x="425" y="290"/>
                  </a:lnTo>
                  <a:lnTo>
                    <a:pt x="426" y="293"/>
                  </a:lnTo>
                  <a:lnTo>
                    <a:pt x="426" y="293"/>
                  </a:lnTo>
                  <a:lnTo>
                    <a:pt x="429" y="296"/>
                  </a:lnTo>
                  <a:lnTo>
                    <a:pt x="431" y="296"/>
                  </a:lnTo>
                  <a:lnTo>
                    <a:pt x="431" y="296"/>
                  </a:lnTo>
                  <a:lnTo>
                    <a:pt x="434" y="296"/>
                  </a:lnTo>
                  <a:lnTo>
                    <a:pt x="436" y="294"/>
                  </a:lnTo>
                  <a:lnTo>
                    <a:pt x="436" y="294"/>
                  </a:lnTo>
                  <a:lnTo>
                    <a:pt x="438" y="292"/>
                  </a:lnTo>
                  <a:lnTo>
                    <a:pt x="438" y="292"/>
                  </a:lnTo>
                  <a:lnTo>
                    <a:pt x="439" y="293"/>
                  </a:lnTo>
                  <a:lnTo>
                    <a:pt x="439" y="293"/>
                  </a:lnTo>
                  <a:lnTo>
                    <a:pt x="444" y="297"/>
                  </a:lnTo>
                  <a:lnTo>
                    <a:pt x="444" y="297"/>
                  </a:lnTo>
                  <a:lnTo>
                    <a:pt x="446" y="300"/>
                  </a:lnTo>
                  <a:lnTo>
                    <a:pt x="451" y="302"/>
                  </a:lnTo>
                  <a:lnTo>
                    <a:pt x="451" y="302"/>
                  </a:lnTo>
                  <a:lnTo>
                    <a:pt x="456" y="299"/>
                  </a:lnTo>
                  <a:lnTo>
                    <a:pt x="456" y="299"/>
                  </a:lnTo>
                  <a:lnTo>
                    <a:pt x="461" y="297"/>
                  </a:lnTo>
                  <a:lnTo>
                    <a:pt x="466" y="299"/>
                  </a:lnTo>
                  <a:lnTo>
                    <a:pt x="466" y="299"/>
                  </a:lnTo>
                  <a:lnTo>
                    <a:pt x="471" y="300"/>
                  </a:lnTo>
                  <a:lnTo>
                    <a:pt x="478" y="302"/>
                  </a:lnTo>
                  <a:lnTo>
                    <a:pt x="478" y="302"/>
                  </a:lnTo>
                  <a:lnTo>
                    <a:pt x="482" y="302"/>
                  </a:lnTo>
                  <a:lnTo>
                    <a:pt x="482" y="302"/>
                  </a:lnTo>
                  <a:lnTo>
                    <a:pt x="482" y="304"/>
                  </a:lnTo>
                  <a:lnTo>
                    <a:pt x="485" y="307"/>
                  </a:lnTo>
                  <a:lnTo>
                    <a:pt x="485" y="307"/>
                  </a:lnTo>
                  <a:lnTo>
                    <a:pt x="489" y="309"/>
                  </a:lnTo>
                  <a:lnTo>
                    <a:pt x="489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5" y="307"/>
                  </a:lnTo>
                  <a:lnTo>
                    <a:pt x="499" y="307"/>
                  </a:lnTo>
                  <a:lnTo>
                    <a:pt x="499" y="307"/>
                  </a:lnTo>
                  <a:lnTo>
                    <a:pt x="501" y="307"/>
                  </a:lnTo>
                  <a:lnTo>
                    <a:pt x="501" y="307"/>
                  </a:lnTo>
                  <a:lnTo>
                    <a:pt x="501" y="307"/>
                  </a:lnTo>
                  <a:lnTo>
                    <a:pt x="504" y="307"/>
                  </a:lnTo>
                  <a:lnTo>
                    <a:pt x="505" y="306"/>
                  </a:lnTo>
                  <a:lnTo>
                    <a:pt x="505" y="306"/>
                  </a:lnTo>
                  <a:lnTo>
                    <a:pt x="505" y="300"/>
                  </a:lnTo>
                  <a:lnTo>
                    <a:pt x="505" y="296"/>
                  </a:lnTo>
                  <a:lnTo>
                    <a:pt x="502" y="290"/>
                  </a:lnTo>
                  <a:lnTo>
                    <a:pt x="502" y="290"/>
                  </a:lnTo>
                  <a:lnTo>
                    <a:pt x="499" y="289"/>
                  </a:lnTo>
                  <a:lnTo>
                    <a:pt x="496" y="289"/>
                  </a:lnTo>
                  <a:lnTo>
                    <a:pt x="496" y="289"/>
                  </a:lnTo>
                  <a:lnTo>
                    <a:pt x="495" y="287"/>
                  </a:lnTo>
                  <a:lnTo>
                    <a:pt x="491" y="286"/>
                  </a:lnTo>
                  <a:lnTo>
                    <a:pt x="491" y="286"/>
                  </a:lnTo>
                  <a:lnTo>
                    <a:pt x="491" y="284"/>
                  </a:lnTo>
                  <a:lnTo>
                    <a:pt x="491" y="282"/>
                  </a:lnTo>
                  <a:lnTo>
                    <a:pt x="491" y="282"/>
                  </a:lnTo>
                  <a:lnTo>
                    <a:pt x="491" y="279"/>
                  </a:lnTo>
                  <a:lnTo>
                    <a:pt x="489" y="277"/>
                  </a:lnTo>
                  <a:lnTo>
                    <a:pt x="489" y="277"/>
                  </a:lnTo>
                  <a:lnTo>
                    <a:pt x="486" y="276"/>
                  </a:lnTo>
                  <a:lnTo>
                    <a:pt x="486" y="276"/>
                  </a:lnTo>
                  <a:lnTo>
                    <a:pt x="486" y="276"/>
                  </a:lnTo>
                  <a:lnTo>
                    <a:pt x="484" y="276"/>
                  </a:lnTo>
                  <a:lnTo>
                    <a:pt x="479" y="273"/>
                  </a:lnTo>
                  <a:lnTo>
                    <a:pt x="479" y="273"/>
                  </a:lnTo>
                  <a:lnTo>
                    <a:pt x="478" y="272"/>
                  </a:lnTo>
                  <a:lnTo>
                    <a:pt x="476" y="270"/>
                  </a:lnTo>
                  <a:lnTo>
                    <a:pt x="476" y="270"/>
                  </a:lnTo>
                  <a:lnTo>
                    <a:pt x="474" y="272"/>
                  </a:lnTo>
                  <a:lnTo>
                    <a:pt x="474" y="272"/>
                  </a:lnTo>
                  <a:lnTo>
                    <a:pt x="472" y="272"/>
                  </a:lnTo>
                  <a:lnTo>
                    <a:pt x="472" y="272"/>
                  </a:lnTo>
                  <a:lnTo>
                    <a:pt x="474" y="269"/>
                  </a:lnTo>
                  <a:lnTo>
                    <a:pt x="474" y="269"/>
                  </a:lnTo>
                  <a:lnTo>
                    <a:pt x="475" y="262"/>
                  </a:lnTo>
                  <a:lnTo>
                    <a:pt x="475" y="259"/>
                  </a:lnTo>
                  <a:lnTo>
                    <a:pt x="472" y="257"/>
                  </a:lnTo>
                  <a:lnTo>
                    <a:pt x="472" y="257"/>
                  </a:lnTo>
                  <a:lnTo>
                    <a:pt x="468" y="257"/>
                  </a:lnTo>
                  <a:lnTo>
                    <a:pt x="462" y="257"/>
                  </a:lnTo>
                  <a:lnTo>
                    <a:pt x="462" y="257"/>
                  </a:lnTo>
                  <a:lnTo>
                    <a:pt x="458" y="259"/>
                  </a:lnTo>
                  <a:lnTo>
                    <a:pt x="458" y="259"/>
                  </a:lnTo>
                  <a:lnTo>
                    <a:pt x="458" y="252"/>
                  </a:lnTo>
                  <a:lnTo>
                    <a:pt x="455" y="247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2" y="242"/>
                  </a:lnTo>
                  <a:lnTo>
                    <a:pt x="452" y="239"/>
                  </a:lnTo>
                  <a:lnTo>
                    <a:pt x="452" y="239"/>
                  </a:lnTo>
                  <a:lnTo>
                    <a:pt x="454" y="234"/>
                  </a:lnTo>
                  <a:lnTo>
                    <a:pt x="454" y="232"/>
                  </a:lnTo>
                  <a:lnTo>
                    <a:pt x="454" y="232"/>
                  </a:lnTo>
                  <a:lnTo>
                    <a:pt x="452" y="229"/>
                  </a:lnTo>
                  <a:lnTo>
                    <a:pt x="448" y="227"/>
                  </a:lnTo>
                  <a:lnTo>
                    <a:pt x="448" y="227"/>
                  </a:lnTo>
                  <a:lnTo>
                    <a:pt x="444" y="226"/>
                  </a:lnTo>
                  <a:lnTo>
                    <a:pt x="441" y="223"/>
                  </a:lnTo>
                  <a:lnTo>
                    <a:pt x="441" y="223"/>
                  </a:lnTo>
                  <a:lnTo>
                    <a:pt x="438" y="219"/>
                  </a:lnTo>
                  <a:lnTo>
                    <a:pt x="432" y="214"/>
                  </a:lnTo>
                  <a:lnTo>
                    <a:pt x="432" y="214"/>
                  </a:lnTo>
                  <a:lnTo>
                    <a:pt x="429" y="213"/>
                  </a:lnTo>
                  <a:lnTo>
                    <a:pt x="428" y="211"/>
                  </a:lnTo>
                  <a:lnTo>
                    <a:pt x="425" y="206"/>
                  </a:lnTo>
                  <a:lnTo>
                    <a:pt x="425" y="206"/>
                  </a:lnTo>
                  <a:lnTo>
                    <a:pt x="424" y="197"/>
                  </a:lnTo>
                  <a:lnTo>
                    <a:pt x="424" y="197"/>
                  </a:lnTo>
                  <a:lnTo>
                    <a:pt x="422" y="194"/>
                  </a:lnTo>
                  <a:lnTo>
                    <a:pt x="422" y="193"/>
                  </a:lnTo>
                  <a:lnTo>
                    <a:pt x="422" y="193"/>
                  </a:lnTo>
                  <a:lnTo>
                    <a:pt x="425" y="191"/>
                  </a:lnTo>
                  <a:lnTo>
                    <a:pt x="431" y="193"/>
                  </a:lnTo>
                  <a:lnTo>
                    <a:pt x="431" y="193"/>
                  </a:lnTo>
                  <a:lnTo>
                    <a:pt x="438" y="194"/>
                  </a:lnTo>
                  <a:lnTo>
                    <a:pt x="444" y="193"/>
                  </a:lnTo>
                  <a:lnTo>
                    <a:pt x="448" y="189"/>
                  </a:lnTo>
                  <a:lnTo>
                    <a:pt x="448" y="183"/>
                  </a:lnTo>
                  <a:lnTo>
                    <a:pt x="448" y="183"/>
                  </a:lnTo>
                  <a:lnTo>
                    <a:pt x="448" y="180"/>
                  </a:lnTo>
                  <a:lnTo>
                    <a:pt x="448" y="180"/>
                  </a:lnTo>
                  <a:lnTo>
                    <a:pt x="449" y="176"/>
                  </a:lnTo>
                  <a:lnTo>
                    <a:pt x="446" y="171"/>
                  </a:lnTo>
                  <a:lnTo>
                    <a:pt x="446" y="171"/>
                  </a:lnTo>
                  <a:lnTo>
                    <a:pt x="444" y="170"/>
                  </a:lnTo>
                  <a:lnTo>
                    <a:pt x="436" y="170"/>
                  </a:lnTo>
                  <a:lnTo>
                    <a:pt x="436" y="170"/>
                  </a:lnTo>
                  <a:lnTo>
                    <a:pt x="432" y="170"/>
                  </a:lnTo>
                  <a:lnTo>
                    <a:pt x="428" y="169"/>
                  </a:lnTo>
                  <a:lnTo>
                    <a:pt x="422" y="163"/>
                  </a:lnTo>
                  <a:lnTo>
                    <a:pt x="422" y="163"/>
                  </a:lnTo>
                  <a:lnTo>
                    <a:pt x="416" y="159"/>
                  </a:lnTo>
                  <a:lnTo>
                    <a:pt x="416" y="159"/>
                  </a:lnTo>
                  <a:lnTo>
                    <a:pt x="408" y="154"/>
                  </a:lnTo>
                  <a:lnTo>
                    <a:pt x="405" y="153"/>
                  </a:lnTo>
                  <a:lnTo>
                    <a:pt x="399" y="151"/>
                  </a:lnTo>
                  <a:lnTo>
                    <a:pt x="399" y="151"/>
                  </a:lnTo>
                  <a:lnTo>
                    <a:pt x="396" y="151"/>
                  </a:lnTo>
                  <a:lnTo>
                    <a:pt x="396" y="146"/>
                  </a:lnTo>
                  <a:lnTo>
                    <a:pt x="396" y="146"/>
                  </a:lnTo>
                  <a:lnTo>
                    <a:pt x="396" y="143"/>
                  </a:lnTo>
                  <a:lnTo>
                    <a:pt x="395" y="141"/>
                  </a:lnTo>
                  <a:lnTo>
                    <a:pt x="395" y="141"/>
                  </a:lnTo>
                  <a:lnTo>
                    <a:pt x="393" y="141"/>
                  </a:lnTo>
                  <a:lnTo>
                    <a:pt x="393" y="141"/>
                  </a:lnTo>
                  <a:lnTo>
                    <a:pt x="393" y="141"/>
                  </a:lnTo>
                  <a:lnTo>
                    <a:pt x="393" y="141"/>
                  </a:lnTo>
                  <a:lnTo>
                    <a:pt x="393" y="141"/>
                  </a:lnTo>
                  <a:lnTo>
                    <a:pt x="393" y="141"/>
                  </a:lnTo>
                  <a:lnTo>
                    <a:pt x="391" y="141"/>
                  </a:lnTo>
                  <a:lnTo>
                    <a:pt x="391" y="143"/>
                  </a:lnTo>
                  <a:lnTo>
                    <a:pt x="391" y="143"/>
                  </a:lnTo>
                  <a:lnTo>
                    <a:pt x="389" y="144"/>
                  </a:lnTo>
                  <a:lnTo>
                    <a:pt x="389" y="144"/>
                  </a:lnTo>
                  <a:lnTo>
                    <a:pt x="389" y="144"/>
                  </a:lnTo>
                  <a:lnTo>
                    <a:pt x="389" y="144"/>
                  </a:lnTo>
                  <a:lnTo>
                    <a:pt x="391" y="136"/>
                  </a:lnTo>
                  <a:lnTo>
                    <a:pt x="391" y="136"/>
                  </a:lnTo>
                  <a:lnTo>
                    <a:pt x="391" y="129"/>
                  </a:lnTo>
                  <a:lnTo>
                    <a:pt x="391" y="124"/>
                  </a:lnTo>
                  <a:lnTo>
                    <a:pt x="389" y="123"/>
                  </a:lnTo>
                  <a:lnTo>
                    <a:pt x="389" y="123"/>
                  </a:lnTo>
                  <a:lnTo>
                    <a:pt x="388" y="121"/>
                  </a:lnTo>
                  <a:lnTo>
                    <a:pt x="385" y="120"/>
                  </a:lnTo>
                  <a:lnTo>
                    <a:pt x="385" y="120"/>
                  </a:lnTo>
                  <a:lnTo>
                    <a:pt x="382" y="120"/>
                  </a:lnTo>
                  <a:lnTo>
                    <a:pt x="378" y="119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3" y="111"/>
                  </a:lnTo>
                  <a:lnTo>
                    <a:pt x="373" y="111"/>
                  </a:lnTo>
                  <a:lnTo>
                    <a:pt x="369" y="106"/>
                  </a:lnTo>
                  <a:lnTo>
                    <a:pt x="366" y="103"/>
                  </a:lnTo>
                  <a:lnTo>
                    <a:pt x="363" y="103"/>
                  </a:lnTo>
                  <a:lnTo>
                    <a:pt x="363" y="103"/>
                  </a:lnTo>
                  <a:lnTo>
                    <a:pt x="356" y="101"/>
                  </a:lnTo>
                  <a:lnTo>
                    <a:pt x="351" y="99"/>
                  </a:lnTo>
                  <a:lnTo>
                    <a:pt x="346" y="97"/>
                  </a:lnTo>
                  <a:lnTo>
                    <a:pt x="346" y="97"/>
                  </a:lnTo>
                  <a:lnTo>
                    <a:pt x="343" y="96"/>
                  </a:lnTo>
                  <a:lnTo>
                    <a:pt x="342" y="93"/>
                  </a:lnTo>
                  <a:lnTo>
                    <a:pt x="342" y="93"/>
                  </a:lnTo>
                  <a:lnTo>
                    <a:pt x="338" y="90"/>
                  </a:lnTo>
                  <a:lnTo>
                    <a:pt x="335" y="89"/>
                  </a:lnTo>
                  <a:lnTo>
                    <a:pt x="332" y="89"/>
                  </a:lnTo>
                  <a:lnTo>
                    <a:pt x="332" y="89"/>
                  </a:lnTo>
                  <a:lnTo>
                    <a:pt x="328" y="89"/>
                  </a:lnTo>
                  <a:lnTo>
                    <a:pt x="328" y="89"/>
                  </a:lnTo>
                  <a:lnTo>
                    <a:pt x="322" y="89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2" y="84"/>
                  </a:lnTo>
                  <a:lnTo>
                    <a:pt x="305" y="81"/>
                  </a:lnTo>
                  <a:lnTo>
                    <a:pt x="305" y="81"/>
                  </a:lnTo>
                  <a:lnTo>
                    <a:pt x="296" y="76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5" y="67"/>
                  </a:lnTo>
                  <a:lnTo>
                    <a:pt x="281" y="66"/>
                  </a:lnTo>
                  <a:lnTo>
                    <a:pt x="281" y="66"/>
                  </a:lnTo>
                  <a:lnTo>
                    <a:pt x="276" y="66"/>
                  </a:lnTo>
                  <a:lnTo>
                    <a:pt x="275" y="67"/>
                  </a:lnTo>
                  <a:lnTo>
                    <a:pt x="275" y="67"/>
                  </a:lnTo>
                  <a:lnTo>
                    <a:pt x="272" y="67"/>
                  </a:lnTo>
                  <a:lnTo>
                    <a:pt x="272" y="67"/>
                  </a:lnTo>
                  <a:lnTo>
                    <a:pt x="268" y="66"/>
                  </a:lnTo>
                  <a:lnTo>
                    <a:pt x="268" y="66"/>
                  </a:lnTo>
                  <a:lnTo>
                    <a:pt x="263" y="63"/>
                  </a:lnTo>
                  <a:lnTo>
                    <a:pt x="259" y="61"/>
                  </a:lnTo>
                  <a:lnTo>
                    <a:pt x="251" y="60"/>
                  </a:lnTo>
                  <a:lnTo>
                    <a:pt x="251" y="60"/>
                  </a:lnTo>
                  <a:lnTo>
                    <a:pt x="241" y="58"/>
                  </a:lnTo>
                  <a:lnTo>
                    <a:pt x="241" y="58"/>
                  </a:lnTo>
                  <a:lnTo>
                    <a:pt x="235" y="57"/>
                  </a:lnTo>
                  <a:lnTo>
                    <a:pt x="228" y="53"/>
                  </a:lnTo>
                  <a:lnTo>
                    <a:pt x="212" y="43"/>
                  </a:lnTo>
                  <a:lnTo>
                    <a:pt x="212" y="43"/>
                  </a:lnTo>
                  <a:lnTo>
                    <a:pt x="201" y="36"/>
                  </a:lnTo>
                  <a:lnTo>
                    <a:pt x="195" y="33"/>
                  </a:lnTo>
                  <a:lnTo>
                    <a:pt x="195" y="33"/>
                  </a:lnTo>
                  <a:lnTo>
                    <a:pt x="192" y="33"/>
                  </a:lnTo>
                  <a:lnTo>
                    <a:pt x="189" y="34"/>
                  </a:lnTo>
                  <a:lnTo>
                    <a:pt x="185" y="37"/>
                  </a:lnTo>
                  <a:lnTo>
                    <a:pt x="185" y="37"/>
                  </a:lnTo>
                  <a:lnTo>
                    <a:pt x="182" y="40"/>
                  </a:lnTo>
                  <a:lnTo>
                    <a:pt x="182" y="40"/>
                  </a:lnTo>
                  <a:lnTo>
                    <a:pt x="181" y="38"/>
                  </a:lnTo>
                  <a:lnTo>
                    <a:pt x="181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6" y="40"/>
                  </a:lnTo>
                  <a:lnTo>
                    <a:pt x="171" y="38"/>
                  </a:lnTo>
                  <a:lnTo>
                    <a:pt x="175" y="41"/>
                  </a:lnTo>
                  <a:lnTo>
                    <a:pt x="175" y="41"/>
                  </a:lnTo>
                  <a:lnTo>
                    <a:pt x="175" y="44"/>
                  </a:lnTo>
                  <a:lnTo>
                    <a:pt x="175" y="44"/>
                  </a:lnTo>
                  <a:lnTo>
                    <a:pt x="172" y="50"/>
                  </a:lnTo>
                  <a:lnTo>
                    <a:pt x="168" y="53"/>
                  </a:lnTo>
                  <a:lnTo>
                    <a:pt x="168" y="53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58" y="56"/>
                  </a:lnTo>
                  <a:lnTo>
                    <a:pt x="153" y="56"/>
                  </a:lnTo>
                  <a:lnTo>
                    <a:pt x="153" y="56"/>
                  </a:lnTo>
                  <a:lnTo>
                    <a:pt x="151" y="58"/>
                  </a:lnTo>
                  <a:lnTo>
                    <a:pt x="149" y="60"/>
                  </a:lnTo>
                  <a:lnTo>
                    <a:pt x="149" y="64"/>
                  </a:lnTo>
                  <a:lnTo>
                    <a:pt x="149" y="64"/>
                  </a:lnTo>
                  <a:lnTo>
                    <a:pt x="149" y="67"/>
                  </a:lnTo>
                  <a:lnTo>
                    <a:pt x="149" y="67"/>
                  </a:lnTo>
                  <a:lnTo>
                    <a:pt x="149" y="67"/>
                  </a:lnTo>
                  <a:lnTo>
                    <a:pt x="149" y="67"/>
                  </a:lnTo>
                  <a:lnTo>
                    <a:pt x="148" y="67"/>
                  </a:lnTo>
                  <a:lnTo>
                    <a:pt x="148" y="67"/>
                  </a:lnTo>
                  <a:lnTo>
                    <a:pt x="145" y="69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39" y="76"/>
                  </a:lnTo>
                  <a:lnTo>
                    <a:pt x="139" y="79"/>
                  </a:lnTo>
                  <a:lnTo>
                    <a:pt x="139" y="79"/>
                  </a:lnTo>
                  <a:lnTo>
                    <a:pt x="139" y="81"/>
                  </a:lnTo>
                  <a:lnTo>
                    <a:pt x="138" y="83"/>
                  </a:lnTo>
                  <a:lnTo>
                    <a:pt x="138" y="83"/>
                  </a:lnTo>
                  <a:lnTo>
                    <a:pt x="136" y="83"/>
                  </a:lnTo>
                  <a:lnTo>
                    <a:pt x="135" y="83"/>
                  </a:lnTo>
                  <a:lnTo>
                    <a:pt x="135" y="83"/>
                  </a:lnTo>
                  <a:lnTo>
                    <a:pt x="132" y="84"/>
                  </a:lnTo>
                  <a:lnTo>
                    <a:pt x="129" y="89"/>
                  </a:lnTo>
                  <a:lnTo>
                    <a:pt x="129" y="89"/>
                  </a:lnTo>
                  <a:lnTo>
                    <a:pt x="126" y="91"/>
                  </a:lnTo>
                  <a:lnTo>
                    <a:pt x="125" y="91"/>
                  </a:lnTo>
                  <a:lnTo>
                    <a:pt x="125" y="91"/>
                  </a:lnTo>
                  <a:lnTo>
                    <a:pt x="122" y="90"/>
                  </a:lnTo>
                  <a:lnTo>
                    <a:pt x="118" y="87"/>
                  </a:lnTo>
                  <a:lnTo>
                    <a:pt x="118" y="87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9" y="76"/>
                  </a:lnTo>
                  <a:lnTo>
                    <a:pt x="105" y="74"/>
                  </a:lnTo>
                  <a:lnTo>
                    <a:pt x="105" y="74"/>
                  </a:lnTo>
                  <a:lnTo>
                    <a:pt x="103" y="69"/>
                  </a:lnTo>
                  <a:lnTo>
                    <a:pt x="103" y="69"/>
                  </a:lnTo>
                  <a:lnTo>
                    <a:pt x="102" y="64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8" y="57"/>
                  </a:lnTo>
                  <a:lnTo>
                    <a:pt x="98" y="53"/>
                  </a:lnTo>
                  <a:lnTo>
                    <a:pt x="101" y="44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3" y="36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4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2" y="18"/>
                  </a:lnTo>
                  <a:lnTo>
                    <a:pt x="101" y="16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6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63" y="3"/>
                  </a:lnTo>
                  <a:lnTo>
                    <a:pt x="58" y="0"/>
                  </a:lnTo>
                  <a:lnTo>
                    <a:pt x="53" y="0"/>
                  </a:lnTo>
                  <a:lnTo>
                    <a:pt x="5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199" name="Freeform 190"/>
            <p:cNvSpPr>
              <a:spLocks/>
            </p:cNvSpPr>
            <p:nvPr/>
          </p:nvSpPr>
          <p:spPr bwMode="auto">
            <a:xfrm>
              <a:off x="6751638" y="3621088"/>
              <a:ext cx="90488" cy="60325"/>
            </a:xfrm>
            <a:custGeom>
              <a:avLst/>
              <a:gdLst>
                <a:gd name="T0" fmla="*/ 7 w 114"/>
                <a:gd name="T1" fmla="*/ 59 h 76"/>
                <a:gd name="T2" fmla="*/ 17 w 114"/>
                <a:gd name="T3" fmla="*/ 59 h 76"/>
                <a:gd name="T4" fmla="*/ 24 w 114"/>
                <a:gd name="T5" fmla="*/ 59 h 76"/>
                <a:gd name="T6" fmla="*/ 33 w 114"/>
                <a:gd name="T7" fmla="*/ 66 h 76"/>
                <a:gd name="T8" fmla="*/ 40 w 114"/>
                <a:gd name="T9" fmla="*/ 73 h 76"/>
                <a:gd name="T10" fmla="*/ 46 w 114"/>
                <a:gd name="T11" fmla="*/ 76 h 76"/>
                <a:gd name="T12" fmla="*/ 56 w 114"/>
                <a:gd name="T13" fmla="*/ 73 h 76"/>
                <a:gd name="T14" fmla="*/ 73 w 114"/>
                <a:gd name="T15" fmla="*/ 60 h 76"/>
                <a:gd name="T16" fmla="*/ 80 w 114"/>
                <a:gd name="T17" fmla="*/ 58 h 76"/>
                <a:gd name="T18" fmla="*/ 84 w 114"/>
                <a:gd name="T19" fmla="*/ 52 h 76"/>
                <a:gd name="T20" fmla="*/ 93 w 114"/>
                <a:gd name="T21" fmla="*/ 49 h 76"/>
                <a:gd name="T22" fmla="*/ 101 w 114"/>
                <a:gd name="T23" fmla="*/ 45 h 76"/>
                <a:gd name="T24" fmla="*/ 100 w 114"/>
                <a:gd name="T25" fmla="*/ 35 h 76"/>
                <a:gd name="T26" fmla="*/ 100 w 114"/>
                <a:gd name="T27" fmla="*/ 32 h 76"/>
                <a:gd name="T28" fmla="*/ 104 w 114"/>
                <a:gd name="T29" fmla="*/ 29 h 76"/>
                <a:gd name="T30" fmla="*/ 113 w 114"/>
                <a:gd name="T31" fmla="*/ 18 h 76"/>
                <a:gd name="T32" fmla="*/ 111 w 114"/>
                <a:gd name="T33" fmla="*/ 9 h 76"/>
                <a:gd name="T34" fmla="*/ 108 w 114"/>
                <a:gd name="T35" fmla="*/ 8 h 76"/>
                <a:gd name="T36" fmla="*/ 108 w 114"/>
                <a:gd name="T37" fmla="*/ 6 h 76"/>
                <a:gd name="T38" fmla="*/ 106 w 114"/>
                <a:gd name="T39" fmla="*/ 2 h 76"/>
                <a:gd name="T40" fmla="*/ 100 w 114"/>
                <a:gd name="T41" fmla="*/ 5 h 76"/>
                <a:gd name="T42" fmla="*/ 98 w 114"/>
                <a:gd name="T43" fmla="*/ 6 h 76"/>
                <a:gd name="T44" fmla="*/ 93 w 114"/>
                <a:gd name="T45" fmla="*/ 2 h 76"/>
                <a:gd name="T46" fmla="*/ 86 w 114"/>
                <a:gd name="T47" fmla="*/ 0 h 76"/>
                <a:gd name="T48" fmla="*/ 83 w 114"/>
                <a:gd name="T49" fmla="*/ 6 h 76"/>
                <a:gd name="T50" fmla="*/ 87 w 114"/>
                <a:gd name="T51" fmla="*/ 16 h 76"/>
                <a:gd name="T52" fmla="*/ 84 w 114"/>
                <a:gd name="T53" fmla="*/ 22 h 76"/>
                <a:gd name="T54" fmla="*/ 80 w 114"/>
                <a:gd name="T55" fmla="*/ 25 h 76"/>
                <a:gd name="T56" fmla="*/ 70 w 114"/>
                <a:gd name="T57" fmla="*/ 36 h 76"/>
                <a:gd name="T58" fmla="*/ 67 w 114"/>
                <a:gd name="T59" fmla="*/ 40 h 76"/>
                <a:gd name="T60" fmla="*/ 63 w 114"/>
                <a:gd name="T61" fmla="*/ 38 h 76"/>
                <a:gd name="T62" fmla="*/ 61 w 114"/>
                <a:gd name="T63" fmla="*/ 35 h 76"/>
                <a:gd name="T64" fmla="*/ 57 w 114"/>
                <a:gd name="T65" fmla="*/ 35 h 76"/>
                <a:gd name="T66" fmla="*/ 54 w 114"/>
                <a:gd name="T67" fmla="*/ 39 h 76"/>
                <a:gd name="T68" fmla="*/ 51 w 114"/>
                <a:gd name="T69" fmla="*/ 43 h 76"/>
                <a:gd name="T70" fmla="*/ 41 w 114"/>
                <a:gd name="T71" fmla="*/ 42 h 76"/>
                <a:gd name="T72" fmla="*/ 36 w 114"/>
                <a:gd name="T73" fmla="*/ 40 h 76"/>
                <a:gd name="T74" fmla="*/ 33 w 114"/>
                <a:gd name="T75" fmla="*/ 42 h 76"/>
                <a:gd name="T76" fmla="*/ 28 w 114"/>
                <a:gd name="T77" fmla="*/ 46 h 76"/>
                <a:gd name="T78" fmla="*/ 27 w 114"/>
                <a:gd name="T79" fmla="*/ 46 h 76"/>
                <a:gd name="T80" fmla="*/ 23 w 114"/>
                <a:gd name="T81" fmla="*/ 43 h 76"/>
                <a:gd name="T82" fmla="*/ 16 w 114"/>
                <a:gd name="T83" fmla="*/ 42 h 76"/>
                <a:gd name="T84" fmla="*/ 6 w 114"/>
                <a:gd name="T85" fmla="*/ 40 h 76"/>
                <a:gd name="T86" fmla="*/ 1 w 114"/>
                <a:gd name="T87" fmla="*/ 43 h 76"/>
                <a:gd name="T88" fmla="*/ 0 w 114"/>
                <a:gd name="T89" fmla="*/ 52 h 76"/>
                <a:gd name="T90" fmla="*/ 1 w 114"/>
                <a:gd name="T91" fmla="*/ 5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4" h="76">
                  <a:moveTo>
                    <a:pt x="3" y="58"/>
                  </a:moveTo>
                  <a:lnTo>
                    <a:pt x="3" y="58"/>
                  </a:lnTo>
                  <a:lnTo>
                    <a:pt x="7" y="59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7" y="60"/>
                  </a:lnTo>
                  <a:lnTo>
                    <a:pt x="30" y="62"/>
                  </a:lnTo>
                  <a:lnTo>
                    <a:pt x="33" y="66"/>
                  </a:lnTo>
                  <a:lnTo>
                    <a:pt x="33" y="66"/>
                  </a:lnTo>
                  <a:lnTo>
                    <a:pt x="36" y="70"/>
                  </a:lnTo>
                  <a:lnTo>
                    <a:pt x="40" y="73"/>
                  </a:lnTo>
                  <a:lnTo>
                    <a:pt x="40" y="73"/>
                  </a:lnTo>
                  <a:lnTo>
                    <a:pt x="43" y="76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50" y="75"/>
                  </a:lnTo>
                  <a:lnTo>
                    <a:pt x="56" y="7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73" y="60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80" y="58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4" y="52"/>
                  </a:lnTo>
                  <a:lnTo>
                    <a:pt x="86" y="50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7" y="48"/>
                  </a:lnTo>
                  <a:lnTo>
                    <a:pt x="100" y="46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0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4" y="29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3" y="18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1" y="9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3"/>
                  </a:lnTo>
                  <a:lnTo>
                    <a:pt x="107" y="2"/>
                  </a:lnTo>
                  <a:lnTo>
                    <a:pt x="106" y="2"/>
                  </a:lnTo>
                  <a:lnTo>
                    <a:pt x="106" y="2"/>
                  </a:lnTo>
                  <a:lnTo>
                    <a:pt x="103" y="3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87" y="0"/>
                  </a:lnTo>
                  <a:lnTo>
                    <a:pt x="86" y="0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3" y="6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7" y="16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4" y="22"/>
                  </a:lnTo>
                  <a:lnTo>
                    <a:pt x="81" y="23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77" y="26"/>
                  </a:lnTo>
                  <a:lnTo>
                    <a:pt x="74" y="29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68" y="39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6" y="39"/>
                  </a:lnTo>
                  <a:lnTo>
                    <a:pt x="63" y="38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1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7" y="35"/>
                  </a:lnTo>
                  <a:lnTo>
                    <a:pt x="56" y="36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3" y="42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3" y="43"/>
                  </a:lnTo>
                  <a:lnTo>
                    <a:pt x="17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3" y="42"/>
                  </a:lnTo>
                  <a:lnTo>
                    <a:pt x="1" y="43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52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1" y="56"/>
                  </a:lnTo>
                  <a:lnTo>
                    <a:pt x="3" y="58"/>
                  </a:lnTo>
                  <a:lnTo>
                    <a:pt x="3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00" name="Freeform 191"/>
            <p:cNvSpPr>
              <a:spLocks/>
            </p:cNvSpPr>
            <p:nvPr/>
          </p:nvSpPr>
          <p:spPr bwMode="auto">
            <a:xfrm>
              <a:off x="6880225" y="3648075"/>
              <a:ext cx="28575" cy="46037"/>
            </a:xfrm>
            <a:custGeom>
              <a:avLst/>
              <a:gdLst>
                <a:gd name="T0" fmla="*/ 5 w 34"/>
                <a:gd name="T1" fmla="*/ 31 h 57"/>
                <a:gd name="T2" fmla="*/ 5 w 34"/>
                <a:gd name="T3" fmla="*/ 31 h 57"/>
                <a:gd name="T4" fmla="*/ 7 w 34"/>
                <a:gd name="T5" fmla="*/ 31 h 57"/>
                <a:gd name="T6" fmla="*/ 7 w 34"/>
                <a:gd name="T7" fmla="*/ 31 h 57"/>
                <a:gd name="T8" fmla="*/ 10 w 34"/>
                <a:gd name="T9" fmla="*/ 40 h 57"/>
                <a:gd name="T10" fmla="*/ 10 w 34"/>
                <a:gd name="T11" fmla="*/ 40 h 57"/>
                <a:gd name="T12" fmla="*/ 13 w 34"/>
                <a:gd name="T13" fmla="*/ 47 h 57"/>
                <a:gd name="T14" fmla="*/ 18 w 34"/>
                <a:gd name="T15" fmla="*/ 53 h 57"/>
                <a:gd name="T16" fmla="*/ 23 w 34"/>
                <a:gd name="T17" fmla="*/ 55 h 57"/>
                <a:gd name="T18" fmla="*/ 27 w 34"/>
                <a:gd name="T19" fmla="*/ 57 h 57"/>
                <a:gd name="T20" fmla="*/ 27 w 34"/>
                <a:gd name="T21" fmla="*/ 57 h 57"/>
                <a:gd name="T22" fmla="*/ 30 w 34"/>
                <a:gd name="T23" fmla="*/ 55 h 57"/>
                <a:gd name="T24" fmla="*/ 33 w 34"/>
                <a:gd name="T25" fmla="*/ 54 h 57"/>
                <a:gd name="T26" fmla="*/ 33 w 34"/>
                <a:gd name="T27" fmla="*/ 54 h 57"/>
                <a:gd name="T28" fmla="*/ 34 w 34"/>
                <a:gd name="T29" fmla="*/ 48 h 57"/>
                <a:gd name="T30" fmla="*/ 34 w 34"/>
                <a:gd name="T31" fmla="*/ 44 h 57"/>
                <a:gd name="T32" fmla="*/ 34 w 34"/>
                <a:gd name="T33" fmla="*/ 43 h 57"/>
                <a:gd name="T34" fmla="*/ 34 w 34"/>
                <a:gd name="T35" fmla="*/ 43 h 57"/>
                <a:gd name="T36" fmla="*/ 34 w 34"/>
                <a:gd name="T37" fmla="*/ 40 h 57"/>
                <a:gd name="T38" fmla="*/ 34 w 34"/>
                <a:gd name="T39" fmla="*/ 40 h 57"/>
                <a:gd name="T40" fmla="*/ 34 w 34"/>
                <a:gd name="T41" fmla="*/ 35 h 57"/>
                <a:gd name="T42" fmla="*/ 33 w 34"/>
                <a:gd name="T43" fmla="*/ 33 h 57"/>
                <a:gd name="T44" fmla="*/ 28 w 34"/>
                <a:gd name="T45" fmla="*/ 31 h 57"/>
                <a:gd name="T46" fmla="*/ 28 w 34"/>
                <a:gd name="T47" fmla="*/ 31 h 57"/>
                <a:gd name="T48" fmla="*/ 25 w 34"/>
                <a:gd name="T49" fmla="*/ 30 h 57"/>
                <a:gd name="T50" fmla="*/ 24 w 34"/>
                <a:gd name="T51" fmla="*/ 27 h 57"/>
                <a:gd name="T52" fmla="*/ 24 w 34"/>
                <a:gd name="T53" fmla="*/ 27 h 57"/>
                <a:gd name="T54" fmla="*/ 21 w 34"/>
                <a:gd name="T55" fmla="*/ 23 h 57"/>
                <a:gd name="T56" fmla="*/ 17 w 34"/>
                <a:gd name="T57" fmla="*/ 20 h 57"/>
                <a:gd name="T58" fmla="*/ 17 w 34"/>
                <a:gd name="T59" fmla="*/ 20 h 57"/>
                <a:gd name="T60" fmla="*/ 15 w 34"/>
                <a:gd name="T61" fmla="*/ 17 h 57"/>
                <a:gd name="T62" fmla="*/ 14 w 34"/>
                <a:gd name="T63" fmla="*/ 14 h 57"/>
                <a:gd name="T64" fmla="*/ 14 w 34"/>
                <a:gd name="T65" fmla="*/ 14 h 57"/>
                <a:gd name="T66" fmla="*/ 14 w 34"/>
                <a:gd name="T67" fmla="*/ 11 h 57"/>
                <a:gd name="T68" fmla="*/ 13 w 34"/>
                <a:gd name="T69" fmla="*/ 11 h 57"/>
                <a:gd name="T70" fmla="*/ 11 w 34"/>
                <a:gd name="T71" fmla="*/ 10 h 57"/>
                <a:gd name="T72" fmla="*/ 11 w 34"/>
                <a:gd name="T73" fmla="*/ 10 h 57"/>
                <a:gd name="T74" fmla="*/ 10 w 34"/>
                <a:gd name="T75" fmla="*/ 10 h 57"/>
                <a:gd name="T76" fmla="*/ 10 w 34"/>
                <a:gd name="T77" fmla="*/ 10 h 57"/>
                <a:gd name="T78" fmla="*/ 10 w 34"/>
                <a:gd name="T79" fmla="*/ 10 h 57"/>
                <a:gd name="T80" fmla="*/ 10 w 34"/>
                <a:gd name="T81" fmla="*/ 10 h 57"/>
                <a:gd name="T82" fmla="*/ 8 w 34"/>
                <a:gd name="T83" fmla="*/ 10 h 57"/>
                <a:gd name="T84" fmla="*/ 4 w 34"/>
                <a:gd name="T85" fmla="*/ 5 h 57"/>
                <a:gd name="T86" fmla="*/ 0 w 34"/>
                <a:gd name="T87" fmla="*/ 0 h 57"/>
                <a:gd name="T88" fmla="*/ 0 w 34"/>
                <a:gd name="T89" fmla="*/ 7 h 57"/>
                <a:gd name="T90" fmla="*/ 0 w 34"/>
                <a:gd name="T91" fmla="*/ 7 h 57"/>
                <a:gd name="T92" fmla="*/ 0 w 34"/>
                <a:gd name="T93" fmla="*/ 13 h 57"/>
                <a:gd name="T94" fmla="*/ 0 w 34"/>
                <a:gd name="T95" fmla="*/ 20 h 57"/>
                <a:gd name="T96" fmla="*/ 1 w 34"/>
                <a:gd name="T97" fmla="*/ 27 h 57"/>
                <a:gd name="T98" fmla="*/ 3 w 34"/>
                <a:gd name="T99" fmla="*/ 30 h 57"/>
                <a:gd name="T100" fmla="*/ 5 w 34"/>
                <a:gd name="T101" fmla="*/ 31 h 57"/>
                <a:gd name="T102" fmla="*/ 5 w 34"/>
                <a:gd name="T10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4" h="57">
                  <a:moveTo>
                    <a:pt x="5" y="31"/>
                  </a:moveTo>
                  <a:lnTo>
                    <a:pt x="5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3" y="47"/>
                  </a:lnTo>
                  <a:lnTo>
                    <a:pt x="18" y="53"/>
                  </a:lnTo>
                  <a:lnTo>
                    <a:pt x="23" y="55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30" y="55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4" y="48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5"/>
                  </a:lnTo>
                  <a:lnTo>
                    <a:pt x="33" y="33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5" y="30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1" y="23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5" y="17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4" y="5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13"/>
                  </a:lnTo>
                  <a:lnTo>
                    <a:pt x="0" y="20"/>
                  </a:lnTo>
                  <a:lnTo>
                    <a:pt x="1" y="27"/>
                  </a:lnTo>
                  <a:lnTo>
                    <a:pt x="3" y="30"/>
                  </a:lnTo>
                  <a:lnTo>
                    <a:pt x="5" y="31"/>
                  </a:lnTo>
                  <a:lnTo>
                    <a:pt x="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01" name="Freeform 192"/>
            <p:cNvSpPr>
              <a:spLocks noEditPoints="1"/>
            </p:cNvSpPr>
            <p:nvPr/>
          </p:nvSpPr>
          <p:spPr bwMode="auto">
            <a:xfrm>
              <a:off x="4897438" y="2265363"/>
              <a:ext cx="1330325" cy="1395412"/>
            </a:xfrm>
            <a:custGeom>
              <a:avLst/>
              <a:gdLst>
                <a:gd name="T0" fmla="*/ 1203 w 1677"/>
                <a:gd name="T1" fmla="*/ 1613 h 1758"/>
                <a:gd name="T2" fmla="*/ 1196 w 1677"/>
                <a:gd name="T3" fmla="*/ 1520 h 1758"/>
                <a:gd name="T4" fmla="*/ 1092 w 1677"/>
                <a:gd name="T5" fmla="*/ 1357 h 1758"/>
                <a:gd name="T6" fmla="*/ 1081 w 1677"/>
                <a:gd name="T7" fmla="*/ 1188 h 1758"/>
                <a:gd name="T8" fmla="*/ 1181 w 1677"/>
                <a:gd name="T9" fmla="*/ 1278 h 1758"/>
                <a:gd name="T10" fmla="*/ 1245 w 1677"/>
                <a:gd name="T11" fmla="*/ 1302 h 1758"/>
                <a:gd name="T12" fmla="*/ 1311 w 1677"/>
                <a:gd name="T13" fmla="*/ 1179 h 1758"/>
                <a:gd name="T14" fmla="*/ 1206 w 1677"/>
                <a:gd name="T15" fmla="*/ 999 h 1758"/>
                <a:gd name="T16" fmla="*/ 1284 w 1677"/>
                <a:gd name="T17" fmla="*/ 971 h 1758"/>
                <a:gd name="T18" fmla="*/ 1329 w 1677"/>
                <a:gd name="T19" fmla="*/ 952 h 1758"/>
                <a:gd name="T20" fmla="*/ 1392 w 1677"/>
                <a:gd name="T21" fmla="*/ 923 h 1758"/>
                <a:gd name="T22" fmla="*/ 1461 w 1677"/>
                <a:gd name="T23" fmla="*/ 908 h 1758"/>
                <a:gd name="T24" fmla="*/ 1529 w 1677"/>
                <a:gd name="T25" fmla="*/ 836 h 1758"/>
                <a:gd name="T26" fmla="*/ 1539 w 1677"/>
                <a:gd name="T27" fmla="*/ 762 h 1758"/>
                <a:gd name="T28" fmla="*/ 1546 w 1677"/>
                <a:gd name="T29" fmla="*/ 700 h 1758"/>
                <a:gd name="T30" fmla="*/ 1516 w 1677"/>
                <a:gd name="T31" fmla="*/ 630 h 1758"/>
                <a:gd name="T32" fmla="*/ 1436 w 1677"/>
                <a:gd name="T33" fmla="*/ 546 h 1758"/>
                <a:gd name="T34" fmla="*/ 1492 w 1677"/>
                <a:gd name="T35" fmla="*/ 489 h 1758"/>
                <a:gd name="T36" fmla="*/ 1401 w 1677"/>
                <a:gd name="T37" fmla="*/ 469 h 1758"/>
                <a:gd name="T38" fmla="*/ 1388 w 1677"/>
                <a:gd name="T39" fmla="*/ 410 h 1758"/>
                <a:gd name="T40" fmla="*/ 1428 w 1677"/>
                <a:gd name="T41" fmla="*/ 437 h 1758"/>
                <a:gd name="T42" fmla="*/ 1524 w 1677"/>
                <a:gd name="T43" fmla="*/ 436 h 1758"/>
                <a:gd name="T44" fmla="*/ 1556 w 1677"/>
                <a:gd name="T45" fmla="*/ 472 h 1758"/>
                <a:gd name="T46" fmla="*/ 1594 w 1677"/>
                <a:gd name="T47" fmla="*/ 536 h 1758"/>
                <a:gd name="T48" fmla="*/ 1677 w 1677"/>
                <a:gd name="T49" fmla="*/ 533 h 1758"/>
                <a:gd name="T50" fmla="*/ 1621 w 1677"/>
                <a:gd name="T51" fmla="*/ 450 h 1758"/>
                <a:gd name="T52" fmla="*/ 1604 w 1677"/>
                <a:gd name="T53" fmla="*/ 350 h 1758"/>
                <a:gd name="T54" fmla="*/ 1587 w 1677"/>
                <a:gd name="T55" fmla="*/ 271 h 1758"/>
                <a:gd name="T56" fmla="*/ 1594 w 1677"/>
                <a:gd name="T57" fmla="*/ 157 h 1758"/>
                <a:gd name="T58" fmla="*/ 1504 w 1677"/>
                <a:gd name="T59" fmla="*/ 153 h 1758"/>
                <a:gd name="T60" fmla="*/ 1276 w 1677"/>
                <a:gd name="T61" fmla="*/ 13 h 1758"/>
                <a:gd name="T62" fmla="*/ 1195 w 1677"/>
                <a:gd name="T63" fmla="*/ 76 h 1758"/>
                <a:gd name="T64" fmla="*/ 1082 w 1677"/>
                <a:gd name="T65" fmla="*/ 97 h 1758"/>
                <a:gd name="T66" fmla="*/ 946 w 1677"/>
                <a:gd name="T67" fmla="*/ 101 h 1758"/>
                <a:gd name="T68" fmla="*/ 742 w 1677"/>
                <a:gd name="T69" fmla="*/ 53 h 1758"/>
                <a:gd name="T70" fmla="*/ 625 w 1677"/>
                <a:gd name="T71" fmla="*/ 87 h 1758"/>
                <a:gd name="T72" fmla="*/ 480 w 1677"/>
                <a:gd name="T73" fmla="*/ 126 h 1758"/>
                <a:gd name="T74" fmla="*/ 442 w 1677"/>
                <a:gd name="T75" fmla="*/ 191 h 1758"/>
                <a:gd name="T76" fmla="*/ 392 w 1677"/>
                <a:gd name="T77" fmla="*/ 286 h 1758"/>
                <a:gd name="T78" fmla="*/ 350 w 1677"/>
                <a:gd name="T79" fmla="*/ 357 h 1758"/>
                <a:gd name="T80" fmla="*/ 276 w 1677"/>
                <a:gd name="T81" fmla="*/ 387 h 1758"/>
                <a:gd name="T82" fmla="*/ 297 w 1677"/>
                <a:gd name="T83" fmla="*/ 452 h 1758"/>
                <a:gd name="T84" fmla="*/ 213 w 1677"/>
                <a:gd name="T85" fmla="*/ 596 h 1758"/>
                <a:gd name="T86" fmla="*/ 29 w 1677"/>
                <a:gd name="T87" fmla="*/ 709 h 1758"/>
                <a:gd name="T88" fmla="*/ 187 w 1677"/>
                <a:gd name="T89" fmla="*/ 869 h 1758"/>
                <a:gd name="T90" fmla="*/ 249 w 1677"/>
                <a:gd name="T91" fmla="*/ 948 h 1758"/>
                <a:gd name="T92" fmla="*/ 353 w 1677"/>
                <a:gd name="T93" fmla="*/ 1078 h 1758"/>
                <a:gd name="T94" fmla="*/ 446 w 1677"/>
                <a:gd name="T95" fmla="*/ 1308 h 1758"/>
                <a:gd name="T96" fmla="*/ 560 w 1677"/>
                <a:gd name="T97" fmla="*/ 1279 h 1758"/>
                <a:gd name="T98" fmla="*/ 565 w 1677"/>
                <a:gd name="T99" fmla="*/ 1115 h 1758"/>
                <a:gd name="T100" fmla="*/ 652 w 1677"/>
                <a:gd name="T101" fmla="*/ 1044 h 1758"/>
                <a:gd name="T102" fmla="*/ 742 w 1677"/>
                <a:gd name="T103" fmla="*/ 943 h 1758"/>
                <a:gd name="T104" fmla="*/ 799 w 1677"/>
                <a:gd name="T105" fmla="*/ 931 h 1758"/>
                <a:gd name="T106" fmla="*/ 843 w 1677"/>
                <a:gd name="T107" fmla="*/ 981 h 1758"/>
                <a:gd name="T108" fmla="*/ 885 w 1677"/>
                <a:gd name="T109" fmla="*/ 1031 h 1758"/>
                <a:gd name="T110" fmla="*/ 946 w 1677"/>
                <a:gd name="T111" fmla="*/ 1122 h 1758"/>
                <a:gd name="T112" fmla="*/ 1021 w 1677"/>
                <a:gd name="T113" fmla="*/ 1192 h 1758"/>
                <a:gd name="T114" fmla="*/ 1035 w 1677"/>
                <a:gd name="T115" fmla="*/ 1355 h 1758"/>
                <a:gd name="T116" fmla="*/ 1089 w 1677"/>
                <a:gd name="T117" fmla="*/ 1451 h 1758"/>
                <a:gd name="T118" fmla="*/ 1043 w 1677"/>
                <a:gd name="T119" fmla="*/ 1454 h 1758"/>
                <a:gd name="T120" fmla="*/ 1002 w 1677"/>
                <a:gd name="T121" fmla="*/ 1478 h 1758"/>
                <a:gd name="T122" fmla="*/ 1139 w 1677"/>
                <a:gd name="T123" fmla="*/ 1688 h 1758"/>
                <a:gd name="T124" fmla="*/ 1378 w 1677"/>
                <a:gd name="T125" fmla="*/ 909 h 1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77" h="1758">
                  <a:moveTo>
                    <a:pt x="1222" y="1746"/>
                  </a:moveTo>
                  <a:lnTo>
                    <a:pt x="1222" y="1746"/>
                  </a:lnTo>
                  <a:lnTo>
                    <a:pt x="1222" y="1744"/>
                  </a:lnTo>
                  <a:lnTo>
                    <a:pt x="1222" y="1744"/>
                  </a:lnTo>
                  <a:lnTo>
                    <a:pt x="1226" y="1748"/>
                  </a:lnTo>
                  <a:lnTo>
                    <a:pt x="1226" y="1748"/>
                  </a:lnTo>
                  <a:lnTo>
                    <a:pt x="1229" y="1753"/>
                  </a:lnTo>
                  <a:lnTo>
                    <a:pt x="1231" y="1754"/>
                  </a:lnTo>
                  <a:lnTo>
                    <a:pt x="1234" y="1754"/>
                  </a:lnTo>
                  <a:lnTo>
                    <a:pt x="1234" y="1754"/>
                  </a:lnTo>
                  <a:lnTo>
                    <a:pt x="1236" y="1754"/>
                  </a:lnTo>
                  <a:lnTo>
                    <a:pt x="1236" y="1754"/>
                  </a:lnTo>
                  <a:lnTo>
                    <a:pt x="1239" y="1751"/>
                  </a:lnTo>
                  <a:lnTo>
                    <a:pt x="1241" y="1746"/>
                  </a:lnTo>
                  <a:lnTo>
                    <a:pt x="1241" y="1724"/>
                  </a:lnTo>
                  <a:lnTo>
                    <a:pt x="1241" y="1724"/>
                  </a:lnTo>
                  <a:lnTo>
                    <a:pt x="1242" y="1711"/>
                  </a:lnTo>
                  <a:lnTo>
                    <a:pt x="1244" y="1701"/>
                  </a:lnTo>
                  <a:lnTo>
                    <a:pt x="1244" y="1701"/>
                  </a:lnTo>
                  <a:lnTo>
                    <a:pt x="1245" y="1690"/>
                  </a:lnTo>
                  <a:lnTo>
                    <a:pt x="1245" y="1690"/>
                  </a:lnTo>
                  <a:lnTo>
                    <a:pt x="1245" y="1684"/>
                  </a:lnTo>
                  <a:lnTo>
                    <a:pt x="1249" y="1677"/>
                  </a:lnTo>
                  <a:lnTo>
                    <a:pt x="1249" y="1677"/>
                  </a:lnTo>
                  <a:lnTo>
                    <a:pt x="1251" y="1671"/>
                  </a:lnTo>
                  <a:lnTo>
                    <a:pt x="1251" y="1668"/>
                  </a:lnTo>
                  <a:lnTo>
                    <a:pt x="1251" y="1668"/>
                  </a:lnTo>
                  <a:lnTo>
                    <a:pt x="1249" y="1667"/>
                  </a:lnTo>
                  <a:lnTo>
                    <a:pt x="1246" y="1666"/>
                  </a:lnTo>
                  <a:lnTo>
                    <a:pt x="1246" y="1666"/>
                  </a:lnTo>
                  <a:lnTo>
                    <a:pt x="1244" y="1667"/>
                  </a:lnTo>
                  <a:lnTo>
                    <a:pt x="1244" y="1667"/>
                  </a:lnTo>
                  <a:lnTo>
                    <a:pt x="1239" y="1667"/>
                  </a:lnTo>
                  <a:lnTo>
                    <a:pt x="1239" y="1667"/>
                  </a:lnTo>
                  <a:lnTo>
                    <a:pt x="1239" y="1663"/>
                  </a:lnTo>
                  <a:lnTo>
                    <a:pt x="1239" y="1663"/>
                  </a:lnTo>
                  <a:lnTo>
                    <a:pt x="1239" y="1660"/>
                  </a:lnTo>
                  <a:lnTo>
                    <a:pt x="1238" y="1655"/>
                  </a:lnTo>
                  <a:lnTo>
                    <a:pt x="1235" y="1653"/>
                  </a:lnTo>
                  <a:lnTo>
                    <a:pt x="1231" y="1650"/>
                  </a:lnTo>
                  <a:lnTo>
                    <a:pt x="1231" y="1650"/>
                  </a:lnTo>
                  <a:lnTo>
                    <a:pt x="1222" y="1648"/>
                  </a:lnTo>
                  <a:lnTo>
                    <a:pt x="1222" y="1648"/>
                  </a:lnTo>
                  <a:lnTo>
                    <a:pt x="1215" y="1647"/>
                  </a:lnTo>
                  <a:lnTo>
                    <a:pt x="1213" y="1647"/>
                  </a:lnTo>
                  <a:lnTo>
                    <a:pt x="1212" y="1645"/>
                  </a:lnTo>
                  <a:lnTo>
                    <a:pt x="1212" y="1645"/>
                  </a:lnTo>
                  <a:lnTo>
                    <a:pt x="1211" y="1637"/>
                  </a:lnTo>
                  <a:lnTo>
                    <a:pt x="1211" y="1637"/>
                  </a:lnTo>
                  <a:lnTo>
                    <a:pt x="1208" y="1628"/>
                  </a:lnTo>
                  <a:lnTo>
                    <a:pt x="1206" y="1618"/>
                  </a:lnTo>
                  <a:lnTo>
                    <a:pt x="1206" y="1618"/>
                  </a:lnTo>
                  <a:lnTo>
                    <a:pt x="1206" y="1615"/>
                  </a:lnTo>
                  <a:lnTo>
                    <a:pt x="1203" y="1613"/>
                  </a:lnTo>
                  <a:lnTo>
                    <a:pt x="1201" y="1611"/>
                  </a:lnTo>
                  <a:lnTo>
                    <a:pt x="1198" y="1611"/>
                  </a:lnTo>
                  <a:lnTo>
                    <a:pt x="1196" y="1611"/>
                  </a:lnTo>
                  <a:lnTo>
                    <a:pt x="1196" y="1611"/>
                  </a:lnTo>
                  <a:lnTo>
                    <a:pt x="1192" y="1611"/>
                  </a:lnTo>
                  <a:lnTo>
                    <a:pt x="1189" y="1610"/>
                  </a:lnTo>
                  <a:lnTo>
                    <a:pt x="1189" y="1610"/>
                  </a:lnTo>
                  <a:lnTo>
                    <a:pt x="1185" y="1605"/>
                  </a:lnTo>
                  <a:lnTo>
                    <a:pt x="1182" y="1600"/>
                  </a:lnTo>
                  <a:lnTo>
                    <a:pt x="1182" y="1600"/>
                  </a:lnTo>
                  <a:lnTo>
                    <a:pt x="1182" y="1598"/>
                  </a:lnTo>
                  <a:lnTo>
                    <a:pt x="1183" y="1595"/>
                  </a:lnTo>
                  <a:lnTo>
                    <a:pt x="1183" y="1595"/>
                  </a:lnTo>
                  <a:lnTo>
                    <a:pt x="1185" y="1593"/>
                  </a:lnTo>
                  <a:lnTo>
                    <a:pt x="1185" y="1593"/>
                  </a:lnTo>
                  <a:lnTo>
                    <a:pt x="1183" y="1590"/>
                  </a:lnTo>
                  <a:lnTo>
                    <a:pt x="1182" y="1588"/>
                  </a:lnTo>
                  <a:lnTo>
                    <a:pt x="1182" y="1588"/>
                  </a:lnTo>
                  <a:lnTo>
                    <a:pt x="1181" y="1587"/>
                  </a:lnTo>
                  <a:lnTo>
                    <a:pt x="1181" y="1587"/>
                  </a:lnTo>
                  <a:lnTo>
                    <a:pt x="1182" y="1585"/>
                  </a:lnTo>
                  <a:lnTo>
                    <a:pt x="1182" y="1585"/>
                  </a:lnTo>
                  <a:lnTo>
                    <a:pt x="1188" y="1584"/>
                  </a:lnTo>
                  <a:lnTo>
                    <a:pt x="1191" y="1581"/>
                  </a:lnTo>
                  <a:lnTo>
                    <a:pt x="1191" y="1577"/>
                  </a:lnTo>
                  <a:lnTo>
                    <a:pt x="1191" y="1577"/>
                  </a:lnTo>
                  <a:lnTo>
                    <a:pt x="1189" y="1573"/>
                  </a:lnTo>
                  <a:lnTo>
                    <a:pt x="1186" y="1570"/>
                  </a:lnTo>
                  <a:lnTo>
                    <a:pt x="1181" y="1567"/>
                  </a:lnTo>
                  <a:lnTo>
                    <a:pt x="1181" y="1567"/>
                  </a:lnTo>
                  <a:lnTo>
                    <a:pt x="1178" y="1567"/>
                  </a:lnTo>
                  <a:lnTo>
                    <a:pt x="1178" y="1567"/>
                  </a:lnTo>
                  <a:lnTo>
                    <a:pt x="1182" y="1564"/>
                  </a:lnTo>
                  <a:lnTo>
                    <a:pt x="1183" y="1561"/>
                  </a:lnTo>
                  <a:lnTo>
                    <a:pt x="1183" y="1558"/>
                  </a:lnTo>
                  <a:lnTo>
                    <a:pt x="1183" y="1558"/>
                  </a:lnTo>
                  <a:lnTo>
                    <a:pt x="1183" y="1555"/>
                  </a:lnTo>
                  <a:lnTo>
                    <a:pt x="1183" y="1555"/>
                  </a:lnTo>
                  <a:lnTo>
                    <a:pt x="1186" y="1554"/>
                  </a:lnTo>
                  <a:lnTo>
                    <a:pt x="1189" y="1553"/>
                  </a:lnTo>
                  <a:lnTo>
                    <a:pt x="1189" y="1553"/>
                  </a:lnTo>
                  <a:lnTo>
                    <a:pt x="1191" y="1550"/>
                  </a:lnTo>
                  <a:lnTo>
                    <a:pt x="1191" y="1550"/>
                  </a:lnTo>
                  <a:lnTo>
                    <a:pt x="1191" y="1550"/>
                  </a:lnTo>
                  <a:lnTo>
                    <a:pt x="1191" y="1550"/>
                  </a:lnTo>
                  <a:lnTo>
                    <a:pt x="1195" y="1550"/>
                  </a:lnTo>
                  <a:lnTo>
                    <a:pt x="1199" y="1547"/>
                  </a:lnTo>
                  <a:lnTo>
                    <a:pt x="1199" y="1547"/>
                  </a:lnTo>
                  <a:lnTo>
                    <a:pt x="1202" y="1540"/>
                  </a:lnTo>
                  <a:lnTo>
                    <a:pt x="1203" y="1534"/>
                  </a:lnTo>
                  <a:lnTo>
                    <a:pt x="1203" y="1534"/>
                  </a:lnTo>
                  <a:lnTo>
                    <a:pt x="1202" y="1530"/>
                  </a:lnTo>
                  <a:lnTo>
                    <a:pt x="1201" y="1525"/>
                  </a:lnTo>
                  <a:lnTo>
                    <a:pt x="1196" y="1520"/>
                  </a:lnTo>
                  <a:lnTo>
                    <a:pt x="1196" y="1520"/>
                  </a:lnTo>
                  <a:lnTo>
                    <a:pt x="1191" y="1514"/>
                  </a:lnTo>
                  <a:lnTo>
                    <a:pt x="1188" y="1507"/>
                  </a:lnTo>
                  <a:lnTo>
                    <a:pt x="1188" y="1507"/>
                  </a:lnTo>
                  <a:lnTo>
                    <a:pt x="1183" y="1498"/>
                  </a:lnTo>
                  <a:lnTo>
                    <a:pt x="1181" y="1495"/>
                  </a:lnTo>
                  <a:lnTo>
                    <a:pt x="1181" y="1495"/>
                  </a:lnTo>
                  <a:lnTo>
                    <a:pt x="1179" y="1494"/>
                  </a:lnTo>
                  <a:lnTo>
                    <a:pt x="1179" y="1491"/>
                  </a:lnTo>
                  <a:lnTo>
                    <a:pt x="1179" y="1491"/>
                  </a:lnTo>
                  <a:lnTo>
                    <a:pt x="1181" y="1477"/>
                  </a:lnTo>
                  <a:lnTo>
                    <a:pt x="1181" y="1477"/>
                  </a:lnTo>
                  <a:lnTo>
                    <a:pt x="1182" y="1458"/>
                  </a:lnTo>
                  <a:lnTo>
                    <a:pt x="1182" y="1450"/>
                  </a:lnTo>
                  <a:lnTo>
                    <a:pt x="1181" y="1442"/>
                  </a:lnTo>
                  <a:lnTo>
                    <a:pt x="1181" y="1442"/>
                  </a:lnTo>
                  <a:lnTo>
                    <a:pt x="1175" y="1432"/>
                  </a:lnTo>
                  <a:lnTo>
                    <a:pt x="1168" y="1422"/>
                  </a:lnTo>
                  <a:lnTo>
                    <a:pt x="1168" y="1422"/>
                  </a:lnTo>
                  <a:lnTo>
                    <a:pt x="1158" y="1410"/>
                  </a:lnTo>
                  <a:lnTo>
                    <a:pt x="1158" y="1410"/>
                  </a:lnTo>
                  <a:lnTo>
                    <a:pt x="1149" y="1398"/>
                  </a:lnTo>
                  <a:lnTo>
                    <a:pt x="1145" y="1394"/>
                  </a:lnTo>
                  <a:lnTo>
                    <a:pt x="1141" y="1392"/>
                  </a:lnTo>
                  <a:lnTo>
                    <a:pt x="1141" y="1392"/>
                  </a:lnTo>
                  <a:lnTo>
                    <a:pt x="1139" y="1394"/>
                  </a:lnTo>
                  <a:lnTo>
                    <a:pt x="1139" y="1394"/>
                  </a:lnTo>
                  <a:lnTo>
                    <a:pt x="1135" y="1388"/>
                  </a:lnTo>
                  <a:lnTo>
                    <a:pt x="1135" y="1388"/>
                  </a:lnTo>
                  <a:lnTo>
                    <a:pt x="1131" y="1385"/>
                  </a:lnTo>
                  <a:lnTo>
                    <a:pt x="1131" y="1385"/>
                  </a:lnTo>
                  <a:lnTo>
                    <a:pt x="1129" y="1384"/>
                  </a:lnTo>
                  <a:lnTo>
                    <a:pt x="1129" y="1382"/>
                  </a:lnTo>
                  <a:lnTo>
                    <a:pt x="1129" y="1382"/>
                  </a:lnTo>
                  <a:lnTo>
                    <a:pt x="1128" y="1381"/>
                  </a:lnTo>
                  <a:lnTo>
                    <a:pt x="1126" y="1380"/>
                  </a:lnTo>
                  <a:lnTo>
                    <a:pt x="1126" y="1380"/>
                  </a:lnTo>
                  <a:lnTo>
                    <a:pt x="1125" y="1380"/>
                  </a:lnTo>
                  <a:lnTo>
                    <a:pt x="1125" y="1380"/>
                  </a:lnTo>
                  <a:lnTo>
                    <a:pt x="1122" y="1380"/>
                  </a:lnTo>
                  <a:lnTo>
                    <a:pt x="1122" y="1380"/>
                  </a:lnTo>
                  <a:lnTo>
                    <a:pt x="1116" y="1378"/>
                  </a:lnTo>
                  <a:lnTo>
                    <a:pt x="1116" y="1378"/>
                  </a:lnTo>
                  <a:lnTo>
                    <a:pt x="1106" y="1377"/>
                  </a:lnTo>
                  <a:lnTo>
                    <a:pt x="1106" y="1377"/>
                  </a:lnTo>
                  <a:lnTo>
                    <a:pt x="1103" y="1375"/>
                  </a:lnTo>
                  <a:lnTo>
                    <a:pt x="1102" y="1372"/>
                  </a:lnTo>
                  <a:lnTo>
                    <a:pt x="1102" y="1372"/>
                  </a:lnTo>
                  <a:lnTo>
                    <a:pt x="1101" y="1368"/>
                  </a:lnTo>
                  <a:lnTo>
                    <a:pt x="1098" y="1365"/>
                  </a:lnTo>
                  <a:lnTo>
                    <a:pt x="1098" y="1365"/>
                  </a:lnTo>
                  <a:lnTo>
                    <a:pt x="1095" y="1361"/>
                  </a:lnTo>
                  <a:lnTo>
                    <a:pt x="1095" y="1361"/>
                  </a:lnTo>
                  <a:lnTo>
                    <a:pt x="1092" y="1357"/>
                  </a:lnTo>
                  <a:lnTo>
                    <a:pt x="1091" y="1355"/>
                  </a:lnTo>
                  <a:lnTo>
                    <a:pt x="1091" y="1355"/>
                  </a:lnTo>
                  <a:lnTo>
                    <a:pt x="1091" y="1354"/>
                  </a:lnTo>
                  <a:lnTo>
                    <a:pt x="1091" y="1354"/>
                  </a:lnTo>
                  <a:lnTo>
                    <a:pt x="1093" y="1350"/>
                  </a:lnTo>
                  <a:lnTo>
                    <a:pt x="1093" y="1345"/>
                  </a:lnTo>
                  <a:lnTo>
                    <a:pt x="1092" y="1341"/>
                  </a:lnTo>
                  <a:lnTo>
                    <a:pt x="1092" y="1341"/>
                  </a:lnTo>
                  <a:lnTo>
                    <a:pt x="1092" y="1340"/>
                  </a:lnTo>
                  <a:lnTo>
                    <a:pt x="1092" y="1340"/>
                  </a:lnTo>
                  <a:lnTo>
                    <a:pt x="1091" y="1337"/>
                  </a:lnTo>
                  <a:lnTo>
                    <a:pt x="1091" y="1337"/>
                  </a:lnTo>
                  <a:lnTo>
                    <a:pt x="1089" y="1332"/>
                  </a:lnTo>
                  <a:lnTo>
                    <a:pt x="1085" y="1327"/>
                  </a:lnTo>
                  <a:lnTo>
                    <a:pt x="1085" y="1327"/>
                  </a:lnTo>
                  <a:lnTo>
                    <a:pt x="1083" y="1322"/>
                  </a:lnTo>
                  <a:lnTo>
                    <a:pt x="1082" y="1317"/>
                  </a:lnTo>
                  <a:lnTo>
                    <a:pt x="1082" y="1317"/>
                  </a:lnTo>
                  <a:lnTo>
                    <a:pt x="1079" y="1308"/>
                  </a:lnTo>
                  <a:lnTo>
                    <a:pt x="1078" y="1305"/>
                  </a:lnTo>
                  <a:lnTo>
                    <a:pt x="1075" y="1304"/>
                  </a:lnTo>
                  <a:lnTo>
                    <a:pt x="1075" y="1304"/>
                  </a:lnTo>
                  <a:lnTo>
                    <a:pt x="1072" y="1305"/>
                  </a:lnTo>
                  <a:lnTo>
                    <a:pt x="1072" y="1305"/>
                  </a:lnTo>
                  <a:lnTo>
                    <a:pt x="1068" y="1307"/>
                  </a:lnTo>
                  <a:lnTo>
                    <a:pt x="1065" y="1307"/>
                  </a:lnTo>
                  <a:lnTo>
                    <a:pt x="1065" y="1307"/>
                  </a:lnTo>
                  <a:lnTo>
                    <a:pt x="1063" y="1307"/>
                  </a:lnTo>
                  <a:lnTo>
                    <a:pt x="1063" y="1307"/>
                  </a:lnTo>
                  <a:lnTo>
                    <a:pt x="1062" y="1301"/>
                  </a:lnTo>
                  <a:lnTo>
                    <a:pt x="1062" y="1301"/>
                  </a:lnTo>
                  <a:lnTo>
                    <a:pt x="1062" y="1295"/>
                  </a:lnTo>
                  <a:lnTo>
                    <a:pt x="1062" y="1288"/>
                  </a:lnTo>
                  <a:lnTo>
                    <a:pt x="1062" y="1288"/>
                  </a:lnTo>
                  <a:lnTo>
                    <a:pt x="1061" y="1278"/>
                  </a:lnTo>
                  <a:lnTo>
                    <a:pt x="1061" y="1272"/>
                  </a:lnTo>
                  <a:lnTo>
                    <a:pt x="1063" y="1269"/>
                  </a:lnTo>
                  <a:lnTo>
                    <a:pt x="1063" y="1269"/>
                  </a:lnTo>
                  <a:lnTo>
                    <a:pt x="1068" y="1259"/>
                  </a:lnTo>
                  <a:lnTo>
                    <a:pt x="1069" y="1252"/>
                  </a:lnTo>
                  <a:lnTo>
                    <a:pt x="1069" y="1248"/>
                  </a:lnTo>
                  <a:lnTo>
                    <a:pt x="1069" y="1248"/>
                  </a:lnTo>
                  <a:lnTo>
                    <a:pt x="1072" y="1245"/>
                  </a:lnTo>
                  <a:lnTo>
                    <a:pt x="1075" y="1241"/>
                  </a:lnTo>
                  <a:lnTo>
                    <a:pt x="1078" y="1235"/>
                  </a:lnTo>
                  <a:lnTo>
                    <a:pt x="1078" y="1228"/>
                  </a:lnTo>
                  <a:lnTo>
                    <a:pt x="1078" y="1228"/>
                  </a:lnTo>
                  <a:lnTo>
                    <a:pt x="1076" y="1209"/>
                  </a:lnTo>
                  <a:lnTo>
                    <a:pt x="1078" y="1192"/>
                  </a:lnTo>
                  <a:lnTo>
                    <a:pt x="1078" y="1192"/>
                  </a:lnTo>
                  <a:lnTo>
                    <a:pt x="1079" y="1189"/>
                  </a:lnTo>
                  <a:lnTo>
                    <a:pt x="1079" y="1188"/>
                  </a:lnTo>
                  <a:lnTo>
                    <a:pt x="1079" y="1188"/>
                  </a:lnTo>
                  <a:lnTo>
                    <a:pt x="1081" y="1188"/>
                  </a:lnTo>
                  <a:lnTo>
                    <a:pt x="1081" y="1188"/>
                  </a:lnTo>
                  <a:lnTo>
                    <a:pt x="1082" y="1188"/>
                  </a:lnTo>
                  <a:lnTo>
                    <a:pt x="1082" y="1188"/>
                  </a:lnTo>
                  <a:lnTo>
                    <a:pt x="1083" y="1188"/>
                  </a:lnTo>
                  <a:lnTo>
                    <a:pt x="1083" y="1188"/>
                  </a:lnTo>
                  <a:lnTo>
                    <a:pt x="1085" y="1188"/>
                  </a:lnTo>
                  <a:lnTo>
                    <a:pt x="1085" y="1188"/>
                  </a:lnTo>
                  <a:lnTo>
                    <a:pt x="1085" y="1194"/>
                  </a:lnTo>
                  <a:lnTo>
                    <a:pt x="1085" y="1194"/>
                  </a:lnTo>
                  <a:lnTo>
                    <a:pt x="1083" y="1198"/>
                  </a:lnTo>
                  <a:lnTo>
                    <a:pt x="1082" y="1202"/>
                  </a:lnTo>
                  <a:lnTo>
                    <a:pt x="1082" y="1202"/>
                  </a:lnTo>
                  <a:lnTo>
                    <a:pt x="1081" y="1207"/>
                  </a:lnTo>
                  <a:lnTo>
                    <a:pt x="1081" y="1208"/>
                  </a:lnTo>
                  <a:lnTo>
                    <a:pt x="1082" y="1209"/>
                  </a:lnTo>
                  <a:lnTo>
                    <a:pt x="1082" y="1209"/>
                  </a:lnTo>
                  <a:lnTo>
                    <a:pt x="1085" y="1212"/>
                  </a:lnTo>
                  <a:lnTo>
                    <a:pt x="1091" y="1212"/>
                  </a:lnTo>
                  <a:lnTo>
                    <a:pt x="1091" y="1212"/>
                  </a:lnTo>
                  <a:lnTo>
                    <a:pt x="1098" y="1212"/>
                  </a:lnTo>
                  <a:lnTo>
                    <a:pt x="1098" y="1212"/>
                  </a:lnTo>
                  <a:lnTo>
                    <a:pt x="1102" y="1212"/>
                  </a:lnTo>
                  <a:lnTo>
                    <a:pt x="1102" y="1212"/>
                  </a:lnTo>
                  <a:lnTo>
                    <a:pt x="1108" y="1212"/>
                  </a:lnTo>
                  <a:lnTo>
                    <a:pt x="1113" y="1211"/>
                  </a:lnTo>
                  <a:lnTo>
                    <a:pt x="1113" y="1211"/>
                  </a:lnTo>
                  <a:lnTo>
                    <a:pt x="1115" y="1212"/>
                  </a:lnTo>
                  <a:lnTo>
                    <a:pt x="1115" y="1212"/>
                  </a:lnTo>
                  <a:lnTo>
                    <a:pt x="1118" y="1217"/>
                  </a:lnTo>
                  <a:lnTo>
                    <a:pt x="1122" y="1222"/>
                  </a:lnTo>
                  <a:lnTo>
                    <a:pt x="1128" y="1227"/>
                  </a:lnTo>
                  <a:lnTo>
                    <a:pt x="1131" y="1228"/>
                  </a:lnTo>
                  <a:lnTo>
                    <a:pt x="1131" y="1228"/>
                  </a:lnTo>
                  <a:lnTo>
                    <a:pt x="1133" y="1228"/>
                  </a:lnTo>
                  <a:lnTo>
                    <a:pt x="1133" y="1228"/>
                  </a:lnTo>
                  <a:lnTo>
                    <a:pt x="1138" y="1234"/>
                  </a:lnTo>
                  <a:lnTo>
                    <a:pt x="1139" y="1238"/>
                  </a:lnTo>
                  <a:lnTo>
                    <a:pt x="1141" y="1242"/>
                  </a:lnTo>
                  <a:lnTo>
                    <a:pt x="1141" y="1242"/>
                  </a:lnTo>
                  <a:lnTo>
                    <a:pt x="1141" y="1247"/>
                  </a:lnTo>
                  <a:lnTo>
                    <a:pt x="1142" y="1252"/>
                  </a:lnTo>
                  <a:lnTo>
                    <a:pt x="1145" y="1257"/>
                  </a:lnTo>
                  <a:lnTo>
                    <a:pt x="1146" y="1258"/>
                  </a:lnTo>
                  <a:lnTo>
                    <a:pt x="1151" y="1259"/>
                  </a:lnTo>
                  <a:lnTo>
                    <a:pt x="1151" y="1259"/>
                  </a:lnTo>
                  <a:lnTo>
                    <a:pt x="1153" y="1259"/>
                  </a:lnTo>
                  <a:lnTo>
                    <a:pt x="1156" y="1261"/>
                  </a:lnTo>
                  <a:lnTo>
                    <a:pt x="1162" y="1269"/>
                  </a:lnTo>
                  <a:lnTo>
                    <a:pt x="1163" y="1269"/>
                  </a:lnTo>
                  <a:lnTo>
                    <a:pt x="1163" y="1269"/>
                  </a:lnTo>
                  <a:lnTo>
                    <a:pt x="1166" y="1275"/>
                  </a:lnTo>
                  <a:lnTo>
                    <a:pt x="1171" y="1278"/>
                  </a:lnTo>
                  <a:lnTo>
                    <a:pt x="1175" y="1278"/>
                  </a:lnTo>
                  <a:lnTo>
                    <a:pt x="1181" y="1278"/>
                  </a:lnTo>
                  <a:lnTo>
                    <a:pt x="1181" y="1278"/>
                  </a:lnTo>
                  <a:lnTo>
                    <a:pt x="1182" y="1278"/>
                  </a:lnTo>
                  <a:lnTo>
                    <a:pt x="1182" y="1278"/>
                  </a:lnTo>
                  <a:lnTo>
                    <a:pt x="1182" y="1281"/>
                  </a:lnTo>
                  <a:lnTo>
                    <a:pt x="1183" y="1285"/>
                  </a:lnTo>
                  <a:lnTo>
                    <a:pt x="1183" y="1285"/>
                  </a:lnTo>
                  <a:lnTo>
                    <a:pt x="1186" y="1287"/>
                  </a:lnTo>
                  <a:lnTo>
                    <a:pt x="1189" y="1288"/>
                  </a:lnTo>
                  <a:lnTo>
                    <a:pt x="1189" y="1288"/>
                  </a:lnTo>
                  <a:lnTo>
                    <a:pt x="1196" y="1289"/>
                  </a:lnTo>
                  <a:lnTo>
                    <a:pt x="1201" y="1292"/>
                  </a:lnTo>
                  <a:lnTo>
                    <a:pt x="1201" y="1292"/>
                  </a:lnTo>
                  <a:lnTo>
                    <a:pt x="1198" y="1294"/>
                  </a:lnTo>
                  <a:lnTo>
                    <a:pt x="1198" y="1294"/>
                  </a:lnTo>
                  <a:lnTo>
                    <a:pt x="1195" y="1298"/>
                  </a:lnTo>
                  <a:lnTo>
                    <a:pt x="1193" y="1301"/>
                  </a:lnTo>
                  <a:lnTo>
                    <a:pt x="1193" y="1307"/>
                  </a:lnTo>
                  <a:lnTo>
                    <a:pt x="1193" y="1307"/>
                  </a:lnTo>
                  <a:lnTo>
                    <a:pt x="1193" y="1311"/>
                  </a:lnTo>
                  <a:lnTo>
                    <a:pt x="1193" y="1311"/>
                  </a:lnTo>
                  <a:lnTo>
                    <a:pt x="1195" y="1331"/>
                  </a:lnTo>
                  <a:lnTo>
                    <a:pt x="1198" y="1337"/>
                  </a:lnTo>
                  <a:lnTo>
                    <a:pt x="1199" y="1338"/>
                  </a:lnTo>
                  <a:lnTo>
                    <a:pt x="1199" y="1338"/>
                  </a:lnTo>
                  <a:lnTo>
                    <a:pt x="1201" y="1340"/>
                  </a:lnTo>
                  <a:lnTo>
                    <a:pt x="1201" y="1340"/>
                  </a:lnTo>
                  <a:lnTo>
                    <a:pt x="1203" y="1338"/>
                  </a:lnTo>
                  <a:lnTo>
                    <a:pt x="1203" y="1338"/>
                  </a:lnTo>
                  <a:lnTo>
                    <a:pt x="1208" y="1334"/>
                  </a:lnTo>
                  <a:lnTo>
                    <a:pt x="1208" y="1334"/>
                  </a:lnTo>
                  <a:lnTo>
                    <a:pt x="1209" y="1337"/>
                  </a:lnTo>
                  <a:lnTo>
                    <a:pt x="1209" y="1337"/>
                  </a:lnTo>
                  <a:lnTo>
                    <a:pt x="1211" y="1337"/>
                  </a:lnTo>
                  <a:lnTo>
                    <a:pt x="1211" y="1337"/>
                  </a:lnTo>
                  <a:lnTo>
                    <a:pt x="1213" y="1335"/>
                  </a:lnTo>
                  <a:lnTo>
                    <a:pt x="1213" y="1335"/>
                  </a:lnTo>
                  <a:lnTo>
                    <a:pt x="1218" y="1331"/>
                  </a:lnTo>
                  <a:lnTo>
                    <a:pt x="1219" y="1325"/>
                  </a:lnTo>
                  <a:lnTo>
                    <a:pt x="1219" y="1325"/>
                  </a:lnTo>
                  <a:lnTo>
                    <a:pt x="1222" y="1319"/>
                  </a:lnTo>
                  <a:lnTo>
                    <a:pt x="1224" y="1318"/>
                  </a:lnTo>
                  <a:lnTo>
                    <a:pt x="1225" y="1317"/>
                  </a:lnTo>
                  <a:lnTo>
                    <a:pt x="1225" y="1317"/>
                  </a:lnTo>
                  <a:lnTo>
                    <a:pt x="1232" y="1315"/>
                  </a:lnTo>
                  <a:lnTo>
                    <a:pt x="1232" y="1315"/>
                  </a:lnTo>
                  <a:lnTo>
                    <a:pt x="1239" y="1312"/>
                  </a:lnTo>
                  <a:lnTo>
                    <a:pt x="1241" y="1309"/>
                  </a:lnTo>
                  <a:lnTo>
                    <a:pt x="1242" y="1307"/>
                  </a:lnTo>
                  <a:lnTo>
                    <a:pt x="1242" y="1307"/>
                  </a:lnTo>
                  <a:lnTo>
                    <a:pt x="1242" y="1307"/>
                  </a:lnTo>
                  <a:lnTo>
                    <a:pt x="1242" y="1307"/>
                  </a:lnTo>
                  <a:lnTo>
                    <a:pt x="1244" y="1305"/>
                  </a:lnTo>
                  <a:lnTo>
                    <a:pt x="1245" y="1302"/>
                  </a:lnTo>
                  <a:lnTo>
                    <a:pt x="1245" y="1302"/>
                  </a:lnTo>
                  <a:lnTo>
                    <a:pt x="1245" y="1302"/>
                  </a:lnTo>
                  <a:lnTo>
                    <a:pt x="1245" y="1302"/>
                  </a:lnTo>
                  <a:lnTo>
                    <a:pt x="1248" y="1304"/>
                  </a:lnTo>
                  <a:lnTo>
                    <a:pt x="1251" y="1304"/>
                  </a:lnTo>
                  <a:lnTo>
                    <a:pt x="1251" y="1304"/>
                  </a:lnTo>
                  <a:lnTo>
                    <a:pt x="1252" y="1304"/>
                  </a:lnTo>
                  <a:lnTo>
                    <a:pt x="1254" y="1301"/>
                  </a:lnTo>
                  <a:lnTo>
                    <a:pt x="1254" y="1301"/>
                  </a:lnTo>
                  <a:lnTo>
                    <a:pt x="1254" y="1299"/>
                  </a:lnTo>
                  <a:lnTo>
                    <a:pt x="1254" y="1298"/>
                  </a:lnTo>
                  <a:lnTo>
                    <a:pt x="1251" y="1294"/>
                  </a:lnTo>
                  <a:lnTo>
                    <a:pt x="1251" y="1294"/>
                  </a:lnTo>
                  <a:lnTo>
                    <a:pt x="1248" y="1289"/>
                  </a:lnTo>
                  <a:lnTo>
                    <a:pt x="1246" y="1287"/>
                  </a:lnTo>
                  <a:lnTo>
                    <a:pt x="1248" y="1282"/>
                  </a:lnTo>
                  <a:lnTo>
                    <a:pt x="1248" y="1282"/>
                  </a:lnTo>
                  <a:lnTo>
                    <a:pt x="1252" y="1274"/>
                  </a:lnTo>
                  <a:lnTo>
                    <a:pt x="1252" y="1274"/>
                  </a:lnTo>
                  <a:lnTo>
                    <a:pt x="1252" y="1274"/>
                  </a:lnTo>
                  <a:lnTo>
                    <a:pt x="1252" y="1274"/>
                  </a:lnTo>
                  <a:lnTo>
                    <a:pt x="1256" y="1278"/>
                  </a:lnTo>
                  <a:lnTo>
                    <a:pt x="1259" y="1279"/>
                  </a:lnTo>
                  <a:lnTo>
                    <a:pt x="1259" y="1279"/>
                  </a:lnTo>
                  <a:lnTo>
                    <a:pt x="1264" y="1279"/>
                  </a:lnTo>
                  <a:lnTo>
                    <a:pt x="1266" y="1278"/>
                  </a:lnTo>
                  <a:lnTo>
                    <a:pt x="1266" y="1278"/>
                  </a:lnTo>
                  <a:lnTo>
                    <a:pt x="1269" y="1278"/>
                  </a:lnTo>
                  <a:lnTo>
                    <a:pt x="1269" y="1278"/>
                  </a:lnTo>
                  <a:lnTo>
                    <a:pt x="1274" y="1278"/>
                  </a:lnTo>
                  <a:lnTo>
                    <a:pt x="1278" y="1274"/>
                  </a:lnTo>
                  <a:lnTo>
                    <a:pt x="1278" y="1274"/>
                  </a:lnTo>
                  <a:lnTo>
                    <a:pt x="1285" y="1268"/>
                  </a:lnTo>
                  <a:lnTo>
                    <a:pt x="1292" y="1264"/>
                  </a:lnTo>
                  <a:lnTo>
                    <a:pt x="1292" y="1264"/>
                  </a:lnTo>
                  <a:lnTo>
                    <a:pt x="1296" y="1261"/>
                  </a:lnTo>
                  <a:lnTo>
                    <a:pt x="1304" y="1257"/>
                  </a:lnTo>
                  <a:lnTo>
                    <a:pt x="1314" y="1249"/>
                  </a:lnTo>
                  <a:lnTo>
                    <a:pt x="1314" y="1249"/>
                  </a:lnTo>
                  <a:lnTo>
                    <a:pt x="1315" y="1247"/>
                  </a:lnTo>
                  <a:lnTo>
                    <a:pt x="1316" y="1244"/>
                  </a:lnTo>
                  <a:lnTo>
                    <a:pt x="1316" y="1237"/>
                  </a:lnTo>
                  <a:lnTo>
                    <a:pt x="1316" y="1237"/>
                  </a:lnTo>
                  <a:lnTo>
                    <a:pt x="1318" y="1229"/>
                  </a:lnTo>
                  <a:lnTo>
                    <a:pt x="1318" y="1229"/>
                  </a:lnTo>
                  <a:lnTo>
                    <a:pt x="1318" y="1225"/>
                  </a:lnTo>
                  <a:lnTo>
                    <a:pt x="1318" y="1225"/>
                  </a:lnTo>
                  <a:lnTo>
                    <a:pt x="1319" y="1214"/>
                  </a:lnTo>
                  <a:lnTo>
                    <a:pt x="1319" y="1204"/>
                  </a:lnTo>
                  <a:lnTo>
                    <a:pt x="1319" y="1204"/>
                  </a:lnTo>
                  <a:lnTo>
                    <a:pt x="1316" y="1195"/>
                  </a:lnTo>
                  <a:lnTo>
                    <a:pt x="1316" y="1195"/>
                  </a:lnTo>
                  <a:lnTo>
                    <a:pt x="1312" y="1187"/>
                  </a:lnTo>
                  <a:lnTo>
                    <a:pt x="1311" y="1182"/>
                  </a:lnTo>
                  <a:lnTo>
                    <a:pt x="1311" y="1179"/>
                  </a:lnTo>
                  <a:lnTo>
                    <a:pt x="1311" y="1179"/>
                  </a:lnTo>
                  <a:lnTo>
                    <a:pt x="1311" y="1175"/>
                  </a:lnTo>
                  <a:lnTo>
                    <a:pt x="1311" y="1175"/>
                  </a:lnTo>
                  <a:lnTo>
                    <a:pt x="1312" y="1172"/>
                  </a:lnTo>
                  <a:lnTo>
                    <a:pt x="1311" y="1168"/>
                  </a:lnTo>
                  <a:lnTo>
                    <a:pt x="1306" y="1149"/>
                  </a:lnTo>
                  <a:lnTo>
                    <a:pt x="1306" y="1149"/>
                  </a:lnTo>
                  <a:lnTo>
                    <a:pt x="1301" y="1138"/>
                  </a:lnTo>
                  <a:lnTo>
                    <a:pt x="1296" y="1131"/>
                  </a:lnTo>
                  <a:lnTo>
                    <a:pt x="1291" y="1124"/>
                  </a:lnTo>
                  <a:lnTo>
                    <a:pt x="1285" y="1118"/>
                  </a:lnTo>
                  <a:lnTo>
                    <a:pt x="1285" y="1118"/>
                  </a:lnTo>
                  <a:lnTo>
                    <a:pt x="1279" y="1111"/>
                  </a:lnTo>
                  <a:lnTo>
                    <a:pt x="1274" y="1104"/>
                  </a:lnTo>
                  <a:lnTo>
                    <a:pt x="1274" y="1104"/>
                  </a:lnTo>
                  <a:lnTo>
                    <a:pt x="1269" y="1098"/>
                  </a:lnTo>
                  <a:lnTo>
                    <a:pt x="1265" y="1096"/>
                  </a:lnTo>
                  <a:lnTo>
                    <a:pt x="1265" y="1096"/>
                  </a:lnTo>
                  <a:lnTo>
                    <a:pt x="1265" y="1096"/>
                  </a:lnTo>
                  <a:lnTo>
                    <a:pt x="1264" y="1098"/>
                  </a:lnTo>
                  <a:lnTo>
                    <a:pt x="1262" y="1099"/>
                  </a:lnTo>
                  <a:lnTo>
                    <a:pt x="1262" y="1099"/>
                  </a:lnTo>
                  <a:lnTo>
                    <a:pt x="1262" y="1099"/>
                  </a:lnTo>
                  <a:lnTo>
                    <a:pt x="1262" y="1099"/>
                  </a:lnTo>
                  <a:lnTo>
                    <a:pt x="1262" y="1096"/>
                  </a:lnTo>
                  <a:lnTo>
                    <a:pt x="1261" y="1094"/>
                  </a:lnTo>
                  <a:lnTo>
                    <a:pt x="1261" y="1094"/>
                  </a:lnTo>
                  <a:lnTo>
                    <a:pt x="1256" y="1089"/>
                  </a:lnTo>
                  <a:lnTo>
                    <a:pt x="1256" y="1089"/>
                  </a:lnTo>
                  <a:lnTo>
                    <a:pt x="1256" y="1089"/>
                  </a:lnTo>
                  <a:lnTo>
                    <a:pt x="1241" y="1075"/>
                  </a:lnTo>
                  <a:lnTo>
                    <a:pt x="1234" y="1068"/>
                  </a:lnTo>
                  <a:lnTo>
                    <a:pt x="1229" y="1062"/>
                  </a:lnTo>
                  <a:lnTo>
                    <a:pt x="1229" y="1062"/>
                  </a:lnTo>
                  <a:lnTo>
                    <a:pt x="1228" y="1059"/>
                  </a:lnTo>
                  <a:lnTo>
                    <a:pt x="1229" y="1056"/>
                  </a:lnTo>
                  <a:lnTo>
                    <a:pt x="1229" y="1056"/>
                  </a:lnTo>
                  <a:lnTo>
                    <a:pt x="1228" y="1054"/>
                  </a:lnTo>
                  <a:lnTo>
                    <a:pt x="1226" y="1051"/>
                  </a:lnTo>
                  <a:lnTo>
                    <a:pt x="1225" y="1051"/>
                  </a:lnTo>
                  <a:lnTo>
                    <a:pt x="1225" y="1051"/>
                  </a:lnTo>
                  <a:lnTo>
                    <a:pt x="1209" y="1035"/>
                  </a:lnTo>
                  <a:lnTo>
                    <a:pt x="1202" y="1026"/>
                  </a:lnTo>
                  <a:lnTo>
                    <a:pt x="1202" y="1026"/>
                  </a:lnTo>
                  <a:lnTo>
                    <a:pt x="1203" y="1026"/>
                  </a:lnTo>
                  <a:lnTo>
                    <a:pt x="1203" y="1026"/>
                  </a:lnTo>
                  <a:lnTo>
                    <a:pt x="1206" y="1022"/>
                  </a:lnTo>
                  <a:lnTo>
                    <a:pt x="1205" y="1015"/>
                  </a:lnTo>
                  <a:lnTo>
                    <a:pt x="1205" y="1015"/>
                  </a:lnTo>
                  <a:lnTo>
                    <a:pt x="1203" y="1009"/>
                  </a:lnTo>
                  <a:lnTo>
                    <a:pt x="1205" y="1008"/>
                  </a:lnTo>
                  <a:lnTo>
                    <a:pt x="1205" y="1008"/>
                  </a:lnTo>
                  <a:lnTo>
                    <a:pt x="1206" y="1003"/>
                  </a:lnTo>
                  <a:lnTo>
                    <a:pt x="1206" y="999"/>
                  </a:lnTo>
                  <a:lnTo>
                    <a:pt x="1206" y="999"/>
                  </a:lnTo>
                  <a:lnTo>
                    <a:pt x="1208" y="995"/>
                  </a:lnTo>
                  <a:lnTo>
                    <a:pt x="1211" y="992"/>
                  </a:lnTo>
                  <a:lnTo>
                    <a:pt x="1211" y="992"/>
                  </a:lnTo>
                  <a:lnTo>
                    <a:pt x="1215" y="991"/>
                  </a:lnTo>
                  <a:lnTo>
                    <a:pt x="1215" y="991"/>
                  </a:lnTo>
                  <a:lnTo>
                    <a:pt x="1218" y="988"/>
                  </a:lnTo>
                  <a:lnTo>
                    <a:pt x="1219" y="985"/>
                  </a:lnTo>
                  <a:lnTo>
                    <a:pt x="1221" y="979"/>
                  </a:lnTo>
                  <a:lnTo>
                    <a:pt x="1221" y="979"/>
                  </a:lnTo>
                  <a:lnTo>
                    <a:pt x="1219" y="975"/>
                  </a:lnTo>
                  <a:lnTo>
                    <a:pt x="1219" y="975"/>
                  </a:lnTo>
                  <a:lnTo>
                    <a:pt x="1221" y="972"/>
                  </a:lnTo>
                  <a:lnTo>
                    <a:pt x="1222" y="971"/>
                  </a:lnTo>
                  <a:lnTo>
                    <a:pt x="1228" y="968"/>
                  </a:lnTo>
                  <a:lnTo>
                    <a:pt x="1228" y="968"/>
                  </a:lnTo>
                  <a:lnTo>
                    <a:pt x="1232" y="966"/>
                  </a:lnTo>
                  <a:lnTo>
                    <a:pt x="1236" y="963"/>
                  </a:lnTo>
                  <a:lnTo>
                    <a:pt x="1236" y="963"/>
                  </a:lnTo>
                  <a:lnTo>
                    <a:pt x="1239" y="961"/>
                  </a:lnTo>
                  <a:lnTo>
                    <a:pt x="1244" y="956"/>
                  </a:lnTo>
                  <a:lnTo>
                    <a:pt x="1244" y="956"/>
                  </a:lnTo>
                  <a:lnTo>
                    <a:pt x="1249" y="953"/>
                  </a:lnTo>
                  <a:lnTo>
                    <a:pt x="1249" y="953"/>
                  </a:lnTo>
                  <a:lnTo>
                    <a:pt x="1251" y="953"/>
                  </a:lnTo>
                  <a:lnTo>
                    <a:pt x="1251" y="953"/>
                  </a:lnTo>
                  <a:lnTo>
                    <a:pt x="1254" y="953"/>
                  </a:lnTo>
                  <a:lnTo>
                    <a:pt x="1258" y="952"/>
                  </a:lnTo>
                  <a:lnTo>
                    <a:pt x="1258" y="952"/>
                  </a:lnTo>
                  <a:lnTo>
                    <a:pt x="1261" y="951"/>
                  </a:lnTo>
                  <a:lnTo>
                    <a:pt x="1262" y="951"/>
                  </a:lnTo>
                  <a:lnTo>
                    <a:pt x="1262" y="951"/>
                  </a:lnTo>
                  <a:lnTo>
                    <a:pt x="1264" y="951"/>
                  </a:lnTo>
                  <a:lnTo>
                    <a:pt x="1264" y="951"/>
                  </a:lnTo>
                  <a:lnTo>
                    <a:pt x="1265" y="952"/>
                  </a:lnTo>
                  <a:lnTo>
                    <a:pt x="1266" y="953"/>
                  </a:lnTo>
                  <a:lnTo>
                    <a:pt x="1266" y="953"/>
                  </a:lnTo>
                  <a:lnTo>
                    <a:pt x="1269" y="953"/>
                  </a:lnTo>
                  <a:lnTo>
                    <a:pt x="1272" y="953"/>
                  </a:lnTo>
                  <a:lnTo>
                    <a:pt x="1272" y="953"/>
                  </a:lnTo>
                  <a:lnTo>
                    <a:pt x="1272" y="953"/>
                  </a:lnTo>
                  <a:lnTo>
                    <a:pt x="1272" y="953"/>
                  </a:lnTo>
                  <a:lnTo>
                    <a:pt x="1274" y="955"/>
                  </a:lnTo>
                  <a:lnTo>
                    <a:pt x="1275" y="956"/>
                  </a:lnTo>
                  <a:lnTo>
                    <a:pt x="1275" y="956"/>
                  </a:lnTo>
                  <a:lnTo>
                    <a:pt x="1278" y="958"/>
                  </a:lnTo>
                  <a:lnTo>
                    <a:pt x="1282" y="956"/>
                  </a:lnTo>
                  <a:lnTo>
                    <a:pt x="1282" y="956"/>
                  </a:lnTo>
                  <a:lnTo>
                    <a:pt x="1281" y="959"/>
                  </a:lnTo>
                  <a:lnTo>
                    <a:pt x="1281" y="963"/>
                  </a:lnTo>
                  <a:lnTo>
                    <a:pt x="1281" y="963"/>
                  </a:lnTo>
                  <a:lnTo>
                    <a:pt x="1281" y="966"/>
                  </a:lnTo>
                  <a:lnTo>
                    <a:pt x="1282" y="968"/>
                  </a:lnTo>
                  <a:lnTo>
                    <a:pt x="1284" y="971"/>
                  </a:lnTo>
                  <a:lnTo>
                    <a:pt x="1284" y="971"/>
                  </a:lnTo>
                  <a:lnTo>
                    <a:pt x="1285" y="971"/>
                  </a:lnTo>
                  <a:lnTo>
                    <a:pt x="1285" y="971"/>
                  </a:lnTo>
                  <a:lnTo>
                    <a:pt x="1284" y="972"/>
                  </a:lnTo>
                  <a:lnTo>
                    <a:pt x="1284" y="975"/>
                  </a:lnTo>
                  <a:lnTo>
                    <a:pt x="1284" y="975"/>
                  </a:lnTo>
                  <a:lnTo>
                    <a:pt x="1285" y="976"/>
                  </a:lnTo>
                  <a:lnTo>
                    <a:pt x="1288" y="978"/>
                  </a:lnTo>
                  <a:lnTo>
                    <a:pt x="1288" y="978"/>
                  </a:lnTo>
                  <a:lnTo>
                    <a:pt x="1291" y="979"/>
                  </a:lnTo>
                  <a:lnTo>
                    <a:pt x="1291" y="979"/>
                  </a:lnTo>
                  <a:lnTo>
                    <a:pt x="1291" y="979"/>
                  </a:lnTo>
                  <a:lnTo>
                    <a:pt x="1291" y="979"/>
                  </a:lnTo>
                  <a:lnTo>
                    <a:pt x="1292" y="983"/>
                  </a:lnTo>
                  <a:lnTo>
                    <a:pt x="1292" y="983"/>
                  </a:lnTo>
                  <a:lnTo>
                    <a:pt x="1294" y="986"/>
                  </a:lnTo>
                  <a:lnTo>
                    <a:pt x="1298" y="988"/>
                  </a:lnTo>
                  <a:lnTo>
                    <a:pt x="1298" y="988"/>
                  </a:lnTo>
                  <a:lnTo>
                    <a:pt x="1301" y="986"/>
                  </a:lnTo>
                  <a:lnTo>
                    <a:pt x="1301" y="986"/>
                  </a:lnTo>
                  <a:lnTo>
                    <a:pt x="1302" y="989"/>
                  </a:lnTo>
                  <a:lnTo>
                    <a:pt x="1306" y="991"/>
                  </a:lnTo>
                  <a:lnTo>
                    <a:pt x="1306" y="991"/>
                  </a:lnTo>
                  <a:lnTo>
                    <a:pt x="1312" y="989"/>
                  </a:lnTo>
                  <a:lnTo>
                    <a:pt x="1312" y="989"/>
                  </a:lnTo>
                  <a:lnTo>
                    <a:pt x="1316" y="989"/>
                  </a:lnTo>
                  <a:lnTo>
                    <a:pt x="1316" y="989"/>
                  </a:lnTo>
                  <a:lnTo>
                    <a:pt x="1318" y="988"/>
                  </a:lnTo>
                  <a:lnTo>
                    <a:pt x="1321" y="988"/>
                  </a:lnTo>
                  <a:lnTo>
                    <a:pt x="1321" y="986"/>
                  </a:lnTo>
                  <a:lnTo>
                    <a:pt x="1321" y="986"/>
                  </a:lnTo>
                  <a:lnTo>
                    <a:pt x="1322" y="983"/>
                  </a:lnTo>
                  <a:lnTo>
                    <a:pt x="1321" y="982"/>
                  </a:lnTo>
                  <a:lnTo>
                    <a:pt x="1318" y="978"/>
                  </a:lnTo>
                  <a:lnTo>
                    <a:pt x="1318" y="978"/>
                  </a:lnTo>
                  <a:lnTo>
                    <a:pt x="1318" y="976"/>
                  </a:lnTo>
                  <a:lnTo>
                    <a:pt x="1318" y="976"/>
                  </a:lnTo>
                  <a:lnTo>
                    <a:pt x="1316" y="973"/>
                  </a:lnTo>
                  <a:lnTo>
                    <a:pt x="1314" y="971"/>
                  </a:lnTo>
                  <a:lnTo>
                    <a:pt x="1314" y="971"/>
                  </a:lnTo>
                  <a:lnTo>
                    <a:pt x="1315" y="968"/>
                  </a:lnTo>
                  <a:lnTo>
                    <a:pt x="1315" y="968"/>
                  </a:lnTo>
                  <a:lnTo>
                    <a:pt x="1316" y="962"/>
                  </a:lnTo>
                  <a:lnTo>
                    <a:pt x="1316" y="962"/>
                  </a:lnTo>
                  <a:lnTo>
                    <a:pt x="1316" y="958"/>
                  </a:lnTo>
                  <a:lnTo>
                    <a:pt x="1316" y="958"/>
                  </a:lnTo>
                  <a:lnTo>
                    <a:pt x="1322" y="955"/>
                  </a:lnTo>
                  <a:lnTo>
                    <a:pt x="1322" y="955"/>
                  </a:lnTo>
                  <a:lnTo>
                    <a:pt x="1324" y="953"/>
                  </a:lnTo>
                  <a:lnTo>
                    <a:pt x="1325" y="953"/>
                  </a:lnTo>
                  <a:lnTo>
                    <a:pt x="1325" y="953"/>
                  </a:lnTo>
                  <a:lnTo>
                    <a:pt x="1326" y="953"/>
                  </a:lnTo>
                  <a:lnTo>
                    <a:pt x="1329" y="952"/>
                  </a:lnTo>
                  <a:lnTo>
                    <a:pt x="1329" y="952"/>
                  </a:lnTo>
                  <a:lnTo>
                    <a:pt x="1332" y="952"/>
                  </a:lnTo>
                  <a:lnTo>
                    <a:pt x="1336" y="953"/>
                  </a:lnTo>
                  <a:lnTo>
                    <a:pt x="1336" y="953"/>
                  </a:lnTo>
                  <a:lnTo>
                    <a:pt x="1341" y="955"/>
                  </a:lnTo>
                  <a:lnTo>
                    <a:pt x="1344" y="955"/>
                  </a:lnTo>
                  <a:lnTo>
                    <a:pt x="1344" y="955"/>
                  </a:lnTo>
                  <a:lnTo>
                    <a:pt x="1345" y="952"/>
                  </a:lnTo>
                  <a:lnTo>
                    <a:pt x="1346" y="951"/>
                  </a:lnTo>
                  <a:lnTo>
                    <a:pt x="1346" y="951"/>
                  </a:lnTo>
                  <a:lnTo>
                    <a:pt x="1351" y="941"/>
                  </a:lnTo>
                  <a:lnTo>
                    <a:pt x="1351" y="941"/>
                  </a:lnTo>
                  <a:lnTo>
                    <a:pt x="1354" y="941"/>
                  </a:lnTo>
                  <a:lnTo>
                    <a:pt x="1354" y="941"/>
                  </a:lnTo>
                  <a:lnTo>
                    <a:pt x="1354" y="941"/>
                  </a:lnTo>
                  <a:lnTo>
                    <a:pt x="1354" y="941"/>
                  </a:lnTo>
                  <a:lnTo>
                    <a:pt x="1356" y="941"/>
                  </a:lnTo>
                  <a:lnTo>
                    <a:pt x="1356" y="941"/>
                  </a:lnTo>
                  <a:lnTo>
                    <a:pt x="1358" y="942"/>
                  </a:lnTo>
                  <a:lnTo>
                    <a:pt x="1358" y="942"/>
                  </a:lnTo>
                  <a:lnTo>
                    <a:pt x="1361" y="943"/>
                  </a:lnTo>
                  <a:lnTo>
                    <a:pt x="1365" y="945"/>
                  </a:lnTo>
                  <a:lnTo>
                    <a:pt x="1365" y="945"/>
                  </a:lnTo>
                  <a:lnTo>
                    <a:pt x="1369" y="943"/>
                  </a:lnTo>
                  <a:lnTo>
                    <a:pt x="1369" y="943"/>
                  </a:lnTo>
                  <a:lnTo>
                    <a:pt x="1372" y="941"/>
                  </a:lnTo>
                  <a:lnTo>
                    <a:pt x="1374" y="938"/>
                  </a:lnTo>
                  <a:lnTo>
                    <a:pt x="1374" y="938"/>
                  </a:lnTo>
                  <a:lnTo>
                    <a:pt x="1374" y="936"/>
                  </a:lnTo>
                  <a:lnTo>
                    <a:pt x="1374" y="936"/>
                  </a:lnTo>
                  <a:lnTo>
                    <a:pt x="1374" y="931"/>
                  </a:lnTo>
                  <a:lnTo>
                    <a:pt x="1374" y="931"/>
                  </a:lnTo>
                  <a:lnTo>
                    <a:pt x="1375" y="926"/>
                  </a:lnTo>
                  <a:lnTo>
                    <a:pt x="1375" y="926"/>
                  </a:lnTo>
                  <a:lnTo>
                    <a:pt x="1375" y="926"/>
                  </a:lnTo>
                  <a:lnTo>
                    <a:pt x="1375" y="926"/>
                  </a:lnTo>
                  <a:lnTo>
                    <a:pt x="1376" y="926"/>
                  </a:lnTo>
                  <a:lnTo>
                    <a:pt x="1376" y="926"/>
                  </a:lnTo>
                  <a:lnTo>
                    <a:pt x="1379" y="929"/>
                  </a:lnTo>
                  <a:lnTo>
                    <a:pt x="1379" y="929"/>
                  </a:lnTo>
                  <a:lnTo>
                    <a:pt x="1381" y="931"/>
                  </a:lnTo>
                  <a:lnTo>
                    <a:pt x="1384" y="931"/>
                  </a:lnTo>
                  <a:lnTo>
                    <a:pt x="1384" y="931"/>
                  </a:lnTo>
                  <a:lnTo>
                    <a:pt x="1386" y="928"/>
                  </a:lnTo>
                  <a:lnTo>
                    <a:pt x="1386" y="923"/>
                  </a:lnTo>
                  <a:lnTo>
                    <a:pt x="1386" y="923"/>
                  </a:lnTo>
                  <a:lnTo>
                    <a:pt x="1386" y="921"/>
                  </a:lnTo>
                  <a:lnTo>
                    <a:pt x="1386" y="921"/>
                  </a:lnTo>
                  <a:lnTo>
                    <a:pt x="1388" y="921"/>
                  </a:lnTo>
                  <a:lnTo>
                    <a:pt x="1388" y="921"/>
                  </a:lnTo>
                  <a:lnTo>
                    <a:pt x="1389" y="921"/>
                  </a:lnTo>
                  <a:lnTo>
                    <a:pt x="1389" y="921"/>
                  </a:lnTo>
                  <a:lnTo>
                    <a:pt x="1391" y="922"/>
                  </a:lnTo>
                  <a:lnTo>
                    <a:pt x="1391" y="922"/>
                  </a:lnTo>
                  <a:lnTo>
                    <a:pt x="1392" y="923"/>
                  </a:lnTo>
                  <a:lnTo>
                    <a:pt x="1395" y="925"/>
                  </a:lnTo>
                  <a:lnTo>
                    <a:pt x="1395" y="925"/>
                  </a:lnTo>
                  <a:lnTo>
                    <a:pt x="1401" y="923"/>
                  </a:lnTo>
                  <a:lnTo>
                    <a:pt x="1405" y="921"/>
                  </a:lnTo>
                  <a:lnTo>
                    <a:pt x="1405" y="921"/>
                  </a:lnTo>
                  <a:lnTo>
                    <a:pt x="1408" y="922"/>
                  </a:lnTo>
                  <a:lnTo>
                    <a:pt x="1408" y="922"/>
                  </a:lnTo>
                  <a:lnTo>
                    <a:pt x="1409" y="922"/>
                  </a:lnTo>
                  <a:lnTo>
                    <a:pt x="1409" y="922"/>
                  </a:lnTo>
                  <a:lnTo>
                    <a:pt x="1411" y="923"/>
                  </a:lnTo>
                  <a:lnTo>
                    <a:pt x="1411" y="923"/>
                  </a:lnTo>
                  <a:lnTo>
                    <a:pt x="1412" y="925"/>
                  </a:lnTo>
                  <a:lnTo>
                    <a:pt x="1414" y="925"/>
                  </a:lnTo>
                  <a:lnTo>
                    <a:pt x="1414" y="925"/>
                  </a:lnTo>
                  <a:lnTo>
                    <a:pt x="1418" y="925"/>
                  </a:lnTo>
                  <a:lnTo>
                    <a:pt x="1421" y="923"/>
                  </a:lnTo>
                  <a:lnTo>
                    <a:pt x="1421" y="923"/>
                  </a:lnTo>
                  <a:lnTo>
                    <a:pt x="1422" y="922"/>
                  </a:lnTo>
                  <a:lnTo>
                    <a:pt x="1422" y="922"/>
                  </a:lnTo>
                  <a:lnTo>
                    <a:pt x="1425" y="918"/>
                  </a:lnTo>
                  <a:lnTo>
                    <a:pt x="1425" y="918"/>
                  </a:lnTo>
                  <a:lnTo>
                    <a:pt x="1426" y="918"/>
                  </a:lnTo>
                  <a:lnTo>
                    <a:pt x="1426" y="918"/>
                  </a:lnTo>
                  <a:lnTo>
                    <a:pt x="1426" y="918"/>
                  </a:lnTo>
                  <a:lnTo>
                    <a:pt x="1426" y="918"/>
                  </a:lnTo>
                  <a:lnTo>
                    <a:pt x="1428" y="918"/>
                  </a:lnTo>
                  <a:lnTo>
                    <a:pt x="1428" y="918"/>
                  </a:lnTo>
                  <a:lnTo>
                    <a:pt x="1428" y="918"/>
                  </a:lnTo>
                  <a:lnTo>
                    <a:pt x="1428" y="918"/>
                  </a:lnTo>
                  <a:lnTo>
                    <a:pt x="1429" y="921"/>
                  </a:lnTo>
                  <a:lnTo>
                    <a:pt x="1429" y="921"/>
                  </a:lnTo>
                  <a:lnTo>
                    <a:pt x="1431" y="922"/>
                  </a:lnTo>
                  <a:lnTo>
                    <a:pt x="1434" y="922"/>
                  </a:lnTo>
                  <a:lnTo>
                    <a:pt x="1434" y="922"/>
                  </a:lnTo>
                  <a:lnTo>
                    <a:pt x="1435" y="921"/>
                  </a:lnTo>
                  <a:lnTo>
                    <a:pt x="1436" y="919"/>
                  </a:lnTo>
                  <a:lnTo>
                    <a:pt x="1439" y="915"/>
                  </a:lnTo>
                  <a:lnTo>
                    <a:pt x="1439" y="915"/>
                  </a:lnTo>
                  <a:lnTo>
                    <a:pt x="1441" y="916"/>
                  </a:lnTo>
                  <a:lnTo>
                    <a:pt x="1441" y="916"/>
                  </a:lnTo>
                  <a:lnTo>
                    <a:pt x="1444" y="916"/>
                  </a:lnTo>
                  <a:lnTo>
                    <a:pt x="1446" y="916"/>
                  </a:lnTo>
                  <a:lnTo>
                    <a:pt x="1446" y="916"/>
                  </a:lnTo>
                  <a:lnTo>
                    <a:pt x="1448" y="915"/>
                  </a:lnTo>
                  <a:lnTo>
                    <a:pt x="1449" y="913"/>
                  </a:lnTo>
                  <a:lnTo>
                    <a:pt x="1449" y="913"/>
                  </a:lnTo>
                  <a:lnTo>
                    <a:pt x="1451" y="913"/>
                  </a:lnTo>
                  <a:lnTo>
                    <a:pt x="1451" y="913"/>
                  </a:lnTo>
                  <a:lnTo>
                    <a:pt x="1452" y="913"/>
                  </a:lnTo>
                  <a:lnTo>
                    <a:pt x="1452" y="913"/>
                  </a:lnTo>
                  <a:lnTo>
                    <a:pt x="1455" y="913"/>
                  </a:lnTo>
                  <a:lnTo>
                    <a:pt x="1455" y="913"/>
                  </a:lnTo>
                  <a:lnTo>
                    <a:pt x="1459" y="912"/>
                  </a:lnTo>
                  <a:lnTo>
                    <a:pt x="1461" y="908"/>
                  </a:lnTo>
                  <a:lnTo>
                    <a:pt x="1461" y="908"/>
                  </a:lnTo>
                  <a:lnTo>
                    <a:pt x="1461" y="906"/>
                  </a:lnTo>
                  <a:lnTo>
                    <a:pt x="1464" y="905"/>
                  </a:lnTo>
                  <a:lnTo>
                    <a:pt x="1464" y="905"/>
                  </a:lnTo>
                  <a:lnTo>
                    <a:pt x="1465" y="903"/>
                  </a:lnTo>
                  <a:lnTo>
                    <a:pt x="1465" y="903"/>
                  </a:lnTo>
                  <a:lnTo>
                    <a:pt x="1466" y="902"/>
                  </a:lnTo>
                  <a:lnTo>
                    <a:pt x="1466" y="901"/>
                  </a:lnTo>
                  <a:lnTo>
                    <a:pt x="1466" y="895"/>
                  </a:lnTo>
                  <a:lnTo>
                    <a:pt x="1466" y="895"/>
                  </a:lnTo>
                  <a:lnTo>
                    <a:pt x="1466" y="892"/>
                  </a:lnTo>
                  <a:lnTo>
                    <a:pt x="1466" y="891"/>
                  </a:lnTo>
                  <a:lnTo>
                    <a:pt x="1466" y="891"/>
                  </a:lnTo>
                  <a:lnTo>
                    <a:pt x="1469" y="891"/>
                  </a:lnTo>
                  <a:lnTo>
                    <a:pt x="1469" y="891"/>
                  </a:lnTo>
                  <a:lnTo>
                    <a:pt x="1475" y="892"/>
                  </a:lnTo>
                  <a:lnTo>
                    <a:pt x="1476" y="892"/>
                  </a:lnTo>
                  <a:lnTo>
                    <a:pt x="1476" y="892"/>
                  </a:lnTo>
                  <a:lnTo>
                    <a:pt x="1479" y="892"/>
                  </a:lnTo>
                  <a:lnTo>
                    <a:pt x="1481" y="891"/>
                  </a:lnTo>
                  <a:lnTo>
                    <a:pt x="1482" y="886"/>
                  </a:lnTo>
                  <a:lnTo>
                    <a:pt x="1482" y="886"/>
                  </a:lnTo>
                  <a:lnTo>
                    <a:pt x="1484" y="881"/>
                  </a:lnTo>
                  <a:lnTo>
                    <a:pt x="1484" y="881"/>
                  </a:lnTo>
                  <a:lnTo>
                    <a:pt x="1484" y="879"/>
                  </a:lnTo>
                  <a:lnTo>
                    <a:pt x="1485" y="878"/>
                  </a:lnTo>
                  <a:lnTo>
                    <a:pt x="1485" y="878"/>
                  </a:lnTo>
                  <a:lnTo>
                    <a:pt x="1485" y="878"/>
                  </a:lnTo>
                  <a:lnTo>
                    <a:pt x="1489" y="878"/>
                  </a:lnTo>
                  <a:lnTo>
                    <a:pt x="1489" y="878"/>
                  </a:lnTo>
                  <a:lnTo>
                    <a:pt x="1491" y="876"/>
                  </a:lnTo>
                  <a:lnTo>
                    <a:pt x="1492" y="875"/>
                  </a:lnTo>
                  <a:lnTo>
                    <a:pt x="1492" y="875"/>
                  </a:lnTo>
                  <a:lnTo>
                    <a:pt x="1491" y="871"/>
                  </a:lnTo>
                  <a:lnTo>
                    <a:pt x="1486" y="865"/>
                  </a:lnTo>
                  <a:lnTo>
                    <a:pt x="1486" y="865"/>
                  </a:lnTo>
                  <a:lnTo>
                    <a:pt x="1492" y="868"/>
                  </a:lnTo>
                  <a:lnTo>
                    <a:pt x="1496" y="869"/>
                  </a:lnTo>
                  <a:lnTo>
                    <a:pt x="1496" y="869"/>
                  </a:lnTo>
                  <a:lnTo>
                    <a:pt x="1498" y="871"/>
                  </a:lnTo>
                  <a:lnTo>
                    <a:pt x="1499" y="871"/>
                  </a:lnTo>
                  <a:lnTo>
                    <a:pt x="1499" y="871"/>
                  </a:lnTo>
                  <a:lnTo>
                    <a:pt x="1499" y="871"/>
                  </a:lnTo>
                  <a:lnTo>
                    <a:pt x="1499" y="871"/>
                  </a:lnTo>
                  <a:lnTo>
                    <a:pt x="1501" y="871"/>
                  </a:lnTo>
                  <a:lnTo>
                    <a:pt x="1504" y="868"/>
                  </a:lnTo>
                  <a:lnTo>
                    <a:pt x="1505" y="862"/>
                  </a:lnTo>
                  <a:lnTo>
                    <a:pt x="1508" y="852"/>
                  </a:lnTo>
                  <a:lnTo>
                    <a:pt x="1508" y="852"/>
                  </a:lnTo>
                  <a:lnTo>
                    <a:pt x="1515" y="846"/>
                  </a:lnTo>
                  <a:lnTo>
                    <a:pt x="1524" y="842"/>
                  </a:lnTo>
                  <a:lnTo>
                    <a:pt x="1524" y="842"/>
                  </a:lnTo>
                  <a:lnTo>
                    <a:pt x="1526" y="840"/>
                  </a:lnTo>
                  <a:lnTo>
                    <a:pt x="1529" y="836"/>
                  </a:lnTo>
                  <a:lnTo>
                    <a:pt x="1529" y="836"/>
                  </a:lnTo>
                  <a:lnTo>
                    <a:pt x="1531" y="833"/>
                  </a:lnTo>
                  <a:lnTo>
                    <a:pt x="1529" y="830"/>
                  </a:lnTo>
                  <a:lnTo>
                    <a:pt x="1529" y="830"/>
                  </a:lnTo>
                  <a:lnTo>
                    <a:pt x="1528" y="829"/>
                  </a:lnTo>
                  <a:lnTo>
                    <a:pt x="1526" y="829"/>
                  </a:lnTo>
                  <a:lnTo>
                    <a:pt x="1525" y="829"/>
                  </a:lnTo>
                  <a:lnTo>
                    <a:pt x="1525" y="829"/>
                  </a:lnTo>
                  <a:lnTo>
                    <a:pt x="1525" y="829"/>
                  </a:lnTo>
                  <a:lnTo>
                    <a:pt x="1525" y="829"/>
                  </a:lnTo>
                  <a:lnTo>
                    <a:pt x="1524" y="826"/>
                  </a:lnTo>
                  <a:lnTo>
                    <a:pt x="1524" y="826"/>
                  </a:lnTo>
                  <a:lnTo>
                    <a:pt x="1522" y="823"/>
                  </a:lnTo>
                  <a:lnTo>
                    <a:pt x="1522" y="823"/>
                  </a:lnTo>
                  <a:lnTo>
                    <a:pt x="1522" y="818"/>
                  </a:lnTo>
                  <a:lnTo>
                    <a:pt x="1522" y="818"/>
                  </a:lnTo>
                  <a:lnTo>
                    <a:pt x="1521" y="816"/>
                  </a:lnTo>
                  <a:lnTo>
                    <a:pt x="1519" y="815"/>
                  </a:lnTo>
                  <a:lnTo>
                    <a:pt x="1519" y="815"/>
                  </a:lnTo>
                  <a:lnTo>
                    <a:pt x="1518" y="815"/>
                  </a:lnTo>
                  <a:lnTo>
                    <a:pt x="1518" y="815"/>
                  </a:lnTo>
                  <a:lnTo>
                    <a:pt x="1519" y="809"/>
                  </a:lnTo>
                  <a:lnTo>
                    <a:pt x="1519" y="806"/>
                  </a:lnTo>
                  <a:lnTo>
                    <a:pt x="1518" y="805"/>
                  </a:lnTo>
                  <a:lnTo>
                    <a:pt x="1518" y="805"/>
                  </a:lnTo>
                  <a:lnTo>
                    <a:pt x="1515" y="800"/>
                  </a:lnTo>
                  <a:lnTo>
                    <a:pt x="1514" y="798"/>
                  </a:lnTo>
                  <a:lnTo>
                    <a:pt x="1514" y="798"/>
                  </a:lnTo>
                  <a:lnTo>
                    <a:pt x="1515" y="798"/>
                  </a:lnTo>
                  <a:lnTo>
                    <a:pt x="1515" y="798"/>
                  </a:lnTo>
                  <a:lnTo>
                    <a:pt x="1516" y="798"/>
                  </a:lnTo>
                  <a:lnTo>
                    <a:pt x="1516" y="798"/>
                  </a:lnTo>
                  <a:lnTo>
                    <a:pt x="1519" y="798"/>
                  </a:lnTo>
                  <a:lnTo>
                    <a:pt x="1521" y="798"/>
                  </a:lnTo>
                  <a:lnTo>
                    <a:pt x="1521" y="798"/>
                  </a:lnTo>
                  <a:lnTo>
                    <a:pt x="1524" y="795"/>
                  </a:lnTo>
                  <a:lnTo>
                    <a:pt x="1524" y="795"/>
                  </a:lnTo>
                  <a:lnTo>
                    <a:pt x="1525" y="795"/>
                  </a:lnTo>
                  <a:lnTo>
                    <a:pt x="1526" y="795"/>
                  </a:lnTo>
                  <a:lnTo>
                    <a:pt x="1526" y="795"/>
                  </a:lnTo>
                  <a:lnTo>
                    <a:pt x="1528" y="795"/>
                  </a:lnTo>
                  <a:lnTo>
                    <a:pt x="1528" y="795"/>
                  </a:lnTo>
                  <a:lnTo>
                    <a:pt x="1531" y="793"/>
                  </a:lnTo>
                  <a:lnTo>
                    <a:pt x="1534" y="789"/>
                  </a:lnTo>
                  <a:lnTo>
                    <a:pt x="1536" y="782"/>
                  </a:lnTo>
                  <a:lnTo>
                    <a:pt x="1536" y="782"/>
                  </a:lnTo>
                  <a:lnTo>
                    <a:pt x="1536" y="778"/>
                  </a:lnTo>
                  <a:lnTo>
                    <a:pt x="1535" y="772"/>
                  </a:lnTo>
                  <a:lnTo>
                    <a:pt x="1534" y="766"/>
                  </a:lnTo>
                  <a:lnTo>
                    <a:pt x="1531" y="763"/>
                  </a:lnTo>
                  <a:lnTo>
                    <a:pt x="1531" y="763"/>
                  </a:lnTo>
                  <a:lnTo>
                    <a:pt x="1535" y="762"/>
                  </a:lnTo>
                  <a:lnTo>
                    <a:pt x="1535" y="762"/>
                  </a:lnTo>
                  <a:lnTo>
                    <a:pt x="1539" y="762"/>
                  </a:lnTo>
                  <a:lnTo>
                    <a:pt x="1541" y="759"/>
                  </a:lnTo>
                  <a:lnTo>
                    <a:pt x="1541" y="759"/>
                  </a:lnTo>
                  <a:lnTo>
                    <a:pt x="1541" y="756"/>
                  </a:lnTo>
                  <a:lnTo>
                    <a:pt x="1541" y="756"/>
                  </a:lnTo>
                  <a:lnTo>
                    <a:pt x="1541" y="756"/>
                  </a:lnTo>
                  <a:lnTo>
                    <a:pt x="1541" y="756"/>
                  </a:lnTo>
                  <a:lnTo>
                    <a:pt x="1541" y="756"/>
                  </a:lnTo>
                  <a:lnTo>
                    <a:pt x="1541" y="756"/>
                  </a:lnTo>
                  <a:lnTo>
                    <a:pt x="1541" y="756"/>
                  </a:lnTo>
                  <a:lnTo>
                    <a:pt x="1541" y="756"/>
                  </a:lnTo>
                  <a:lnTo>
                    <a:pt x="1541" y="756"/>
                  </a:lnTo>
                  <a:lnTo>
                    <a:pt x="1541" y="756"/>
                  </a:lnTo>
                  <a:lnTo>
                    <a:pt x="1544" y="756"/>
                  </a:lnTo>
                  <a:lnTo>
                    <a:pt x="1545" y="756"/>
                  </a:lnTo>
                  <a:lnTo>
                    <a:pt x="1546" y="756"/>
                  </a:lnTo>
                  <a:lnTo>
                    <a:pt x="1546" y="756"/>
                  </a:lnTo>
                  <a:lnTo>
                    <a:pt x="1549" y="755"/>
                  </a:lnTo>
                  <a:lnTo>
                    <a:pt x="1551" y="753"/>
                  </a:lnTo>
                  <a:lnTo>
                    <a:pt x="1552" y="750"/>
                  </a:lnTo>
                  <a:lnTo>
                    <a:pt x="1552" y="748"/>
                  </a:lnTo>
                  <a:lnTo>
                    <a:pt x="1552" y="748"/>
                  </a:lnTo>
                  <a:lnTo>
                    <a:pt x="1551" y="743"/>
                  </a:lnTo>
                  <a:lnTo>
                    <a:pt x="1551" y="743"/>
                  </a:lnTo>
                  <a:lnTo>
                    <a:pt x="1551" y="742"/>
                  </a:lnTo>
                  <a:lnTo>
                    <a:pt x="1551" y="742"/>
                  </a:lnTo>
                  <a:lnTo>
                    <a:pt x="1552" y="740"/>
                  </a:lnTo>
                  <a:lnTo>
                    <a:pt x="1552" y="740"/>
                  </a:lnTo>
                  <a:lnTo>
                    <a:pt x="1554" y="739"/>
                  </a:lnTo>
                  <a:lnTo>
                    <a:pt x="1555" y="736"/>
                  </a:lnTo>
                  <a:lnTo>
                    <a:pt x="1554" y="733"/>
                  </a:lnTo>
                  <a:lnTo>
                    <a:pt x="1554" y="733"/>
                  </a:lnTo>
                  <a:lnTo>
                    <a:pt x="1552" y="730"/>
                  </a:lnTo>
                  <a:lnTo>
                    <a:pt x="1552" y="730"/>
                  </a:lnTo>
                  <a:lnTo>
                    <a:pt x="1549" y="728"/>
                  </a:lnTo>
                  <a:lnTo>
                    <a:pt x="1549" y="728"/>
                  </a:lnTo>
                  <a:lnTo>
                    <a:pt x="1548" y="726"/>
                  </a:lnTo>
                  <a:lnTo>
                    <a:pt x="1548" y="726"/>
                  </a:lnTo>
                  <a:lnTo>
                    <a:pt x="1548" y="725"/>
                  </a:lnTo>
                  <a:lnTo>
                    <a:pt x="1548" y="725"/>
                  </a:lnTo>
                  <a:lnTo>
                    <a:pt x="1549" y="723"/>
                  </a:lnTo>
                  <a:lnTo>
                    <a:pt x="1549" y="720"/>
                  </a:lnTo>
                  <a:lnTo>
                    <a:pt x="1549" y="720"/>
                  </a:lnTo>
                  <a:lnTo>
                    <a:pt x="1548" y="716"/>
                  </a:lnTo>
                  <a:lnTo>
                    <a:pt x="1548" y="716"/>
                  </a:lnTo>
                  <a:lnTo>
                    <a:pt x="1549" y="716"/>
                  </a:lnTo>
                  <a:lnTo>
                    <a:pt x="1549" y="716"/>
                  </a:lnTo>
                  <a:lnTo>
                    <a:pt x="1551" y="712"/>
                  </a:lnTo>
                  <a:lnTo>
                    <a:pt x="1551" y="708"/>
                  </a:lnTo>
                  <a:lnTo>
                    <a:pt x="1551" y="708"/>
                  </a:lnTo>
                  <a:lnTo>
                    <a:pt x="1549" y="705"/>
                  </a:lnTo>
                  <a:lnTo>
                    <a:pt x="1546" y="703"/>
                  </a:lnTo>
                  <a:lnTo>
                    <a:pt x="1546" y="703"/>
                  </a:lnTo>
                  <a:lnTo>
                    <a:pt x="1546" y="700"/>
                  </a:lnTo>
                  <a:lnTo>
                    <a:pt x="1546" y="700"/>
                  </a:lnTo>
                  <a:lnTo>
                    <a:pt x="1545" y="696"/>
                  </a:lnTo>
                  <a:lnTo>
                    <a:pt x="1542" y="695"/>
                  </a:lnTo>
                  <a:lnTo>
                    <a:pt x="1542" y="695"/>
                  </a:lnTo>
                  <a:lnTo>
                    <a:pt x="1539" y="695"/>
                  </a:lnTo>
                  <a:lnTo>
                    <a:pt x="1539" y="695"/>
                  </a:lnTo>
                  <a:lnTo>
                    <a:pt x="1538" y="695"/>
                  </a:lnTo>
                  <a:lnTo>
                    <a:pt x="1538" y="695"/>
                  </a:lnTo>
                  <a:lnTo>
                    <a:pt x="1538" y="693"/>
                  </a:lnTo>
                  <a:lnTo>
                    <a:pt x="1538" y="693"/>
                  </a:lnTo>
                  <a:lnTo>
                    <a:pt x="1534" y="688"/>
                  </a:lnTo>
                  <a:lnTo>
                    <a:pt x="1528" y="683"/>
                  </a:lnTo>
                  <a:lnTo>
                    <a:pt x="1528" y="683"/>
                  </a:lnTo>
                  <a:lnTo>
                    <a:pt x="1529" y="680"/>
                  </a:lnTo>
                  <a:lnTo>
                    <a:pt x="1529" y="680"/>
                  </a:lnTo>
                  <a:lnTo>
                    <a:pt x="1532" y="680"/>
                  </a:lnTo>
                  <a:lnTo>
                    <a:pt x="1532" y="680"/>
                  </a:lnTo>
                  <a:lnTo>
                    <a:pt x="1535" y="680"/>
                  </a:lnTo>
                  <a:lnTo>
                    <a:pt x="1535" y="680"/>
                  </a:lnTo>
                  <a:lnTo>
                    <a:pt x="1536" y="680"/>
                  </a:lnTo>
                  <a:lnTo>
                    <a:pt x="1536" y="680"/>
                  </a:lnTo>
                  <a:lnTo>
                    <a:pt x="1541" y="679"/>
                  </a:lnTo>
                  <a:lnTo>
                    <a:pt x="1542" y="677"/>
                  </a:lnTo>
                  <a:lnTo>
                    <a:pt x="1542" y="677"/>
                  </a:lnTo>
                  <a:lnTo>
                    <a:pt x="1542" y="675"/>
                  </a:lnTo>
                  <a:lnTo>
                    <a:pt x="1542" y="675"/>
                  </a:lnTo>
                  <a:lnTo>
                    <a:pt x="1541" y="675"/>
                  </a:lnTo>
                  <a:lnTo>
                    <a:pt x="1541" y="675"/>
                  </a:lnTo>
                  <a:lnTo>
                    <a:pt x="1539" y="672"/>
                  </a:lnTo>
                  <a:lnTo>
                    <a:pt x="1539" y="672"/>
                  </a:lnTo>
                  <a:lnTo>
                    <a:pt x="1538" y="672"/>
                  </a:lnTo>
                  <a:lnTo>
                    <a:pt x="1538" y="672"/>
                  </a:lnTo>
                  <a:lnTo>
                    <a:pt x="1539" y="670"/>
                  </a:lnTo>
                  <a:lnTo>
                    <a:pt x="1539" y="670"/>
                  </a:lnTo>
                  <a:lnTo>
                    <a:pt x="1539" y="667"/>
                  </a:lnTo>
                  <a:lnTo>
                    <a:pt x="1538" y="666"/>
                  </a:lnTo>
                  <a:lnTo>
                    <a:pt x="1536" y="663"/>
                  </a:lnTo>
                  <a:lnTo>
                    <a:pt x="1536" y="663"/>
                  </a:lnTo>
                  <a:lnTo>
                    <a:pt x="1534" y="662"/>
                  </a:lnTo>
                  <a:lnTo>
                    <a:pt x="1534" y="662"/>
                  </a:lnTo>
                  <a:lnTo>
                    <a:pt x="1534" y="659"/>
                  </a:lnTo>
                  <a:lnTo>
                    <a:pt x="1534" y="659"/>
                  </a:lnTo>
                  <a:lnTo>
                    <a:pt x="1536" y="655"/>
                  </a:lnTo>
                  <a:lnTo>
                    <a:pt x="1536" y="655"/>
                  </a:lnTo>
                  <a:lnTo>
                    <a:pt x="1536" y="653"/>
                  </a:lnTo>
                  <a:lnTo>
                    <a:pt x="1535" y="650"/>
                  </a:lnTo>
                  <a:lnTo>
                    <a:pt x="1531" y="645"/>
                  </a:lnTo>
                  <a:lnTo>
                    <a:pt x="1531" y="645"/>
                  </a:lnTo>
                  <a:lnTo>
                    <a:pt x="1529" y="642"/>
                  </a:lnTo>
                  <a:lnTo>
                    <a:pt x="1526" y="637"/>
                  </a:lnTo>
                  <a:lnTo>
                    <a:pt x="1522" y="633"/>
                  </a:lnTo>
                  <a:lnTo>
                    <a:pt x="1522" y="633"/>
                  </a:lnTo>
                  <a:lnTo>
                    <a:pt x="1519" y="630"/>
                  </a:lnTo>
                  <a:lnTo>
                    <a:pt x="1516" y="630"/>
                  </a:lnTo>
                  <a:lnTo>
                    <a:pt x="1516" y="630"/>
                  </a:lnTo>
                  <a:lnTo>
                    <a:pt x="1516" y="630"/>
                  </a:lnTo>
                  <a:lnTo>
                    <a:pt x="1516" y="630"/>
                  </a:lnTo>
                  <a:lnTo>
                    <a:pt x="1515" y="627"/>
                  </a:lnTo>
                  <a:lnTo>
                    <a:pt x="1512" y="626"/>
                  </a:lnTo>
                  <a:lnTo>
                    <a:pt x="1512" y="626"/>
                  </a:lnTo>
                  <a:lnTo>
                    <a:pt x="1512" y="626"/>
                  </a:lnTo>
                  <a:lnTo>
                    <a:pt x="1512" y="626"/>
                  </a:lnTo>
                  <a:lnTo>
                    <a:pt x="1511" y="622"/>
                  </a:lnTo>
                  <a:lnTo>
                    <a:pt x="1511" y="622"/>
                  </a:lnTo>
                  <a:lnTo>
                    <a:pt x="1509" y="619"/>
                  </a:lnTo>
                  <a:lnTo>
                    <a:pt x="1508" y="617"/>
                  </a:lnTo>
                  <a:lnTo>
                    <a:pt x="1501" y="617"/>
                  </a:lnTo>
                  <a:lnTo>
                    <a:pt x="1501" y="617"/>
                  </a:lnTo>
                  <a:lnTo>
                    <a:pt x="1499" y="616"/>
                  </a:lnTo>
                  <a:lnTo>
                    <a:pt x="1499" y="616"/>
                  </a:lnTo>
                  <a:lnTo>
                    <a:pt x="1499" y="615"/>
                  </a:lnTo>
                  <a:lnTo>
                    <a:pt x="1499" y="615"/>
                  </a:lnTo>
                  <a:lnTo>
                    <a:pt x="1496" y="610"/>
                  </a:lnTo>
                  <a:lnTo>
                    <a:pt x="1494" y="607"/>
                  </a:lnTo>
                  <a:lnTo>
                    <a:pt x="1494" y="607"/>
                  </a:lnTo>
                  <a:lnTo>
                    <a:pt x="1494" y="606"/>
                  </a:lnTo>
                  <a:lnTo>
                    <a:pt x="1494" y="606"/>
                  </a:lnTo>
                  <a:lnTo>
                    <a:pt x="1492" y="602"/>
                  </a:lnTo>
                  <a:lnTo>
                    <a:pt x="1489" y="599"/>
                  </a:lnTo>
                  <a:lnTo>
                    <a:pt x="1481" y="595"/>
                  </a:lnTo>
                  <a:lnTo>
                    <a:pt x="1481" y="595"/>
                  </a:lnTo>
                  <a:lnTo>
                    <a:pt x="1479" y="593"/>
                  </a:lnTo>
                  <a:lnTo>
                    <a:pt x="1479" y="593"/>
                  </a:lnTo>
                  <a:lnTo>
                    <a:pt x="1479" y="593"/>
                  </a:lnTo>
                  <a:lnTo>
                    <a:pt x="1479" y="593"/>
                  </a:lnTo>
                  <a:lnTo>
                    <a:pt x="1476" y="587"/>
                  </a:lnTo>
                  <a:lnTo>
                    <a:pt x="1476" y="587"/>
                  </a:lnTo>
                  <a:lnTo>
                    <a:pt x="1474" y="583"/>
                  </a:lnTo>
                  <a:lnTo>
                    <a:pt x="1474" y="583"/>
                  </a:lnTo>
                  <a:lnTo>
                    <a:pt x="1472" y="582"/>
                  </a:lnTo>
                  <a:lnTo>
                    <a:pt x="1472" y="582"/>
                  </a:lnTo>
                  <a:lnTo>
                    <a:pt x="1471" y="579"/>
                  </a:lnTo>
                  <a:lnTo>
                    <a:pt x="1471" y="579"/>
                  </a:lnTo>
                  <a:lnTo>
                    <a:pt x="1468" y="575"/>
                  </a:lnTo>
                  <a:lnTo>
                    <a:pt x="1468" y="575"/>
                  </a:lnTo>
                  <a:lnTo>
                    <a:pt x="1462" y="566"/>
                  </a:lnTo>
                  <a:lnTo>
                    <a:pt x="1462" y="566"/>
                  </a:lnTo>
                  <a:lnTo>
                    <a:pt x="1458" y="562"/>
                  </a:lnTo>
                  <a:lnTo>
                    <a:pt x="1452" y="560"/>
                  </a:lnTo>
                  <a:lnTo>
                    <a:pt x="1452" y="560"/>
                  </a:lnTo>
                  <a:lnTo>
                    <a:pt x="1449" y="559"/>
                  </a:lnTo>
                  <a:lnTo>
                    <a:pt x="1449" y="559"/>
                  </a:lnTo>
                  <a:lnTo>
                    <a:pt x="1445" y="556"/>
                  </a:lnTo>
                  <a:lnTo>
                    <a:pt x="1445" y="556"/>
                  </a:lnTo>
                  <a:lnTo>
                    <a:pt x="1434" y="550"/>
                  </a:lnTo>
                  <a:lnTo>
                    <a:pt x="1434" y="550"/>
                  </a:lnTo>
                  <a:lnTo>
                    <a:pt x="1435" y="549"/>
                  </a:lnTo>
                  <a:lnTo>
                    <a:pt x="1435" y="549"/>
                  </a:lnTo>
                  <a:lnTo>
                    <a:pt x="1436" y="546"/>
                  </a:lnTo>
                  <a:lnTo>
                    <a:pt x="1438" y="542"/>
                  </a:lnTo>
                  <a:lnTo>
                    <a:pt x="1438" y="542"/>
                  </a:lnTo>
                  <a:lnTo>
                    <a:pt x="1441" y="536"/>
                  </a:lnTo>
                  <a:lnTo>
                    <a:pt x="1441" y="536"/>
                  </a:lnTo>
                  <a:lnTo>
                    <a:pt x="1442" y="530"/>
                  </a:lnTo>
                  <a:lnTo>
                    <a:pt x="1442" y="530"/>
                  </a:lnTo>
                  <a:lnTo>
                    <a:pt x="1442" y="526"/>
                  </a:lnTo>
                  <a:lnTo>
                    <a:pt x="1442" y="523"/>
                  </a:lnTo>
                  <a:lnTo>
                    <a:pt x="1442" y="523"/>
                  </a:lnTo>
                  <a:lnTo>
                    <a:pt x="1441" y="522"/>
                  </a:lnTo>
                  <a:lnTo>
                    <a:pt x="1441" y="522"/>
                  </a:lnTo>
                  <a:lnTo>
                    <a:pt x="1445" y="526"/>
                  </a:lnTo>
                  <a:lnTo>
                    <a:pt x="1445" y="526"/>
                  </a:lnTo>
                  <a:lnTo>
                    <a:pt x="1448" y="526"/>
                  </a:lnTo>
                  <a:lnTo>
                    <a:pt x="1449" y="527"/>
                  </a:lnTo>
                  <a:lnTo>
                    <a:pt x="1454" y="526"/>
                  </a:lnTo>
                  <a:lnTo>
                    <a:pt x="1454" y="526"/>
                  </a:lnTo>
                  <a:lnTo>
                    <a:pt x="1455" y="526"/>
                  </a:lnTo>
                  <a:lnTo>
                    <a:pt x="1455" y="526"/>
                  </a:lnTo>
                  <a:lnTo>
                    <a:pt x="1458" y="525"/>
                  </a:lnTo>
                  <a:lnTo>
                    <a:pt x="1459" y="520"/>
                  </a:lnTo>
                  <a:lnTo>
                    <a:pt x="1461" y="509"/>
                  </a:lnTo>
                  <a:lnTo>
                    <a:pt x="1461" y="509"/>
                  </a:lnTo>
                  <a:lnTo>
                    <a:pt x="1461" y="509"/>
                  </a:lnTo>
                  <a:lnTo>
                    <a:pt x="1461" y="509"/>
                  </a:lnTo>
                  <a:lnTo>
                    <a:pt x="1462" y="509"/>
                  </a:lnTo>
                  <a:lnTo>
                    <a:pt x="1462" y="509"/>
                  </a:lnTo>
                  <a:lnTo>
                    <a:pt x="1466" y="506"/>
                  </a:lnTo>
                  <a:lnTo>
                    <a:pt x="1466" y="506"/>
                  </a:lnTo>
                  <a:lnTo>
                    <a:pt x="1468" y="504"/>
                  </a:lnTo>
                  <a:lnTo>
                    <a:pt x="1468" y="504"/>
                  </a:lnTo>
                  <a:lnTo>
                    <a:pt x="1471" y="503"/>
                  </a:lnTo>
                  <a:lnTo>
                    <a:pt x="1474" y="500"/>
                  </a:lnTo>
                  <a:lnTo>
                    <a:pt x="1474" y="500"/>
                  </a:lnTo>
                  <a:lnTo>
                    <a:pt x="1474" y="500"/>
                  </a:lnTo>
                  <a:lnTo>
                    <a:pt x="1475" y="500"/>
                  </a:lnTo>
                  <a:lnTo>
                    <a:pt x="1475" y="500"/>
                  </a:lnTo>
                  <a:lnTo>
                    <a:pt x="1479" y="500"/>
                  </a:lnTo>
                  <a:lnTo>
                    <a:pt x="1479" y="500"/>
                  </a:lnTo>
                  <a:lnTo>
                    <a:pt x="1479" y="500"/>
                  </a:lnTo>
                  <a:lnTo>
                    <a:pt x="1482" y="502"/>
                  </a:lnTo>
                  <a:lnTo>
                    <a:pt x="1482" y="502"/>
                  </a:lnTo>
                  <a:lnTo>
                    <a:pt x="1485" y="503"/>
                  </a:lnTo>
                  <a:lnTo>
                    <a:pt x="1488" y="504"/>
                  </a:lnTo>
                  <a:lnTo>
                    <a:pt x="1488" y="504"/>
                  </a:lnTo>
                  <a:lnTo>
                    <a:pt x="1491" y="504"/>
                  </a:lnTo>
                  <a:lnTo>
                    <a:pt x="1492" y="503"/>
                  </a:lnTo>
                  <a:lnTo>
                    <a:pt x="1492" y="503"/>
                  </a:lnTo>
                  <a:lnTo>
                    <a:pt x="1494" y="502"/>
                  </a:lnTo>
                  <a:lnTo>
                    <a:pt x="1494" y="499"/>
                  </a:lnTo>
                  <a:lnTo>
                    <a:pt x="1492" y="493"/>
                  </a:lnTo>
                  <a:lnTo>
                    <a:pt x="1492" y="492"/>
                  </a:lnTo>
                  <a:lnTo>
                    <a:pt x="1492" y="492"/>
                  </a:lnTo>
                  <a:lnTo>
                    <a:pt x="1492" y="489"/>
                  </a:lnTo>
                  <a:lnTo>
                    <a:pt x="1492" y="489"/>
                  </a:lnTo>
                  <a:lnTo>
                    <a:pt x="1492" y="484"/>
                  </a:lnTo>
                  <a:lnTo>
                    <a:pt x="1491" y="482"/>
                  </a:lnTo>
                  <a:lnTo>
                    <a:pt x="1491" y="482"/>
                  </a:lnTo>
                  <a:lnTo>
                    <a:pt x="1489" y="482"/>
                  </a:lnTo>
                  <a:lnTo>
                    <a:pt x="1486" y="482"/>
                  </a:lnTo>
                  <a:lnTo>
                    <a:pt x="1486" y="482"/>
                  </a:lnTo>
                  <a:lnTo>
                    <a:pt x="1486" y="477"/>
                  </a:lnTo>
                  <a:lnTo>
                    <a:pt x="1486" y="477"/>
                  </a:lnTo>
                  <a:lnTo>
                    <a:pt x="1488" y="474"/>
                  </a:lnTo>
                  <a:lnTo>
                    <a:pt x="1486" y="470"/>
                  </a:lnTo>
                  <a:lnTo>
                    <a:pt x="1486" y="470"/>
                  </a:lnTo>
                  <a:lnTo>
                    <a:pt x="1484" y="470"/>
                  </a:lnTo>
                  <a:lnTo>
                    <a:pt x="1481" y="470"/>
                  </a:lnTo>
                  <a:lnTo>
                    <a:pt x="1481" y="470"/>
                  </a:lnTo>
                  <a:lnTo>
                    <a:pt x="1478" y="472"/>
                  </a:lnTo>
                  <a:lnTo>
                    <a:pt x="1475" y="472"/>
                  </a:lnTo>
                  <a:lnTo>
                    <a:pt x="1475" y="472"/>
                  </a:lnTo>
                  <a:lnTo>
                    <a:pt x="1471" y="469"/>
                  </a:lnTo>
                  <a:lnTo>
                    <a:pt x="1461" y="469"/>
                  </a:lnTo>
                  <a:lnTo>
                    <a:pt x="1461" y="469"/>
                  </a:lnTo>
                  <a:lnTo>
                    <a:pt x="1455" y="469"/>
                  </a:lnTo>
                  <a:lnTo>
                    <a:pt x="1455" y="469"/>
                  </a:lnTo>
                  <a:lnTo>
                    <a:pt x="1452" y="469"/>
                  </a:lnTo>
                  <a:lnTo>
                    <a:pt x="1452" y="469"/>
                  </a:lnTo>
                  <a:lnTo>
                    <a:pt x="1446" y="466"/>
                  </a:lnTo>
                  <a:lnTo>
                    <a:pt x="1441" y="463"/>
                  </a:lnTo>
                  <a:lnTo>
                    <a:pt x="1441" y="463"/>
                  </a:lnTo>
                  <a:lnTo>
                    <a:pt x="1436" y="459"/>
                  </a:lnTo>
                  <a:lnTo>
                    <a:pt x="1436" y="459"/>
                  </a:lnTo>
                  <a:lnTo>
                    <a:pt x="1432" y="457"/>
                  </a:lnTo>
                  <a:lnTo>
                    <a:pt x="1426" y="459"/>
                  </a:lnTo>
                  <a:lnTo>
                    <a:pt x="1426" y="459"/>
                  </a:lnTo>
                  <a:lnTo>
                    <a:pt x="1422" y="460"/>
                  </a:lnTo>
                  <a:lnTo>
                    <a:pt x="1419" y="464"/>
                  </a:lnTo>
                  <a:lnTo>
                    <a:pt x="1419" y="464"/>
                  </a:lnTo>
                  <a:lnTo>
                    <a:pt x="1418" y="466"/>
                  </a:lnTo>
                  <a:lnTo>
                    <a:pt x="1418" y="467"/>
                  </a:lnTo>
                  <a:lnTo>
                    <a:pt x="1418" y="467"/>
                  </a:lnTo>
                  <a:lnTo>
                    <a:pt x="1415" y="469"/>
                  </a:lnTo>
                  <a:lnTo>
                    <a:pt x="1415" y="469"/>
                  </a:lnTo>
                  <a:lnTo>
                    <a:pt x="1414" y="470"/>
                  </a:lnTo>
                  <a:lnTo>
                    <a:pt x="1412" y="472"/>
                  </a:lnTo>
                  <a:lnTo>
                    <a:pt x="1412" y="474"/>
                  </a:lnTo>
                  <a:lnTo>
                    <a:pt x="1412" y="474"/>
                  </a:lnTo>
                  <a:lnTo>
                    <a:pt x="1412" y="477"/>
                  </a:lnTo>
                  <a:lnTo>
                    <a:pt x="1412" y="477"/>
                  </a:lnTo>
                  <a:lnTo>
                    <a:pt x="1411" y="477"/>
                  </a:lnTo>
                  <a:lnTo>
                    <a:pt x="1411" y="477"/>
                  </a:lnTo>
                  <a:lnTo>
                    <a:pt x="1399" y="476"/>
                  </a:lnTo>
                  <a:lnTo>
                    <a:pt x="1399" y="476"/>
                  </a:lnTo>
                  <a:lnTo>
                    <a:pt x="1401" y="472"/>
                  </a:lnTo>
                  <a:lnTo>
                    <a:pt x="1401" y="472"/>
                  </a:lnTo>
                  <a:lnTo>
                    <a:pt x="1401" y="469"/>
                  </a:lnTo>
                  <a:lnTo>
                    <a:pt x="1398" y="466"/>
                  </a:lnTo>
                  <a:lnTo>
                    <a:pt x="1398" y="466"/>
                  </a:lnTo>
                  <a:lnTo>
                    <a:pt x="1394" y="463"/>
                  </a:lnTo>
                  <a:lnTo>
                    <a:pt x="1394" y="463"/>
                  </a:lnTo>
                  <a:lnTo>
                    <a:pt x="1394" y="460"/>
                  </a:lnTo>
                  <a:lnTo>
                    <a:pt x="1394" y="460"/>
                  </a:lnTo>
                  <a:lnTo>
                    <a:pt x="1394" y="457"/>
                  </a:lnTo>
                  <a:lnTo>
                    <a:pt x="1391" y="454"/>
                  </a:lnTo>
                  <a:lnTo>
                    <a:pt x="1391" y="454"/>
                  </a:lnTo>
                  <a:lnTo>
                    <a:pt x="1386" y="453"/>
                  </a:lnTo>
                  <a:lnTo>
                    <a:pt x="1384" y="452"/>
                  </a:lnTo>
                  <a:lnTo>
                    <a:pt x="1379" y="452"/>
                  </a:lnTo>
                  <a:lnTo>
                    <a:pt x="1375" y="452"/>
                  </a:lnTo>
                  <a:lnTo>
                    <a:pt x="1375" y="452"/>
                  </a:lnTo>
                  <a:lnTo>
                    <a:pt x="1371" y="452"/>
                  </a:lnTo>
                  <a:lnTo>
                    <a:pt x="1366" y="450"/>
                  </a:lnTo>
                  <a:lnTo>
                    <a:pt x="1366" y="450"/>
                  </a:lnTo>
                  <a:lnTo>
                    <a:pt x="1364" y="450"/>
                  </a:lnTo>
                  <a:lnTo>
                    <a:pt x="1359" y="449"/>
                  </a:lnTo>
                  <a:lnTo>
                    <a:pt x="1359" y="449"/>
                  </a:lnTo>
                  <a:lnTo>
                    <a:pt x="1356" y="449"/>
                  </a:lnTo>
                  <a:lnTo>
                    <a:pt x="1355" y="447"/>
                  </a:lnTo>
                  <a:lnTo>
                    <a:pt x="1355" y="447"/>
                  </a:lnTo>
                  <a:lnTo>
                    <a:pt x="1354" y="444"/>
                  </a:lnTo>
                  <a:lnTo>
                    <a:pt x="1351" y="443"/>
                  </a:lnTo>
                  <a:lnTo>
                    <a:pt x="1351" y="443"/>
                  </a:lnTo>
                  <a:lnTo>
                    <a:pt x="1352" y="437"/>
                  </a:lnTo>
                  <a:lnTo>
                    <a:pt x="1355" y="434"/>
                  </a:lnTo>
                  <a:lnTo>
                    <a:pt x="1355" y="434"/>
                  </a:lnTo>
                  <a:lnTo>
                    <a:pt x="1356" y="434"/>
                  </a:lnTo>
                  <a:lnTo>
                    <a:pt x="1356" y="434"/>
                  </a:lnTo>
                  <a:lnTo>
                    <a:pt x="1358" y="437"/>
                  </a:lnTo>
                  <a:lnTo>
                    <a:pt x="1362" y="439"/>
                  </a:lnTo>
                  <a:lnTo>
                    <a:pt x="1362" y="439"/>
                  </a:lnTo>
                  <a:lnTo>
                    <a:pt x="1365" y="437"/>
                  </a:lnTo>
                  <a:lnTo>
                    <a:pt x="1366" y="437"/>
                  </a:lnTo>
                  <a:lnTo>
                    <a:pt x="1366" y="437"/>
                  </a:lnTo>
                  <a:lnTo>
                    <a:pt x="1366" y="436"/>
                  </a:lnTo>
                  <a:lnTo>
                    <a:pt x="1366" y="436"/>
                  </a:lnTo>
                  <a:lnTo>
                    <a:pt x="1369" y="437"/>
                  </a:lnTo>
                  <a:lnTo>
                    <a:pt x="1369" y="437"/>
                  </a:lnTo>
                  <a:lnTo>
                    <a:pt x="1374" y="437"/>
                  </a:lnTo>
                  <a:lnTo>
                    <a:pt x="1374" y="437"/>
                  </a:lnTo>
                  <a:lnTo>
                    <a:pt x="1376" y="437"/>
                  </a:lnTo>
                  <a:lnTo>
                    <a:pt x="1378" y="436"/>
                  </a:lnTo>
                  <a:lnTo>
                    <a:pt x="1381" y="432"/>
                  </a:lnTo>
                  <a:lnTo>
                    <a:pt x="1381" y="432"/>
                  </a:lnTo>
                  <a:lnTo>
                    <a:pt x="1382" y="426"/>
                  </a:lnTo>
                  <a:lnTo>
                    <a:pt x="1382" y="419"/>
                  </a:lnTo>
                  <a:lnTo>
                    <a:pt x="1382" y="419"/>
                  </a:lnTo>
                  <a:lnTo>
                    <a:pt x="1384" y="413"/>
                  </a:lnTo>
                  <a:lnTo>
                    <a:pt x="1384" y="413"/>
                  </a:lnTo>
                  <a:lnTo>
                    <a:pt x="1385" y="412"/>
                  </a:lnTo>
                  <a:lnTo>
                    <a:pt x="1388" y="410"/>
                  </a:lnTo>
                  <a:lnTo>
                    <a:pt x="1396" y="407"/>
                  </a:lnTo>
                  <a:lnTo>
                    <a:pt x="1396" y="407"/>
                  </a:lnTo>
                  <a:lnTo>
                    <a:pt x="1399" y="406"/>
                  </a:lnTo>
                  <a:lnTo>
                    <a:pt x="1401" y="403"/>
                  </a:lnTo>
                  <a:lnTo>
                    <a:pt x="1402" y="397"/>
                  </a:lnTo>
                  <a:lnTo>
                    <a:pt x="1402" y="397"/>
                  </a:lnTo>
                  <a:lnTo>
                    <a:pt x="1402" y="392"/>
                  </a:lnTo>
                  <a:lnTo>
                    <a:pt x="1402" y="392"/>
                  </a:lnTo>
                  <a:lnTo>
                    <a:pt x="1402" y="387"/>
                  </a:lnTo>
                  <a:lnTo>
                    <a:pt x="1404" y="384"/>
                  </a:lnTo>
                  <a:lnTo>
                    <a:pt x="1406" y="383"/>
                  </a:lnTo>
                  <a:lnTo>
                    <a:pt x="1408" y="383"/>
                  </a:lnTo>
                  <a:lnTo>
                    <a:pt x="1408" y="383"/>
                  </a:lnTo>
                  <a:lnTo>
                    <a:pt x="1414" y="384"/>
                  </a:lnTo>
                  <a:lnTo>
                    <a:pt x="1414" y="384"/>
                  </a:lnTo>
                  <a:lnTo>
                    <a:pt x="1416" y="384"/>
                  </a:lnTo>
                  <a:lnTo>
                    <a:pt x="1419" y="384"/>
                  </a:lnTo>
                  <a:lnTo>
                    <a:pt x="1419" y="384"/>
                  </a:lnTo>
                  <a:lnTo>
                    <a:pt x="1421" y="384"/>
                  </a:lnTo>
                  <a:lnTo>
                    <a:pt x="1421" y="384"/>
                  </a:lnTo>
                  <a:lnTo>
                    <a:pt x="1424" y="383"/>
                  </a:lnTo>
                  <a:lnTo>
                    <a:pt x="1424" y="383"/>
                  </a:lnTo>
                  <a:lnTo>
                    <a:pt x="1424" y="384"/>
                  </a:lnTo>
                  <a:lnTo>
                    <a:pt x="1424" y="384"/>
                  </a:lnTo>
                  <a:lnTo>
                    <a:pt x="1426" y="387"/>
                  </a:lnTo>
                  <a:lnTo>
                    <a:pt x="1428" y="390"/>
                  </a:lnTo>
                  <a:lnTo>
                    <a:pt x="1428" y="390"/>
                  </a:lnTo>
                  <a:lnTo>
                    <a:pt x="1428" y="392"/>
                  </a:lnTo>
                  <a:lnTo>
                    <a:pt x="1428" y="392"/>
                  </a:lnTo>
                  <a:lnTo>
                    <a:pt x="1426" y="396"/>
                  </a:lnTo>
                  <a:lnTo>
                    <a:pt x="1422" y="400"/>
                  </a:lnTo>
                  <a:lnTo>
                    <a:pt x="1422" y="400"/>
                  </a:lnTo>
                  <a:lnTo>
                    <a:pt x="1418" y="409"/>
                  </a:lnTo>
                  <a:lnTo>
                    <a:pt x="1418" y="409"/>
                  </a:lnTo>
                  <a:lnTo>
                    <a:pt x="1418" y="412"/>
                  </a:lnTo>
                  <a:lnTo>
                    <a:pt x="1418" y="413"/>
                  </a:lnTo>
                  <a:lnTo>
                    <a:pt x="1418" y="413"/>
                  </a:lnTo>
                  <a:lnTo>
                    <a:pt x="1419" y="414"/>
                  </a:lnTo>
                  <a:lnTo>
                    <a:pt x="1422" y="414"/>
                  </a:lnTo>
                  <a:lnTo>
                    <a:pt x="1426" y="416"/>
                  </a:lnTo>
                  <a:lnTo>
                    <a:pt x="1426" y="416"/>
                  </a:lnTo>
                  <a:lnTo>
                    <a:pt x="1425" y="420"/>
                  </a:lnTo>
                  <a:lnTo>
                    <a:pt x="1425" y="420"/>
                  </a:lnTo>
                  <a:lnTo>
                    <a:pt x="1424" y="423"/>
                  </a:lnTo>
                  <a:lnTo>
                    <a:pt x="1425" y="424"/>
                  </a:lnTo>
                  <a:lnTo>
                    <a:pt x="1425" y="424"/>
                  </a:lnTo>
                  <a:lnTo>
                    <a:pt x="1425" y="426"/>
                  </a:lnTo>
                  <a:lnTo>
                    <a:pt x="1425" y="426"/>
                  </a:lnTo>
                  <a:lnTo>
                    <a:pt x="1424" y="430"/>
                  </a:lnTo>
                  <a:lnTo>
                    <a:pt x="1424" y="433"/>
                  </a:lnTo>
                  <a:lnTo>
                    <a:pt x="1424" y="433"/>
                  </a:lnTo>
                  <a:lnTo>
                    <a:pt x="1424" y="436"/>
                  </a:lnTo>
                  <a:lnTo>
                    <a:pt x="1425" y="437"/>
                  </a:lnTo>
                  <a:lnTo>
                    <a:pt x="1428" y="437"/>
                  </a:lnTo>
                  <a:lnTo>
                    <a:pt x="1428" y="437"/>
                  </a:lnTo>
                  <a:lnTo>
                    <a:pt x="1432" y="437"/>
                  </a:lnTo>
                  <a:lnTo>
                    <a:pt x="1432" y="437"/>
                  </a:lnTo>
                  <a:lnTo>
                    <a:pt x="1429" y="442"/>
                  </a:lnTo>
                  <a:lnTo>
                    <a:pt x="1429" y="444"/>
                  </a:lnTo>
                  <a:lnTo>
                    <a:pt x="1429" y="444"/>
                  </a:lnTo>
                  <a:lnTo>
                    <a:pt x="1432" y="449"/>
                  </a:lnTo>
                  <a:lnTo>
                    <a:pt x="1435" y="449"/>
                  </a:lnTo>
                  <a:lnTo>
                    <a:pt x="1435" y="449"/>
                  </a:lnTo>
                  <a:lnTo>
                    <a:pt x="1436" y="449"/>
                  </a:lnTo>
                  <a:lnTo>
                    <a:pt x="1439" y="449"/>
                  </a:lnTo>
                  <a:lnTo>
                    <a:pt x="1445" y="443"/>
                  </a:lnTo>
                  <a:lnTo>
                    <a:pt x="1445" y="443"/>
                  </a:lnTo>
                  <a:lnTo>
                    <a:pt x="1455" y="430"/>
                  </a:lnTo>
                  <a:lnTo>
                    <a:pt x="1455" y="430"/>
                  </a:lnTo>
                  <a:lnTo>
                    <a:pt x="1456" y="427"/>
                  </a:lnTo>
                  <a:lnTo>
                    <a:pt x="1456" y="427"/>
                  </a:lnTo>
                  <a:lnTo>
                    <a:pt x="1458" y="424"/>
                  </a:lnTo>
                  <a:lnTo>
                    <a:pt x="1464" y="423"/>
                  </a:lnTo>
                  <a:lnTo>
                    <a:pt x="1464" y="423"/>
                  </a:lnTo>
                  <a:lnTo>
                    <a:pt x="1468" y="423"/>
                  </a:lnTo>
                  <a:lnTo>
                    <a:pt x="1471" y="422"/>
                  </a:lnTo>
                  <a:lnTo>
                    <a:pt x="1474" y="417"/>
                  </a:lnTo>
                  <a:lnTo>
                    <a:pt x="1474" y="417"/>
                  </a:lnTo>
                  <a:lnTo>
                    <a:pt x="1474" y="416"/>
                  </a:lnTo>
                  <a:lnTo>
                    <a:pt x="1474" y="416"/>
                  </a:lnTo>
                  <a:lnTo>
                    <a:pt x="1475" y="416"/>
                  </a:lnTo>
                  <a:lnTo>
                    <a:pt x="1475" y="416"/>
                  </a:lnTo>
                  <a:lnTo>
                    <a:pt x="1481" y="417"/>
                  </a:lnTo>
                  <a:lnTo>
                    <a:pt x="1481" y="417"/>
                  </a:lnTo>
                  <a:lnTo>
                    <a:pt x="1486" y="417"/>
                  </a:lnTo>
                  <a:lnTo>
                    <a:pt x="1492" y="417"/>
                  </a:lnTo>
                  <a:lnTo>
                    <a:pt x="1492" y="417"/>
                  </a:lnTo>
                  <a:lnTo>
                    <a:pt x="1495" y="416"/>
                  </a:lnTo>
                  <a:lnTo>
                    <a:pt x="1495" y="416"/>
                  </a:lnTo>
                  <a:lnTo>
                    <a:pt x="1499" y="419"/>
                  </a:lnTo>
                  <a:lnTo>
                    <a:pt x="1505" y="420"/>
                  </a:lnTo>
                  <a:lnTo>
                    <a:pt x="1518" y="423"/>
                  </a:lnTo>
                  <a:lnTo>
                    <a:pt x="1518" y="423"/>
                  </a:lnTo>
                  <a:lnTo>
                    <a:pt x="1521" y="423"/>
                  </a:lnTo>
                  <a:lnTo>
                    <a:pt x="1521" y="423"/>
                  </a:lnTo>
                  <a:lnTo>
                    <a:pt x="1522" y="426"/>
                  </a:lnTo>
                  <a:lnTo>
                    <a:pt x="1522" y="426"/>
                  </a:lnTo>
                  <a:lnTo>
                    <a:pt x="1522" y="426"/>
                  </a:lnTo>
                  <a:lnTo>
                    <a:pt x="1522" y="426"/>
                  </a:lnTo>
                  <a:lnTo>
                    <a:pt x="1522" y="430"/>
                  </a:lnTo>
                  <a:lnTo>
                    <a:pt x="1522" y="430"/>
                  </a:lnTo>
                  <a:lnTo>
                    <a:pt x="1524" y="434"/>
                  </a:lnTo>
                  <a:lnTo>
                    <a:pt x="1526" y="434"/>
                  </a:lnTo>
                  <a:lnTo>
                    <a:pt x="1526" y="434"/>
                  </a:lnTo>
                  <a:lnTo>
                    <a:pt x="1526" y="436"/>
                  </a:lnTo>
                  <a:lnTo>
                    <a:pt x="1526" y="436"/>
                  </a:lnTo>
                  <a:lnTo>
                    <a:pt x="1524" y="436"/>
                  </a:lnTo>
                  <a:lnTo>
                    <a:pt x="1524" y="436"/>
                  </a:lnTo>
                  <a:lnTo>
                    <a:pt x="1521" y="439"/>
                  </a:lnTo>
                  <a:lnTo>
                    <a:pt x="1519" y="443"/>
                  </a:lnTo>
                  <a:lnTo>
                    <a:pt x="1519" y="456"/>
                  </a:lnTo>
                  <a:lnTo>
                    <a:pt x="1519" y="457"/>
                  </a:lnTo>
                  <a:lnTo>
                    <a:pt x="1519" y="457"/>
                  </a:lnTo>
                  <a:lnTo>
                    <a:pt x="1519" y="460"/>
                  </a:lnTo>
                  <a:lnTo>
                    <a:pt x="1521" y="460"/>
                  </a:lnTo>
                  <a:lnTo>
                    <a:pt x="1521" y="460"/>
                  </a:lnTo>
                  <a:lnTo>
                    <a:pt x="1521" y="460"/>
                  </a:lnTo>
                  <a:lnTo>
                    <a:pt x="1521" y="462"/>
                  </a:lnTo>
                  <a:lnTo>
                    <a:pt x="1522" y="460"/>
                  </a:lnTo>
                  <a:lnTo>
                    <a:pt x="1522" y="460"/>
                  </a:lnTo>
                  <a:lnTo>
                    <a:pt x="1524" y="460"/>
                  </a:lnTo>
                  <a:lnTo>
                    <a:pt x="1524" y="459"/>
                  </a:lnTo>
                  <a:lnTo>
                    <a:pt x="1524" y="459"/>
                  </a:lnTo>
                  <a:lnTo>
                    <a:pt x="1524" y="467"/>
                  </a:lnTo>
                  <a:lnTo>
                    <a:pt x="1524" y="469"/>
                  </a:lnTo>
                  <a:lnTo>
                    <a:pt x="1524" y="469"/>
                  </a:lnTo>
                  <a:lnTo>
                    <a:pt x="1525" y="470"/>
                  </a:lnTo>
                  <a:lnTo>
                    <a:pt x="1526" y="472"/>
                  </a:lnTo>
                  <a:lnTo>
                    <a:pt x="1526" y="472"/>
                  </a:lnTo>
                  <a:lnTo>
                    <a:pt x="1526" y="472"/>
                  </a:lnTo>
                  <a:lnTo>
                    <a:pt x="1526" y="473"/>
                  </a:lnTo>
                  <a:lnTo>
                    <a:pt x="1526" y="472"/>
                  </a:lnTo>
                  <a:lnTo>
                    <a:pt x="1526" y="472"/>
                  </a:lnTo>
                  <a:lnTo>
                    <a:pt x="1528" y="472"/>
                  </a:lnTo>
                  <a:lnTo>
                    <a:pt x="1529" y="470"/>
                  </a:lnTo>
                  <a:lnTo>
                    <a:pt x="1529" y="470"/>
                  </a:lnTo>
                  <a:lnTo>
                    <a:pt x="1532" y="467"/>
                  </a:lnTo>
                  <a:lnTo>
                    <a:pt x="1532" y="467"/>
                  </a:lnTo>
                  <a:lnTo>
                    <a:pt x="1532" y="469"/>
                  </a:lnTo>
                  <a:lnTo>
                    <a:pt x="1532" y="469"/>
                  </a:lnTo>
                  <a:lnTo>
                    <a:pt x="1535" y="470"/>
                  </a:lnTo>
                  <a:lnTo>
                    <a:pt x="1538" y="470"/>
                  </a:lnTo>
                  <a:lnTo>
                    <a:pt x="1538" y="470"/>
                  </a:lnTo>
                  <a:lnTo>
                    <a:pt x="1539" y="470"/>
                  </a:lnTo>
                  <a:lnTo>
                    <a:pt x="1542" y="473"/>
                  </a:lnTo>
                  <a:lnTo>
                    <a:pt x="1542" y="473"/>
                  </a:lnTo>
                  <a:lnTo>
                    <a:pt x="1542" y="473"/>
                  </a:lnTo>
                  <a:lnTo>
                    <a:pt x="1544" y="476"/>
                  </a:lnTo>
                  <a:lnTo>
                    <a:pt x="1544" y="476"/>
                  </a:lnTo>
                  <a:lnTo>
                    <a:pt x="1545" y="479"/>
                  </a:lnTo>
                  <a:lnTo>
                    <a:pt x="1546" y="480"/>
                  </a:lnTo>
                  <a:lnTo>
                    <a:pt x="1548" y="480"/>
                  </a:lnTo>
                  <a:lnTo>
                    <a:pt x="1548" y="480"/>
                  </a:lnTo>
                  <a:lnTo>
                    <a:pt x="1548" y="480"/>
                  </a:lnTo>
                  <a:lnTo>
                    <a:pt x="1548" y="480"/>
                  </a:lnTo>
                  <a:lnTo>
                    <a:pt x="1551" y="480"/>
                  </a:lnTo>
                  <a:lnTo>
                    <a:pt x="1552" y="477"/>
                  </a:lnTo>
                  <a:lnTo>
                    <a:pt x="1555" y="472"/>
                  </a:lnTo>
                  <a:lnTo>
                    <a:pt x="1555" y="472"/>
                  </a:lnTo>
                  <a:lnTo>
                    <a:pt x="1555" y="469"/>
                  </a:lnTo>
                  <a:lnTo>
                    <a:pt x="1555" y="469"/>
                  </a:lnTo>
                  <a:lnTo>
                    <a:pt x="1556" y="472"/>
                  </a:lnTo>
                  <a:lnTo>
                    <a:pt x="1556" y="472"/>
                  </a:lnTo>
                  <a:lnTo>
                    <a:pt x="1558" y="473"/>
                  </a:lnTo>
                  <a:lnTo>
                    <a:pt x="1561" y="476"/>
                  </a:lnTo>
                  <a:lnTo>
                    <a:pt x="1566" y="479"/>
                  </a:lnTo>
                  <a:lnTo>
                    <a:pt x="1566" y="479"/>
                  </a:lnTo>
                  <a:lnTo>
                    <a:pt x="1569" y="480"/>
                  </a:lnTo>
                  <a:lnTo>
                    <a:pt x="1569" y="480"/>
                  </a:lnTo>
                  <a:lnTo>
                    <a:pt x="1572" y="482"/>
                  </a:lnTo>
                  <a:lnTo>
                    <a:pt x="1572" y="482"/>
                  </a:lnTo>
                  <a:lnTo>
                    <a:pt x="1577" y="483"/>
                  </a:lnTo>
                  <a:lnTo>
                    <a:pt x="1577" y="483"/>
                  </a:lnTo>
                  <a:lnTo>
                    <a:pt x="1579" y="482"/>
                  </a:lnTo>
                  <a:lnTo>
                    <a:pt x="1579" y="482"/>
                  </a:lnTo>
                  <a:lnTo>
                    <a:pt x="1581" y="487"/>
                  </a:lnTo>
                  <a:lnTo>
                    <a:pt x="1581" y="487"/>
                  </a:lnTo>
                  <a:lnTo>
                    <a:pt x="1577" y="489"/>
                  </a:lnTo>
                  <a:lnTo>
                    <a:pt x="1575" y="490"/>
                  </a:lnTo>
                  <a:lnTo>
                    <a:pt x="1575" y="490"/>
                  </a:lnTo>
                  <a:lnTo>
                    <a:pt x="1574" y="493"/>
                  </a:lnTo>
                  <a:lnTo>
                    <a:pt x="1575" y="496"/>
                  </a:lnTo>
                  <a:lnTo>
                    <a:pt x="1575" y="496"/>
                  </a:lnTo>
                  <a:lnTo>
                    <a:pt x="1578" y="497"/>
                  </a:lnTo>
                  <a:lnTo>
                    <a:pt x="1579" y="499"/>
                  </a:lnTo>
                  <a:lnTo>
                    <a:pt x="1579" y="499"/>
                  </a:lnTo>
                  <a:lnTo>
                    <a:pt x="1582" y="499"/>
                  </a:lnTo>
                  <a:lnTo>
                    <a:pt x="1582" y="499"/>
                  </a:lnTo>
                  <a:lnTo>
                    <a:pt x="1579" y="502"/>
                  </a:lnTo>
                  <a:lnTo>
                    <a:pt x="1579" y="502"/>
                  </a:lnTo>
                  <a:lnTo>
                    <a:pt x="1578" y="503"/>
                  </a:lnTo>
                  <a:lnTo>
                    <a:pt x="1579" y="506"/>
                  </a:lnTo>
                  <a:lnTo>
                    <a:pt x="1579" y="506"/>
                  </a:lnTo>
                  <a:lnTo>
                    <a:pt x="1582" y="509"/>
                  </a:lnTo>
                  <a:lnTo>
                    <a:pt x="1584" y="509"/>
                  </a:lnTo>
                  <a:lnTo>
                    <a:pt x="1584" y="509"/>
                  </a:lnTo>
                  <a:lnTo>
                    <a:pt x="1584" y="509"/>
                  </a:lnTo>
                  <a:lnTo>
                    <a:pt x="1584" y="509"/>
                  </a:lnTo>
                  <a:lnTo>
                    <a:pt x="1585" y="512"/>
                  </a:lnTo>
                  <a:lnTo>
                    <a:pt x="1588" y="513"/>
                  </a:lnTo>
                  <a:lnTo>
                    <a:pt x="1588" y="513"/>
                  </a:lnTo>
                  <a:lnTo>
                    <a:pt x="1588" y="514"/>
                  </a:lnTo>
                  <a:lnTo>
                    <a:pt x="1588" y="514"/>
                  </a:lnTo>
                  <a:lnTo>
                    <a:pt x="1589" y="520"/>
                  </a:lnTo>
                  <a:lnTo>
                    <a:pt x="1591" y="522"/>
                  </a:lnTo>
                  <a:lnTo>
                    <a:pt x="1594" y="525"/>
                  </a:lnTo>
                  <a:lnTo>
                    <a:pt x="1594" y="525"/>
                  </a:lnTo>
                  <a:lnTo>
                    <a:pt x="1597" y="526"/>
                  </a:lnTo>
                  <a:lnTo>
                    <a:pt x="1597" y="526"/>
                  </a:lnTo>
                  <a:lnTo>
                    <a:pt x="1597" y="527"/>
                  </a:lnTo>
                  <a:lnTo>
                    <a:pt x="1597" y="527"/>
                  </a:lnTo>
                  <a:lnTo>
                    <a:pt x="1597" y="527"/>
                  </a:lnTo>
                  <a:lnTo>
                    <a:pt x="1594" y="527"/>
                  </a:lnTo>
                  <a:lnTo>
                    <a:pt x="1594" y="527"/>
                  </a:lnTo>
                  <a:lnTo>
                    <a:pt x="1592" y="530"/>
                  </a:lnTo>
                  <a:lnTo>
                    <a:pt x="1594" y="536"/>
                  </a:lnTo>
                  <a:lnTo>
                    <a:pt x="1594" y="536"/>
                  </a:lnTo>
                  <a:lnTo>
                    <a:pt x="1595" y="540"/>
                  </a:lnTo>
                  <a:lnTo>
                    <a:pt x="1598" y="545"/>
                  </a:lnTo>
                  <a:lnTo>
                    <a:pt x="1598" y="545"/>
                  </a:lnTo>
                  <a:lnTo>
                    <a:pt x="1598" y="546"/>
                  </a:lnTo>
                  <a:lnTo>
                    <a:pt x="1598" y="546"/>
                  </a:lnTo>
                  <a:lnTo>
                    <a:pt x="1599" y="552"/>
                  </a:lnTo>
                  <a:lnTo>
                    <a:pt x="1602" y="556"/>
                  </a:lnTo>
                  <a:lnTo>
                    <a:pt x="1602" y="556"/>
                  </a:lnTo>
                  <a:lnTo>
                    <a:pt x="1604" y="557"/>
                  </a:lnTo>
                  <a:lnTo>
                    <a:pt x="1605" y="560"/>
                  </a:lnTo>
                  <a:lnTo>
                    <a:pt x="1605" y="560"/>
                  </a:lnTo>
                  <a:lnTo>
                    <a:pt x="1607" y="560"/>
                  </a:lnTo>
                  <a:lnTo>
                    <a:pt x="1607" y="560"/>
                  </a:lnTo>
                  <a:lnTo>
                    <a:pt x="1607" y="565"/>
                  </a:lnTo>
                  <a:lnTo>
                    <a:pt x="1607" y="567"/>
                  </a:lnTo>
                  <a:lnTo>
                    <a:pt x="1609" y="569"/>
                  </a:lnTo>
                  <a:lnTo>
                    <a:pt x="1609" y="569"/>
                  </a:lnTo>
                  <a:lnTo>
                    <a:pt x="1614" y="572"/>
                  </a:lnTo>
                  <a:lnTo>
                    <a:pt x="1618" y="573"/>
                  </a:lnTo>
                  <a:lnTo>
                    <a:pt x="1618" y="573"/>
                  </a:lnTo>
                  <a:lnTo>
                    <a:pt x="1621" y="572"/>
                  </a:lnTo>
                  <a:lnTo>
                    <a:pt x="1625" y="569"/>
                  </a:lnTo>
                  <a:lnTo>
                    <a:pt x="1625" y="569"/>
                  </a:lnTo>
                  <a:lnTo>
                    <a:pt x="1628" y="567"/>
                  </a:lnTo>
                  <a:lnTo>
                    <a:pt x="1629" y="566"/>
                  </a:lnTo>
                  <a:lnTo>
                    <a:pt x="1629" y="566"/>
                  </a:lnTo>
                  <a:lnTo>
                    <a:pt x="1634" y="565"/>
                  </a:lnTo>
                  <a:lnTo>
                    <a:pt x="1635" y="562"/>
                  </a:lnTo>
                  <a:lnTo>
                    <a:pt x="1637" y="560"/>
                  </a:lnTo>
                  <a:lnTo>
                    <a:pt x="1637" y="560"/>
                  </a:lnTo>
                  <a:lnTo>
                    <a:pt x="1641" y="552"/>
                  </a:lnTo>
                  <a:lnTo>
                    <a:pt x="1642" y="549"/>
                  </a:lnTo>
                  <a:lnTo>
                    <a:pt x="1642" y="549"/>
                  </a:lnTo>
                  <a:lnTo>
                    <a:pt x="1647" y="553"/>
                  </a:lnTo>
                  <a:lnTo>
                    <a:pt x="1647" y="553"/>
                  </a:lnTo>
                  <a:lnTo>
                    <a:pt x="1651" y="556"/>
                  </a:lnTo>
                  <a:lnTo>
                    <a:pt x="1654" y="557"/>
                  </a:lnTo>
                  <a:lnTo>
                    <a:pt x="1654" y="557"/>
                  </a:lnTo>
                  <a:lnTo>
                    <a:pt x="1657" y="557"/>
                  </a:lnTo>
                  <a:lnTo>
                    <a:pt x="1657" y="557"/>
                  </a:lnTo>
                  <a:lnTo>
                    <a:pt x="1659" y="556"/>
                  </a:lnTo>
                  <a:lnTo>
                    <a:pt x="1664" y="555"/>
                  </a:lnTo>
                  <a:lnTo>
                    <a:pt x="1664" y="555"/>
                  </a:lnTo>
                  <a:lnTo>
                    <a:pt x="1667" y="556"/>
                  </a:lnTo>
                  <a:lnTo>
                    <a:pt x="1667" y="556"/>
                  </a:lnTo>
                  <a:lnTo>
                    <a:pt x="1669" y="557"/>
                  </a:lnTo>
                  <a:lnTo>
                    <a:pt x="1672" y="556"/>
                  </a:lnTo>
                  <a:lnTo>
                    <a:pt x="1672" y="556"/>
                  </a:lnTo>
                  <a:lnTo>
                    <a:pt x="1675" y="553"/>
                  </a:lnTo>
                  <a:lnTo>
                    <a:pt x="1677" y="550"/>
                  </a:lnTo>
                  <a:lnTo>
                    <a:pt x="1677" y="542"/>
                  </a:lnTo>
                  <a:lnTo>
                    <a:pt x="1677" y="542"/>
                  </a:lnTo>
                  <a:lnTo>
                    <a:pt x="1677" y="533"/>
                  </a:lnTo>
                  <a:lnTo>
                    <a:pt x="1675" y="529"/>
                  </a:lnTo>
                  <a:lnTo>
                    <a:pt x="1674" y="526"/>
                  </a:lnTo>
                  <a:lnTo>
                    <a:pt x="1674" y="526"/>
                  </a:lnTo>
                  <a:lnTo>
                    <a:pt x="1674" y="522"/>
                  </a:lnTo>
                  <a:lnTo>
                    <a:pt x="1672" y="517"/>
                  </a:lnTo>
                  <a:lnTo>
                    <a:pt x="1672" y="517"/>
                  </a:lnTo>
                  <a:lnTo>
                    <a:pt x="1672" y="514"/>
                  </a:lnTo>
                  <a:lnTo>
                    <a:pt x="1672" y="514"/>
                  </a:lnTo>
                  <a:lnTo>
                    <a:pt x="1672" y="513"/>
                  </a:lnTo>
                  <a:lnTo>
                    <a:pt x="1671" y="512"/>
                  </a:lnTo>
                  <a:lnTo>
                    <a:pt x="1671" y="512"/>
                  </a:lnTo>
                  <a:lnTo>
                    <a:pt x="1667" y="509"/>
                  </a:lnTo>
                  <a:lnTo>
                    <a:pt x="1667" y="509"/>
                  </a:lnTo>
                  <a:lnTo>
                    <a:pt x="1668" y="509"/>
                  </a:lnTo>
                  <a:lnTo>
                    <a:pt x="1668" y="509"/>
                  </a:lnTo>
                  <a:lnTo>
                    <a:pt x="1669" y="507"/>
                  </a:lnTo>
                  <a:lnTo>
                    <a:pt x="1671" y="504"/>
                  </a:lnTo>
                  <a:lnTo>
                    <a:pt x="1671" y="504"/>
                  </a:lnTo>
                  <a:lnTo>
                    <a:pt x="1669" y="503"/>
                  </a:lnTo>
                  <a:lnTo>
                    <a:pt x="1668" y="502"/>
                  </a:lnTo>
                  <a:lnTo>
                    <a:pt x="1668" y="502"/>
                  </a:lnTo>
                  <a:lnTo>
                    <a:pt x="1664" y="499"/>
                  </a:lnTo>
                  <a:lnTo>
                    <a:pt x="1664" y="499"/>
                  </a:lnTo>
                  <a:lnTo>
                    <a:pt x="1661" y="497"/>
                  </a:lnTo>
                  <a:lnTo>
                    <a:pt x="1661" y="497"/>
                  </a:lnTo>
                  <a:lnTo>
                    <a:pt x="1661" y="492"/>
                  </a:lnTo>
                  <a:lnTo>
                    <a:pt x="1659" y="490"/>
                  </a:lnTo>
                  <a:lnTo>
                    <a:pt x="1657" y="487"/>
                  </a:lnTo>
                  <a:lnTo>
                    <a:pt x="1657" y="487"/>
                  </a:lnTo>
                  <a:lnTo>
                    <a:pt x="1655" y="487"/>
                  </a:lnTo>
                  <a:lnTo>
                    <a:pt x="1655" y="486"/>
                  </a:lnTo>
                  <a:lnTo>
                    <a:pt x="1655" y="486"/>
                  </a:lnTo>
                  <a:lnTo>
                    <a:pt x="1654" y="483"/>
                  </a:lnTo>
                  <a:lnTo>
                    <a:pt x="1654" y="483"/>
                  </a:lnTo>
                  <a:lnTo>
                    <a:pt x="1648" y="477"/>
                  </a:lnTo>
                  <a:lnTo>
                    <a:pt x="1648" y="477"/>
                  </a:lnTo>
                  <a:lnTo>
                    <a:pt x="1647" y="476"/>
                  </a:lnTo>
                  <a:lnTo>
                    <a:pt x="1647" y="476"/>
                  </a:lnTo>
                  <a:lnTo>
                    <a:pt x="1645" y="474"/>
                  </a:lnTo>
                  <a:lnTo>
                    <a:pt x="1645" y="474"/>
                  </a:lnTo>
                  <a:lnTo>
                    <a:pt x="1642" y="472"/>
                  </a:lnTo>
                  <a:lnTo>
                    <a:pt x="1642" y="472"/>
                  </a:lnTo>
                  <a:lnTo>
                    <a:pt x="1644" y="469"/>
                  </a:lnTo>
                  <a:lnTo>
                    <a:pt x="1644" y="469"/>
                  </a:lnTo>
                  <a:lnTo>
                    <a:pt x="1644" y="467"/>
                  </a:lnTo>
                  <a:lnTo>
                    <a:pt x="1642" y="464"/>
                  </a:lnTo>
                  <a:lnTo>
                    <a:pt x="1642" y="464"/>
                  </a:lnTo>
                  <a:lnTo>
                    <a:pt x="1641" y="463"/>
                  </a:lnTo>
                  <a:lnTo>
                    <a:pt x="1639" y="463"/>
                  </a:lnTo>
                  <a:lnTo>
                    <a:pt x="1639" y="463"/>
                  </a:lnTo>
                  <a:lnTo>
                    <a:pt x="1632" y="460"/>
                  </a:lnTo>
                  <a:lnTo>
                    <a:pt x="1631" y="459"/>
                  </a:lnTo>
                  <a:lnTo>
                    <a:pt x="1631" y="459"/>
                  </a:lnTo>
                  <a:lnTo>
                    <a:pt x="1621" y="450"/>
                  </a:lnTo>
                  <a:lnTo>
                    <a:pt x="1609" y="439"/>
                  </a:lnTo>
                  <a:lnTo>
                    <a:pt x="1609" y="439"/>
                  </a:lnTo>
                  <a:lnTo>
                    <a:pt x="1607" y="434"/>
                  </a:lnTo>
                  <a:lnTo>
                    <a:pt x="1607" y="434"/>
                  </a:lnTo>
                  <a:lnTo>
                    <a:pt x="1602" y="430"/>
                  </a:lnTo>
                  <a:lnTo>
                    <a:pt x="1598" y="429"/>
                  </a:lnTo>
                  <a:lnTo>
                    <a:pt x="1598" y="429"/>
                  </a:lnTo>
                  <a:lnTo>
                    <a:pt x="1595" y="427"/>
                  </a:lnTo>
                  <a:lnTo>
                    <a:pt x="1591" y="424"/>
                  </a:lnTo>
                  <a:lnTo>
                    <a:pt x="1591" y="424"/>
                  </a:lnTo>
                  <a:lnTo>
                    <a:pt x="1589" y="423"/>
                  </a:lnTo>
                  <a:lnTo>
                    <a:pt x="1589" y="423"/>
                  </a:lnTo>
                  <a:lnTo>
                    <a:pt x="1579" y="414"/>
                  </a:lnTo>
                  <a:lnTo>
                    <a:pt x="1581" y="414"/>
                  </a:lnTo>
                  <a:lnTo>
                    <a:pt x="1581" y="414"/>
                  </a:lnTo>
                  <a:lnTo>
                    <a:pt x="1584" y="413"/>
                  </a:lnTo>
                  <a:lnTo>
                    <a:pt x="1588" y="412"/>
                  </a:lnTo>
                  <a:lnTo>
                    <a:pt x="1588" y="412"/>
                  </a:lnTo>
                  <a:lnTo>
                    <a:pt x="1591" y="412"/>
                  </a:lnTo>
                  <a:lnTo>
                    <a:pt x="1591" y="412"/>
                  </a:lnTo>
                  <a:lnTo>
                    <a:pt x="1594" y="410"/>
                  </a:lnTo>
                  <a:lnTo>
                    <a:pt x="1595" y="409"/>
                  </a:lnTo>
                  <a:lnTo>
                    <a:pt x="1597" y="403"/>
                  </a:lnTo>
                  <a:lnTo>
                    <a:pt x="1597" y="403"/>
                  </a:lnTo>
                  <a:lnTo>
                    <a:pt x="1598" y="397"/>
                  </a:lnTo>
                  <a:lnTo>
                    <a:pt x="1598" y="397"/>
                  </a:lnTo>
                  <a:lnTo>
                    <a:pt x="1598" y="396"/>
                  </a:lnTo>
                  <a:lnTo>
                    <a:pt x="1598" y="396"/>
                  </a:lnTo>
                  <a:lnTo>
                    <a:pt x="1599" y="396"/>
                  </a:lnTo>
                  <a:lnTo>
                    <a:pt x="1599" y="396"/>
                  </a:lnTo>
                  <a:lnTo>
                    <a:pt x="1605" y="396"/>
                  </a:lnTo>
                  <a:lnTo>
                    <a:pt x="1605" y="396"/>
                  </a:lnTo>
                  <a:lnTo>
                    <a:pt x="1609" y="393"/>
                  </a:lnTo>
                  <a:lnTo>
                    <a:pt x="1612" y="390"/>
                  </a:lnTo>
                  <a:lnTo>
                    <a:pt x="1612" y="390"/>
                  </a:lnTo>
                  <a:lnTo>
                    <a:pt x="1612" y="387"/>
                  </a:lnTo>
                  <a:lnTo>
                    <a:pt x="1612" y="383"/>
                  </a:lnTo>
                  <a:lnTo>
                    <a:pt x="1612" y="383"/>
                  </a:lnTo>
                  <a:lnTo>
                    <a:pt x="1611" y="379"/>
                  </a:lnTo>
                  <a:lnTo>
                    <a:pt x="1611" y="379"/>
                  </a:lnTo>
                  <a:lnTo>
                    <a:pt x="1611" y="376"/>
                  </a:lnTo>
                  <a:lnTo>
                    <a:pt x="1609" y="370"/>
                  </a:lnTo>
                  <a:lnTo>
                    <a:pt x="1609" y="370"/>
                  </a:lnTo>
                  <a:lnTo>
                    <a:pt x="1608" y="369"/>
                  </a:lnTo>
                  <a:lnTo>
                    <a:pt x="1608" y="369"/>
                  </a:lnTo>
                  <a:lnTo>
                    <a:pt x="1608" y="366"/>
                  </a:lnTo>
                  <a:lnTo>
                    <a:pt x="1608" y="366"/>
                  </a:lnTo>
                  <a:lnTo>
                    <a:pt x="1608" y="363"/>
                  </a:lnTo>
                  <a:lnTo>
                    <a:pt x="1605" y="357"/>
                  </a:lnTo>
                  <a:lnTo>
                    <a:pt x="1605" y="357"/>
                  </a:lnTo>
                  <a:lnTo>
                    <a:pt x="1604" y="356"/>
                  </a:lnTo>
                  <a:lnTo>
                    <a:pt x="1604" y="356"/>
                  </a:lnTo>
                  <a:lnTo>
                    <a:pt x="1604" y="354"/>
                  </a:lnTo>
                  <a:lnTo>
                    <a:pt x="1604" y="350"/>
                  </a:lnTo>
                  <a:lnTo>
                    <a:pt x="1604" y="350"/>
                  </a:lnTo>
                  <a:lnTo>
                    <a:pt x="1605" y="349"/>
                  </a:lnTo>
                  <a:lnTo>
                    <a:pt x="1607" y="349"/>
                  </a:lnTo>
                  <a:lnTo>
                    <a:pt x="1611" y="347"/>
                  </a:lnTo>
                  <a:lnTo>
                    <a:pt x="1611" y="347"/>
                  </a:lnTo>
                  <a:lnTo>
                    <a:pt x="1615" y="346"/>
                  </a:lnTo>
                  <a:lnTo>
                    <a:pt x="1615" y="346"/>
                  </a:lnTo>
                  <a:lnTo>
                    <a:pt x="1615" y="344"/>
                  </a:lnTo>
                  <a:lnTo>
                    <a:pt x="1617" y="343"/>
                  </a:lnTo>
                  <a:lnTo>
                    <a:pt x="1617" y="343"/>
                  </a:lnTo>
                  <a:lnTo>
                    <a:pt x="1614" y="339"/>
                  </a:lnTo>
                  <a:lnTo>
                    <a:pt x="1608" y="334"/>
                  </a:lnTo>
                  <a:lnTo>
                    <a:pt x="1608" y="334"/>
                  </a:lnTo>
                  <a:lnTo>
                    <a:pt x="1608" y="334"/>
                  </a:lnTo>
                  <a:lnTo>
                    <a:pt x="1608" y="334"/>
                  </a:lnTo>
                  <a:lnTo>
                    <a:pt x="1611" y="333"/>
                  </a:lnTo>
                  <a:lnTo>
                    <a:pt x="1611" y="333"/>
                  </a:lnTo>
                  <a:lnTo>
                    <a:pt x="1612" y="331"/>
                  </a:lnTo>
                  <a:lnTo>
                    <a:pt x="1612" y="330"/>
                  </a:lnTo>
                  <a:lnTo>
                    <a:pt x="1612" y="330"/>
                  </a:lnTo>
                  <a:lnTo>
                    <a:pt x="1612" y="327"/>
                  </a:lnTo>
                  <a:lnTo>
                    <a:pt x="1614" y="326"/>
                  </a:lnTo>
                  <a:lnTo>
                    <a:pt x="1615" y="324"/>
                  </a:lnTo>
                  <a:lnTo>
                    <a:pt x="1614" y="323"/>
                  </a:lnTo>
                  <a:lnTo>
                    <a:pt x="1614" y="323"/>
                  </a:lnTo>
                  <a:lnTo>
                    <a:pt x="1614" y="319"/>
                  </a:lnTo>
                  <a:lnTo>
                    <a:pt x="1612" y="313"/>
                  </a:lnTo>
                  <a:lnTo>
                    <a:pt x="1612" y="313"/>
                  </a:lnTo>
                  <a:lnTo>
                    <a:pt x="1609" y="310"/>
                  </a:lnTo>
                  <a:lnTo>
                    <a:pt x="1605" y="307"/>
                  </a:lnTo>
                  <a:lnTo>
                    <a:pt x="1605" y="307"/>
                  </a:lnTo>
                  <a:lnTo>
                    <a:pt x="1607" y="306"/>
                  </a:lnTo>
                  <a:lnTo>
                    <a:pt x="1605" y="306"/>
                  </a:lnTo>
                  <a:lnTo>
                    <a:pt x="1602" y="303"/>
                  </a:lnTo>
                  <a:lnTo>
                    <a:pt x="1602" y="303"/>
                  </a:lnTo>
                  <a:lnTo>
                    <a:pt x="1602" y="296"/>
                  </a:lnTo>
                  <a:lnTo>
                    <a:pt x="1601" y="291"/>
                  </a:lnTo>
                  <a:lnTo>
                    <a:pt x="1599" y="290"/>
                  </a:lnTo>
                  <a:lnTo>
                    <a:pt x="1599" y="290"/>
                  </a:lnTo>
                  <a:lnTo>
                    <a:pt x="1595" y="287"/>
                  </a:lnTo>
                  <a:lnTo>
                    <a:pt x="1591" y="283"/>
                  </a:lnTo>
                  <a:lnTo>
                    <a:pt x="1591" y="283"/>
                  </a:lnTo>
                  <a:lnTo>
                    <a:pt x="1588" y="279"/>
                  </a:lnTo>
                  <a:lnTo>
                    <a:pt x="1587" y="276"/>
                  </a:lnTo>
                  <a:lnTo>
                    <a:pt x="1585" y="273"/>
                  </a:lnTo>
                  <a:lnTo>
                    <a:pt x="1584" y="271"/>
                  </a:lnTo>
                  <a:lnTo>
                    <a:pt x="1584" y="271"/>
                  </a:lnTo>
                  <a:lnTo>
                    <a:pt x="1582" y="271"/>
                  </a:lnTo>
                  <a:lnTo>
                    <a:pt x="1584" y="271"/>
                  </a:lnTo>
                  <a:lnTo>
                    <a:pt x="1584" y="271"/>
                  </a:lnTo>
                  <a:lnTo>
                    <a:pt x="1582" y="270"/>
                  </a:lnTo>
                  <a:lnTo>
                    <a:pt x="1582" y="270"/>
                  </a:lnTo>
                  <a:lnTo>
                    <a:pt x="1585" y="273"/>
                  </a:lnTo>
                  <a:lnTo>
                    <a:pt x="1587" y="271"/>
                  </a:lnTo>
                  <a:lnTo>
                    <a:pt x="1585" y="270"/>
                  </a:lnTo>
                  <a:lnTo>
                    <a:pt x="1585" y="270"/>
                  </a:lnTo>
                  <a:lnTo>
                    <a:pt x="1591" y="260"/>
                  </a:lnTo>
                  <a:lnTo>
                    <a:pt x="1591" y="260"/>
                  </a:lnTo>
                  <a:lnTo>
                    <a:pt x="1591" y="260"/>
                  </a:lnTo>
                  <a:lnTo>
                    <a:pt x="1594" y="261"/>
                  </a:lnTo>
                  <a:lnTo>
                    <a:pt x="1602" y="266"/>
                  </a:lnTo>
                  <a:lnTo>
                    <a:pt x="1611" y="269"/>
                  </a:lnTo>
                  <a:lnTo>
                    <a:pt x="1621" y="267"/>
                  </a:lnTo>
                  <a:lnTo>
                    <a:pt x="1621" y="267"/>
                  </a:lnTo>
                  <a:lnTo>
                    <a:pt x="1621" y="267"/>
                  </a:lnTo>
                  <a:lnTo>
                    <a:pt x="1621" y="267"/>
                  </a:lnTo>
                  <a:lnTo>
                    <a:pt x="1625" y="269"/>
                  </a:lnTo>
                  <a:lnTo>
                    <a:pt x="1627" y="269"/>
                  </a:lnTo>
                  <a:lnTo>
                    <a:pt x="1627" y="267"/>
                  </a:lnTo>
                  <a:lnTo>
                    <a:pt x="1622" y="266"/>
                  </a:lnTo>
                  <a:lnTo>
                    <a:pt x="1622" y="266"/>
                  </a:lnTo>
                  <a:lnTo>
                    <a:pt x="1622" y="264"/>
                  </a:lnTo>
                  <a:lnTo>
                    <a:pt x="1622" y="264"/>
                  </a:lnTo>
                  <a:lnTo>
                    <a:pt x="1622" y="254"/>
                  </a:lnTo>
                  <a:lnTo>
                    <a:pt x="1622" y="254"/>
                  </a:lnTo>
                  <a:lnTo>
                    <a:pt x="1624" y="253"/>
                  </a:lnTo>
                  <a:lnTo>
                    <a:pt x="1622" y="253"/>
                  </a:lnTo>
                  <a:lnTo>
                    <a:pt x="1622" y="253"/>
                  </a:lnTo>
                  <a:lnTo>
                    <a:pt x="1624" y="239"/>
                  </a:lnTo>
                  <a:lnTo>
                    <a:pt x="1624" y="229"/>
                  </a:lnTo>
                  <a:lnTo>
                    <a:pt x="1624" y="229"/>
                  </a:lnTo>
                  <a:lnTo>
                    <a:pt x="1622" y="224"/>
                  </a:lnTo>
                  <a:lnTo>
                    <a:pt x="1619" y="219"/>
                  </a:lnTo>
                  <a:lnTo>
                    <a:pt x="1619" y="219"/>
                  </a:lnTo>
                  <a:lnTo>
                    <a:pt x="1621" y="214"/>
                  </a:lnTo>
                  <a:lnTo>
                    <a:pt x="1621" y="214"/>
                  </a:lnTo>
                  <a:lnTo>
                    <a:pt x="1621" y="211"/>
                  </a:lnTo>
                  <a:lnTo>
                    <a:pt x="1619" y="209"/>
                  </a:lnTo>
                  <a:lnTo>
                    <a:pt x="1615" y="201"/>
                  </a:lnTo>
                  <a:lnTo>
                    <a:pt x="1615" y="201"/>
                  </a:lnTo>
                  <a:lnTo>
                    <a:pt x="1617" y="199"/>
                  </a:lnTo>
                  <a:lnTo>
                    <a:pt x="1617" y="199"/>
                  </a:lnTo>
                  <a:lnTo>
                    <a:pt x="1618" y="191"/>
                  </a:lnTo>
                  <a:lnTo>
                    <a:pt x="1618" y="188"/>
                  </a:lnTo>
                  <a:lnTo>
                    <a:pt x="1617" y="187"/>
                  </a:lnTo>
                  <a:lnTo>
                    <a:pt x="1617" y="187"/>
                  </a:lnTo>
                  <a:lnTo>
                    <a:pt x="1612" y="184"/>
                  </a:lnTo>
                  <a:lnTo>
                    <a:pt x="1612" y="184"/>
                  </a:lnTo>
                  <a:lnTo>
                    <a:pt x="1612" y="183"/>
                  </a:lnTo>
                  <a:lnTo>
                    <a:pt x="1612" y="183"/>
                  </a:lnTo>
                  <a:lnTo>
                    <a:pt x="1612" y="178"/>
                  </a:lnTo>
                  <a:lnTo>
                    <a:pt x="1609" y="173"/>
                  </a:lnTo>
                  <a:lnTo>
                    <a:pt x="1605" y="170"/>
                  </a:lnTo>
                  <a:lnTo>
                    <a:pt x="1602" y="167"/>
                  </a:lnTo>
                  <a:lnTo>
                    <a:pt x="1602" y="167"/>
                  </a:lnTo>
                  <a:lnTo>
                    <a:pt x="1597" y="163"/>
                  </a:lnTo>
                  <a:lnTo>
                    <a:pt x="1595" y="161"/>
                  </a:lnTo>
                  <a:lnTo>
                    <a:pt x="1594" y="157"/>
                  </a:lnTo>
                  <a:lnTo>
                    <a:pt x="1594" y="157"/>
                  </a:lnTo>
                  <a:lnTo>
                    <a:pt x="1594" y="156"/>
                  </a:lnTo>
                  <a:lnTo>
                    <a:pt x="1592" y="154"/>
                  </a:lnTo>
                  <a:lnTo>
                    <a:pt x="1589" y="151"/>
                  </a:lnTo>
                  <a:lnTo>
                    <a:pt x="1587" y="151"/>
                  </a:lnTo>
                  <a:lnTo>
                    <a:pt x="1587" y="151"/>
                  </a:lnTo>
                  <a:lnTo>
                    <a:pt x="1587" y="151"/>
                  </a:lnTo>
                  <a:lnTo>
                    <a:pt x="1592" y="151"/>
                  </a:lnTo>
                  <a:lnTo>
                    <a:pt x="1595" y="151"/>
                  </a:lnTo>
                  <a:lnTo>
                    <a:pt x="1595" y="151"/>
                  </a:lnTo>
                  <a:lnTo>
                    <a:pt x="1588" y="151"/>
                  </a:lnTo>
                  <a:lnTo>
                    <a:pt x="1588" y="151"/>
                  </a:lnTo>
                  <a:lnTo>
                    <a:pt x="1582" y="150"/>
                  </a:lnTo>
                  <a:lnTo>
                    <a:pt x="1578" y="151"/>
                  </a:lnTo>
                  <a:lnTo>
                    <a:pt x="1575" y="154"/>
                  </a:lnTo>
                  <a:lnTo>
                    <a:pt x="1575" y="154"/>
                  </a:lnTo>
                  <a:lnTo>
                    <a:pt x="1572" y="158"/>
                  </a:lnTo>
                  <a:lnTo>
                    <a:pt x="1571" y="160"/>
                  </a:lnTo>
                  <a:lnTo>
                    <a:pt x="1564" y="161"/>
                  </a:lnTo>
                  <a:lnTo>
                    <a:pt x="1564" y="161"/>
                  </a:lnTo>
                  <a:lnTo>
                    <a:pt x="1559" y="163"/>
                  </a:lnTo>
                  <a:lnTo>
                    <a:pt x="1555" y="166"/>
                  </a:lnTo>
                  <a:lnTo>
                    <a:pt x="1549" y="173"/>
                  </a:lnTo>
                  <a:lnTo>
                    <a:pt x="1549" y="173"/>
                  </a:lnTo>
                  <a:lnTo>
                    <a:pt x="1548" y="174"/>
                  </a:lnTo>
                  <a:lnTo>
                    <a:pt x="1544" y="174"/>
                  </a:lnTo>
                  <a:lnTo>
                    <a:pt x="1536" y="174"/>
                  </a:lnTo>
                  <a:lnTo>
                    <a:pt x="1536" y="174"/>
                  </a:lnTo>
                  <a:lnTo>
                    <a:pt x="1541" y="176"/>
                  </a:lnTo>
                  <a:lnTo>
                    <a:pt x="1541" y="176"/>
                  </a:lnTo>
                  <a:lnTo>
                    <a:pt x="1536" y="176"/>
                  </a:lnTo>
                  <a:lnTo>
                    <a:pt x="1531" y="174"/>
                  </a:lnTo>
                  <a:lnTo>
                    <a:pt x="1531" y="174"/>
                  </a:lnTo>
                  <a:lnTo>
                    <a:pt x="1528" y="174"/>
                  </a:lnTo>
                  <a:lnTo>
                    <a:pt x="1525" y="174"/>
                  </a:lnTo>
                  <a:lnTo>
                    <a:pt x="1525" y="174"/>
                  </a:lnTo>
                  <a:lnTo>
                    <a:pt x="1525" y="174"/>
                  </a:lnTo>
                  <a:lnTo>
                    <a:pt x="1524" y="173"/>
                  </a:lnTo>
                  <a:lnTo>
                    <a:pt x="1524" y="170"/>
                  </a:lnTo>
                  <a:lnTo>
                    <a:pt x="1524" y="167"/>
                  </a:lnTo>
                  <a:lnTo>
                    <a:pt x="1522" y="167"/>
                  </a:lnTo>
                  <a:lnTo>
                    <a:pt x="1522" y="167"/>
                  </a:lnTo>
                  <a:lnTo>
                    <a:pt x="1519" y="166"/>
                  </a:lnTo>
                  <a:lnTo>
                    <a:pt x="1518" y="166"/>
                  </a:lnTo>
                  <a:lnTo>
                    <a:pt x="1514" y="161"/>
                  </a:lnTo>
                  <a:lnTo>
                    <a:pt x="1514" y="161"/>
                  </a:lnTo>
                  <a:lnTo>
                    <a:pt x="1511" y="167"/>
                  </a:lnTo>
                  <a:lnTo>
                    <a:pt x="1511" y="167"/>
                  </a:lnTo>
                  <a:lnTo>
                    <a:pt x="1511" y="167"/>
                  </a:lnTo>
                  <a:lnTo>
                    <a:pt x="1508" y="161"/>
                  </a:lnTo>
                  <a:lnTo>
                    <a:pt x="1505" y="154"/>
                  </a:lnTo>
                  <a:lnTo>
                    <a:pt x="1505" y="154"/>
                  </a:lnTo>
                  <a:lnTo>
                    <a:pt x="1505" y="151"/>
                  </a:lnTo>
                  <a:lnTo>
                    <a:pt x="1504" y="153"/>
                  </a:lnTo>
                  <a:lnTo>
                    <a:pt x="1501" y="150"/>
                  </a:lnTo>
                  <a:lnTo>
                    <a:pt x="1501" y="150"/>
                  </a:lnTo>
                  <a:lnTo>
                    <a:pt x="1498" y="151"/>
                  </a:lnTo>
                  <a:lnTo>
                    <a:pt x="1495" y="150"/>
                  </a:lnTo>
                  <a:lnTo>
                    <a:pt x="1495" y="150"/>
                  </a:lnTo>
                  <a:lnTo>
                    <a:pt x="1492" y="148"/>
                  </a:lnTo>
                  <a:lnTo>
                    <a:pt x="1491" y="144"/>
                  </a:lnTo>
                  <a:lnTo>
                    <a:pt x="1488" y="140"/>
                  </a:lnTo>
                  <a:lnTo>
                    <a:pt x="1484" y="136"/>
                  </a:lnTo>
                  <a:lnTo>
                    <a:pt x="1484" y="136"/>
                  </a:lnTo>
                  <a:lnTo>
                    <a:pt x="1481" y="133"/>
                  </a:lnTo>
                  <a:lnTo>
                    <a:pt x="1479" y="133"/>
                  </a:lnTo>
                  <a:lnTo>
                    <a:pt x="1478" y="133"/>
                  </a:lnTo>
                  <a:lnTo>
                    <a:pt x="1474" y="131"/>
                  </a:lnTo>
                  <a:lnTo>
                    <a:pt x="1474" y="131"/>
                  </a:lnTo>
                  <a:lnTo>
                    <a:pt x="1465" y="127"/>
                  </a:lnTo>
                  <a:lnTo>
                    <a:pt x="1454" y="124"/>
                  </a:lnTo>
                  <a:lnTo>
                    <a:pt x="1454" y="124"/>
                  </a:lnTo>
                  <a:lnTo>
                    <a:pt x="1444" y="121"/>
                  </a:lnTo>
                  <a:lnTo>
                    <a:pt x="1432" y="117"/>
                  </a:lnTo>
                  <a:lnTo>
                    <a:pt x="1432" y="117"/>
                  </a:lnTo>
                  <a:lnTo>
                    <a:pt x="1425" y="114"/>
                  </a:lnTo>
                  <a:lnTo>
                    <a:pt x="1419" y="113"/>
                  </a:lnTo>
                  <a:lnTo>
                    <a:pt x="1411" y="113"/>
                  </a:lnTo>
                  <a:lnTo>
                    <a:pt x="1411" y="113"/>
                  </a:lnTo>
                  <a:lnTo>
                    <a:pt x="1411" y="113"/>
                  </a:lnTo>
                  <a:lnTo>
                    <a:pt x="1409" y="113"/>
                  </a:lnTo>
                  <a:lnTo>
                    <a:pt x="1409" y="110"/>
                  </a:lnTo>
                  <a:lnTo>
                    <a:pt x="1409" y="108"/>
                  </a:lnTo>
                  <a:lnTo>
                    <a:pt x="1409" y="108"/>
                  </a:lnTo>
                  <a:lnTo>
                    <a:pt x="1409" y="108"/>
                  </a:lnTo>
                  <a:lnTo>
                    <a:pt x="1404" y="107"/>
                  </a:lnTo>
                  <a:lnTo>
                    <a:pt x="1399" y="104"/>
                  </a:lnTo>
                  <a:lnTo>
                    <a:pt x="1388" y="93"/>
                  </a:lnTo>
                  <a:lnTo>
                    <a:pt x="1388" y="93"/>
                  </a:lnTo>
                  <a:lnTo>
                    <a:pt x="1382" y="87"/>
                  </a:lnTo>
                  <a:lnTo>
                    <a:pt x="1379" y="84"/>
                  </a:lnTo>
                  <a:lnTo>
                    <a:pt x="1378" y="83"/>
                  </a:lnTo>
                  <a:lnTo>
                    <a:pt x="1375" y="80"/>
                  </a:lnTo>
                  <a:lnTo>
                    <a:pt x="1375" y="80"/>
                  </a:lnTo>
                  <a:lnTo>
                    <a:pt x="1365" y="73"/>
                  </a:lnTo>
                  <a:lnTo>
                    <a:pt x="1359" y="67"/>
                  </a:lnTo>
                  <a:lnTo>
                    <a:pt x="1359" y="67"/>
                  </a:lnTo>
                  <a:lnTo>
                    <a:pt x="1341" y="50"/>
                  </a:lnTo>
                  <a:lnTo>
                    <a:pt x="1341" y="50"/>
                  </a:lnTo>
                  <a:lnTo>
                    <a:pt x="1326" y="36"/>
                  </a:lnTo>
                  <a:lnTo>
                    <a:pt x="1326" y="36"/>
                  </a:lnTo>
                  <a:lnTo>
                    <a:pt x="1318" y="30"/>
                  </a:lnTo>
                  <a:lnTo>
                    <a:pt x="1308" y="24"/>
                  </a:lnTo>
                  <a:lnTo>
                    <a:pt x="1308" y="24"/>
                  </a:lnTo>
                  <a:lnTo>
                    <a:pt x="1289" y="13"/>
                  </a:lnTo>
                  <a:lnTo>
                    <a:pt x="1289" y="13"/>
                  </a:lnTo>
                  <a:lnTo>
                    <a:pt x="1284" y="11"/>
                  </a:lnTo>
                  <a:lnTo>
                    <a:pt x="1276" y="13"/>
                  </a:lnTo>
                  <a:lnTo>
                    <a:pt x="1261" y="13"/>
                  </a:lnTo>
                  <a:lnTo>
                    <a:pt x="1261" y="13"/>
                  </a:lnTo>
                  <a:lnTo>
                    <a:pt x="1255" y="13"/>
                  </a:lnTo>
                  <a:lnTo>
                    <a:pt x="1251" y="10"/>
                  </a:lnTo>
                  <a:lnTo>
                    <a:pt x="1246" y="7"/>
                  </a:lnTo>
                  <a:lnTo>
                    <a:pt x="1239" y="1"/>
                  </a:lnTo>
                  <a:lnTo>
                    <a:pt x="1239" y="1"/>
                  </a:lnTo>
                  <a:lnTo>
                    <a:pt x="1234" y="0"/>
                  </a:lnTo>
                  <a:lnTo>
                    <a:pt x="1229" y="4"/>
                  </a:lnTo>
                  <a:lnTo>
                    <a:pt x="1224" y="4"/>
                  </a:lnTo>
                  <a:lnTo>
                    <a:pt x="1218" y="7"/>
                  </a:lnTo>
                  <a:lnTo>
                    <a:pt x="1215" y="7"/>
                  </a:lnTo>
                  <a:lnTo>
                    <a:pt x="1215" y="7"/>
                  </a:lnTo>
                  <a:lnTo>
                    <a:pt x="1202" y="8"/>
                  </a:lnTo>
                  <a:lnTo>
                    <a:pt x="1191" y="8"/>
                  </a:lnTo>
                  <a:lnTo>
                    <a:pt x="1191" y="10"/>
                  </a:lnTo>
                  <a:lnTo>
                    <a:pt x="1186" y="17"/>
                  </a:lnTo>
                  <a:lnTo>
                    <a:pt x="1181" y="21"/>
                  </a:lnTo>
                  <a:lnTo>
                    <a:pt x="1181" y="24"/>
                  </a:lnTo>
                  <a:lnTo>
                    <a:pt x="1181" y="24"/>
                  </a:lnTo>
                  <a:lnTo>
                    <a:pt x="1182" y="25"/>
                  </a:lnTo>
                  <a:lnTo>
                    <a:pt x="1182" y="25"/>
                  </a:lnTo>
                  <a:lnTo>
                    <a:pt x="1182" y="25"/>
                  </a:lnTo>
                  <a:lnTo>
                    <a:pt x="1185" y="27"/>
                  </a:lnTo>
                  <a:lnTo>
                    <a:pt x="1185" y="27"/>
                  </a:lnTo>
                  <a:lnTo>
                    <a:pt x="1189" y="24"/>
                  </a:lnTo>
                  <a:lnTo>
                    <a:pt x="1192" y="25"/>
                  </a:lnTo>
                  <a:lnTo>
                    <a:pt x="1192" y="25"/>
                  </a:lnTo>
                  <a:lnTo>
                    <a:pt x="1191" y="27"/>
                  </a:lnTo>
                  <a:lnTo>
                    <a:pt x="1192" y="33"/>
                  </a:lnTo>
                  <a:lnTo>
                    <a:pt x="1189" y="37"/>
                  </a:lnTo>
                  <a:lnTo>
                    <a:pt x="1183" y="43"/>
                  </a:lnTo>
                  <a:lnTo>
                    <a:pt x="1183" y="46"/>
                  </a:lnTo>
                  <a:lnTo>
                    <a:pt x="1183" y="46"/>
                  </a:lnTo>
                  <a:lnTo>
                    <a:pt x="1185" y="47"/>
                  </a:lnTo>
                  <a:lnTo>
                    <a:pt x="1185" y="47"/>
                  </a:lnTo>
                  <a:lnTo>
                    <a:pt x="1185" y="48"/>
                  </a:lnTo>
                  <a:lnTo>
                    <a:pt x="1186" y="50"/>
                  </a:lnTo>
                  <a:lnTo>
                    <a:pt x="1186" y="50"/>
                  </a:lnTo>
                  <a:lnTo>
                    <a:pt x="1189" y="50"/>
                  </a:lnTo>
                  <a:lnTo>
                    <a:pt x="1191" y="50"/>
                  </a:lnTo>
                  <a:lnTo>
                    <a:pt x="1195" y="47"/>
                  </a:lnTo>
                  <a:lnTo>
                    <a:pt x="1195" y="47"/>
                  </a:lnTo>
                  <a:lnTo>
                    <a:pt x="1193" y="47"/>
                  </a:lnTo>
                  <a:lnTo>
                    <a:pt x="1198" y="48"/>
                  </a:lnTo>
                  <a:lnTo>
                    <a:pt x="1198" y="48"/>
                  </a:lnTo>
                  <a:lnTo>
                    <a:pt x="1198" y="50"/>
                  </a:lnTo>
                  <a:lnTo>
                    <a:pt x="1199" y="51"/>
                  </a:lnTo>
                  <a:lnTo>
                    <a:pt x="1201" y="53"/>
                  </a:lnTo>
                  <a:lnTo>
                    <a:pt x="1201" y="56"/>
                  </a:lnTo>
                  <a:lnTo>
                    <a:pt x="1201" y="56"/>
                  </a:lnTo>
                  <a:lnTo>
                    <a:pt x="1198" y="60"/>
                  </a:lnTo>
                  <a:lnTo>
                    <a:pt x="1196" y="64"/>
                  </a:lnTo>
                  <a:lnTo>
                    <a:pt x="1195" y="76"/>
                  </a:lnTo>
                  <a:lnTo>
                    <a:pt x="1198" y="86"/>
                  </a:lnTo>
                  <a:lnTo>
                    <a:pt x="1199" y="88"/>
                  </a:lnTo>
                  <a:lnTo>
                    <a:pt x="1201" y="91"/>
                  </a:lnTo>
                  <a:lnTo>
                    <a:pt x="1201" y="91"/>
                  </a:lnTo>
                  <a:lnTo>
                    <a:pt x="1202" y="93"/>
                  </a:lnTo>
                  <a:lnTo>
                    <a:pt x="1202" y="93"/>
                  </a:lnTo>
                  <a:lnTo>
                    <a:pt x="1205" y="98"/>
                  </a:lnTo>
                  <a:lnTo>
                    <a:pt x="1205" y="98"/>
                  </a:lnTo>
                  <a:lnTo>
                    <a:pt x="1203" y="98"/>
                  </a:lnTo>
                  <a:lnTo>
                    <a:pt x="1206" y="101"/>
                  </a:lnTo>
                  <a:lnTo>
                    <a:pt x="1202" y="104"/>
                  </a:lnTo>
                  <a:lnTo>
                    <a:pt x="1201" y="106"/>
                  </a:lnTo>
                  <a:lnTo>
                    <a:pt x="1201" y="106"/>
                  </a:lnTo>
                  <a:lnTo>
                    <a:pt x="1198" y="108"/>
                  </a:lnTo>
                  <a:lnTo>
                    <a:pt x="1196" y="111"/>
                  </a:lnTo>
                  <a:lnTo>
                    <a:pt x="1196" y="111"/>
                  </a:lnTo>
                  <a:lnTo>
                    <a:pt x="1196" y="111"/>
                  </a:lnTo>
                  <a:lnTo>
                    <a:pt x="1195" y="113"/>
                  </a:lnTo>
                  <a:lnTo>
                    <a:pt x="1188" y="116"/>
                  </a:lnTo>
                  <a:lnTo>
                    <a:pt x="1183" y="117"/>
                  </a:lnTo>
                  <a:lnTo>
                    <a:pt x="1182" y="117"/>
                  </a:lnTo>
                  <a:lnTo>
                    <a:pt x="1182" y="117"/>
                  </a:lnTo>
                  <a:lnTo>
                    <a:pt x="1181" y="117"/>
                  </a:lnTo>
                  <a:lnTo>
                    <a:pt x="1181" y="117"/>
                  </a:lnTo>
                  <a:lnTo>
                    <a:pt x="1176" y="118"/>
                  </a:lnTo>
                  <a:lnTo>
                    <a:pt x="1171" y="118"/>
                  </a:lnTo>
                  <a:lnTo>
                    <a:pt x="1159" y="114"/>
                  </a:lnTo>
                  <a:lnTo>
                    <a:pt x="1159" y="116"/>
                  </a:lnTo>
                  <a:lnTo>
                    <a:pt x="1159" y="116"/>
                  </a:lnTo>
                  <a:lnTo>
                    <a:pt x="1159" y="114"/>
                  </a:lnTo>
                  <a:lnTo>
                    <a:pt x="1159" y="114"/>
                  </a:lnTo>
                  <a:lnTo>
                    <a:pt x="1151" y="110"/>
                  </a:lnTo>
                  <a:lnTo>
                    <a:pt x="1148" y="107"/>
                  </a:lnTo>
                  <a:lnTo>
                    <a:pt x="1148" y="107"/>
                  </a:lnTo>
                  <a:lnTo>
                    <a:pt x="1146" y="106"/>
                  </a:lnTo>
                  <a:lnTo>
                    <a:pt x="1145" y="103"/>
                  </a:lnTo>
                  <a:lnTo>
                    <a:pt x="1141" y="103"/>
                  </a:lnTo>
                  <a:lnTo>
                    <a:pt x="1135" y="103"/>
                  </a:lnTo>
                  <a:lnTo>
                    <a:pt x="1135" y="103"/>
                  </a:lnTo>
                  <a:lnTo>
                    <a:pt x="1129" y="103"/>
                  </a:lnTo>
                  <a:lnTo>
                    <a:pt x="1126" y="104"/>
                  </a:lnTo>
                  <a:lnTo>
                    <a:pt x="1123" y="106"/>
                  </a:lnTo>
                  <a:lnTo>
                    <a:pt x="1118" y="106"/>
                  </a:lnTo>
                  <a:lnTo>
                    <a:pt x="1118" y="106"/>
                  </a:lnTo>
                  <a:lnTo>
                    <a:pt x="1112" y="104"/>
                  </a:lnTo>
                  <a:lnTo>
                    <a:pt x="1111" y="103"/>
                  </a:lnTo>
                  <a:lnTo>
                    <a:pt x="1109" y="100"/>
                  </a:lnTo>
                  <a:lnTo>
                    <a:pt x="1108" y="96"/>
                  </a:lnTo>
                  <a:lnTo>
                    <a:pt x="1108" y="96"/>
                  </a:lnTo>
                  <a:lnTo>
                    <a:pt x="1103" y="94"/>
                  </a:lnTo>
                  <a:lnTo>
                    <a:pt x="1098" y="94"/>
                  </a:lnTo>
                  <a:lnTo>
                    <a:pt x="1088" y="96"/>
                  </a:lnTo>
                  <a:lnTo>
                    <a:pt x="1088" y="96"/>
                  </a:lnTo>
                  <a:lnTo>
                    <a:pt x="1082" y="97"/>
                  </a:lnTo>
                  <a:lnTo>
                    <a:pt x="1081" y="98"/>
                  </a:lnTo>
                  <a:lnTo>
                    <a:pt x="1075" y="106"/>
                  </a:lnTo>
                  <a:lnTo>
                    <a:pt x="1075" y="106"/>
                  </a:lnTo>
                  <a:lnTo>
                    <a:pt x="1072" y="110"/>
                  </a:lnTo>
                  <a:lnTo>
                    <a:pt x="1071" y="113"/>
                  </a:lnTo>
                  <a:lnTo>
                    <a:pt x="1069" y="114"/>
                  </a:lnTo>
                  <a:lnTo>
                    <a:pt x="1066" y="116"/>
                  </a:lnTo>
                  <a:lnTo>
                    <a:pt x="1066" y="116"/>
                  </a:lnTo>
                  <a:lnTo>
                    <a:pt x="1056" y="117"/>
                  </a:lnTo>
                  <a:lnTo>
                    <a:pt x="1051" y="120"/>
                  </a:lnTo>
                  <a:lnTo>
                    <a:pt x="1051" y="120"/>
                  </a:lnTo>
                  <a:lnTo>
                    <a:pt x="1048" y="120"/>
                  </a:lnTo>
                  <a:lnTo>
                    <a:pt x="1042" y="120"/>
                  </a:lnTo>
                  <a:lnTo>
                    <a:pt x="1033" y="120"/>
                  </a:lnTo>
                  <a:lnTo>
                    <a:pt x="1033" y="120"/>
                  </a:lnTo>
                  <a:lnTo>
                    <a:pt x="1031" y="121"/>
                  </a:lnTo>
                  <a:lnTo>
                    <a:pt x="1029" y="123"/>
                  </a:lnTo>
                  <a:lnTo>
                    <a:pt x="1029" y="126"/>
                  </a:lnTo>
                  <a:lnTo>
                    <a:pt x="1029" y="126"/>
                  </a:lnTo>
                  <a:lnTo>
                    <a:pt x="1026" y="127"/>
                  </a:lnTo>
                  <a:lnTo>
                    <a:pt x="1026" y="126"/>
                  </a:lnTo>
                  <a:lnTo>
                    <a:pt x="1025" y="126"/>
                  </a:lnTo>
                  <a:lnTo>
                    <a:pt x="1021" y="127"/>
                  </a:lnTo>
                  <a:lnTo>
                    <a:pt x="1021" y="127"/>
                  </a:lnTo>
                  <a:lnTo>
                    <a:pt x="1015" y="128"/>
                  </a:lnTo>
                  <a:lnTo>
                    <a:pt x="1009" y="128"/>
                  </a:lnTo>
                  <a:lnTo>
                    <a:pt x="996" y="127"/>
                  </a:lnTo>
                  <a:lnTo>
                    <a:pt x="996" y="127"/>
                  </a:lnTo>
                  <a:lnTo>
                    <a:pt x="989" y="126"/>
                  </a:lnTo>
                  <a:lnTo>
                    <a:pt x="982" y="124"/>
                  </a:lnTo>
                  <a:lnTo>
                    <a:pt x="976" y="123"/>
                  </a:lnTo>
                  <a:lnTo>
                    <a:pt x="971" y="121"/>
                  </a:lnTo>
                  <a:lnTo>
                    <a:pt x="971" y="121"/>
                  </a:lnTo>
                  <a:lnTo>
                    <a:pt x="969" y="121"/>
                  </a:lnTo>
                  <a:lnTo>
                    <a:pt x="969" y="120"/>
                  </a:lnTo>
                  <a:lnTo>
                    <a:pt x="968" y="118"/>
                  </a:lnTo>
                  <a:lnTo>
                    <a:pt x="968" y="117"/>
                  </a:lnTo>
                  <a:lnTo>
                    <a:pt x="968" y="117"/>
                  </a:lnTo>
                  <a:lnTo>
                    <a:pt x="971" y="120"/>
                  </a:lnTo>
                  <a:lnTo>
                    <a:pt x="968" y="117"/>
                  </a:lnTo>
                  <a:lnTo>
                    <a:pt x="968" y="117"/>
                  </a:lnTo>
                  <a:lnTo>
                    <a:pt x="966" y="116"/>
                  </a:lnTo>
                  <a:lnTo>
                    <a:pt x="963" y="116"/>
                  </a:lnTo>
                  <a:lnTo>
                    <a:pt x="963" y="116"/>
                  </a:lnTo>
                  <a:lnTo>
                    <a:pt x="959" y="116"/>
                  </a:lnTo>
                  <a:lnTo>
                    <a:pt x="955" y="114"/>
                  </a:lnTo>
                  <a:lnTo>
                    <a:pt x="955" y="114"/>
                  </a:lnTo>
                  <a:lnTo>
                    <a:pt x="952" y="111"/>
                  </a:lnTo>
                  <a:lnTo>
                    <a:pt x="951" y="110"/>
                  </a:lnTo>
                  <a:lnTo>
                    <a:pt x="951" y="107"/>
                  </a:lnTo>
                  <a:lnTo>
                    <a:pt x="951" y="103"/>
                  </a:lnTo>
                  <a:lnTo>
                    <a:pt x="951" y="103"/>
                  </a:lnTo>
                  <a:lnTo>
                    <a:pt x="948" y="101"/>
                  </a:lnTo>
                  <a:lnTo>
                    <a:pt x="946" y="101"/>
                  </a:lnTo>
                  <a:lnTo>
                    <a:pt x="942" y="103"/>
                  </a:lnTo>
                  <a:lnTo>
                    <a:pt x="935" y="103"/>
                  </a:lnTo>
                  <a:lnTo>
                    <a:pt x="935" y="103"/>
                  </a:lnTo>
                  <a:lnTo>
                    <a:pt x="929" y="103"/>
                  </a:lnTo>
                  <a:lnTo>
                    <a:pt x="925" y="100"/>
                  </a:lnTo>
                  <a:lnTo>
                    <a:pt x="916" y="93"/>
                  </a:lnTo>
                  <a:lnTo>
                    <a:pt x="916" y="93"/>
                  </a:lnTo>
                  <a:lnTo>
                    <a:pt x="911" y="91"/>
                  </a:lnTo>
                  <a:lnTo>
                    <a:pt x="905" y="91"/>
                  </a:lnTo>
                  <a:lnTo>
                    <a:pt x="901" y="93"/>
                  </a:lnTo>
                  <a:lnTo>
                    <a:pt x="896" y="94"/>
                  </a:lnTo>
                  <a:lnTo>
                    <a:pt x="896" y="94"/>
                  </a:lnTo>
                  <a:lnTo>
                    <a:pt x="895" y="96"/>
                  </a:lnTo>
                  <a:lnTo>
                    <a:pt x="893" y="94"/>
                  </a:lnTo>
                  <a:lnTo>
                    <a:pt x="891" y="93"/>
                  </a:lnTo>
                  <a:lnTo>
                    <a:pt x="889" y="90"/>
                  </a:lnTo>
                  <a:lnTo>
                    <a:pt x="886" y="88"/>
                  </a:lnTo>
                  <a:lnTo>
                    <a:pt x="885" y="88"/>
                  </a:lnTo>
                  <a:lnTo>
                    <a:pt x="885" y="88"/>
                  </a:lnTo>
                  <a:lnTo>
                    <a:pt x="872" y="91"/>
                  </a:lnTo>
                  <a:lnTo>
                    <a:pt x="866" y="94"/>
                  </a:lnTo>
                  <a:lnTo>
                    <a:pt x="861" y="97"/>
                  </a:lnTo>
                  <a:lnTo>
                    <a:pt x="861" y="97"/>
                  </a:lnTo>
                  <a:lnTo>
                    <a:pt x="856" y="100"/>
                  </a:lnTo>
                  <a:lnTo>
                    <a:pt x="852" y="100"/>
                  </a:lnTo>
                  <a:lnTo>
                    <a:pt x="840" y="97"/>
                  </a:lnTo>
                  <a:lnTo>
                    <a:pt x="840" y="97"/>
                  </a:lnTo>
                  <a:lnTo>
                    <a:pt x="826" y="91"/>
                  </a:lnTo>
                  <a:lnTo>
                    <a:pt x="818" y="88"/>
                  </a:lnTo>
                  <a:lnTo>
                    <a:pt x="818" y="88"/>
                  </a:lnTo>
                  <a:lnTo>
                    <a:pt x="816" y="87"/>
                  </a:lnTo>
                  <a:lnTo>
                    <a:pt x="815" y="86"/>
                  </a:lnTo>
                  <a:lnTo>
                    <a:pt x="815" y="86"/>
                  </a:lnTo>
                  <a:lnTo>
                    <a:pt x="812" y="80"/>
                  </a:lnTo>
                  <a:lnTo>
                    <a:pt x="810" y="78"/>
                  </a:lnTo>
                  <a:lnTo>
                    <a:pt x="809" y="77"/>
                  </a:lnTo>
                  <a:lnTo>
                    <a:pt x="809" y="77"/>
                  </a:lnTo>
                  <a:lnTo>
                    <a:pt x="803" y="77"/>
                  </a:lnTo>
                  <a:lnTo>
                    <a:pt x="803" y="77"/>
                  </a:lnTo>
                  <a:lnTo>
                    <a:pt x="799" y="73"/>
                  </a:lnTo>
                  <a:lnTo>
                    <a:pt x="796" y="67"/>
                  </a:lnTo>
                  <a:lnTo>
                    <a:pt x="795" y="63"/>
                  </a:lnTo>
                  <a:lnTo>
                    <a:pt x="793" y="61"/>
                  </a:lnTo>
                  <a:lnTo>
                    <a:pt x="790" y="61"/>
                  </a:lnTo>
                  <a:lnTo>
                    <a:pt x="790" y="61"/>
                  </a:lnTo>
                  <a:lnTo>
                    <a:pt x="782" y="61"/>
                  </a:lnTo>
                  <a:lnTo>
                    <a:pt x="775" y="60"/>
                  </a:lnTo>
                  <a:lnTo>
                    <a:pt x="768" y="57"/>
                  </a:lnTo>
                  <a:lnTo>
                    <a:pt x="768" y="57"/>
                  </a:lnTo>
                  <a:lnTo>
                    <a:pt x="758" y="53"/>
                  </a:lnTo>
                  <a:lnTo>
                    <a:pt x="753" y="51"/>
                  </a:lnTo>
                  <a:lnTo>
                    <a:pt x="749" y="53"/>
                  </a:lnTo>
                  <a:lnTo>
                    <a:pt x="749" y="53"/>
                  </a:lnTo>
                  <a:lnTo>
                    <a:pt x="742" y="53"/>
                  </a:lnTo>
                  <a:lnTo>
                    <a:pt x="736" y="51"/>
                  </a:lnTo>
                  <a:lnTo>
                    <a:pt x="723" y="47"/>
                  </a:lnTo>
                  <a:lnTo>
                    <a:pt x="723" y="47"/>
                  </a:lnTo>
                  <a:lnTo>
                    <a:pt x="718" y="44"/>
                  </a:lnTo>
                  <a:lnTo>
                    <a:pt x="713" y="41"/>
                  </a:lnTo>
                  <a:lnTo>
                    <a:pt x="710" y="40"/>
                  </a:lnTo>
                  <a:lnTo>
                    <a:pt x="709" y="40"/>
                  </a:lnTo>
                  <a:lnTo>
                    <a:pt x="709" y="40"/>
                  </a:lnTo>
                  <a:lnTo>
                    <a:pt x="708" y="43"/>
                  </a:lnTo>
                  <a:lnTo>
                    <a:pt x="706" y="46"/>
                  </a:lnTo>
                  <a:lnTo>
                    <a:pt x="709" y="48"/>
                  </a:lnTo>
                  <a:lnTo>
                    <a:pt x="709" y="48"/>
                  </a:lnTo>
                  <a:lnTo>
                    <a:pt x="709" y="50"/>
                  </a:lnTo>
                  <a:lnTo>
                    <a:pt x="709" y="53"/>
                  </a:lnTo>
                  <a:lnTo>
                    <a:pt x="706" y="57"/>
                  </a:lnTo>
                  <a:lnTo>
                    <a:pt x="702" y="63"/>
                  </a:lnTo>
                  <a:lnTo>
                    <a:pt x="702" y="66"/>
                  </a:lnTo>
                  <a:lnTo>
                    <a:pt x="700" y="68"/>
                  </a:lnTo>
                  <a:lnTo>
                    <a:pt x="700" y="68"/>
                  </a:lnTo>
                  <a:lnTo>
                    <a:pt x="702" y="74"/>
                  </a:lnTo>
                  <a:lnTo>
                    <a:pt x="705" y="78"/>
                  </a:lnTo>
                  <a:lnTo>
                    <a:pt x="708" y="81"/>
                  </a:lnTo>
                  <a:lnTo>
                    <a:pt x="712" y="84"/>
                  </a:lnTo>
                  <a:lnTo>
                    <a:pt x="712" y="84"/>
                  </a:lnTo>
                  <a:lnTo>
                    <a:pt x="716" y="88"/>
                  </a:lnTo>
                  <a:lnTo>
                    <a:pt x="720" y="97"/>
                  </a:lnTo>
                  <a:lnTo>
                    <a:pt x="720" y="97"/>
                  </a:lnTo>
                  <a:lnTo>
                    <a:pt x="722" y="100"/>
                  </a:lnTo>
                  <a:lnTo>
                    <a:pt x="722" y="101"/>
                  </a:lnTo>
                  <a:lnTo>
                    <a:pt x="722" y="104"/>
                  </a:lnTo>
                  <a:lnTo>
                    <a:pt x="720" y="106"/>
                  </a:lnTo>
                  <a:lnTo>
                    <a:pt x="710" y="108"/>
                  </a:lnTo>
                  <a:lnTo>
                    <a:pt x="710" y="108"/>
                  </a:lnTo>
                  <a:lnTo>
                    <a:pt x="706" y="110"/>
                  </a:lnTo>
                  <a:lnTo>
                    <a:pt x="699" y="108"/>
                  </a:lnTo>
                  <a:lnTo>
                    <a:pt x="682" y="101"/>
                  </a:lnTo>
                  <a:lnTo>
                    <a:pt x="682" y="101"/>
                  </a:lnTo>
                  <a:lnTo>
                    <a:pt x="676" y="101"/>
                  </a:lnTo>
                  <a:lnTo>
                    <a:pt x="672" y="100"/>
                  </a:lnTo>
                  <a:lnTo>
                    <a:pt x="662" y="101"/>
                  </a:lnTo>
                  <a:lnTo>
                    <a:pt x="653" y="103"/>
                  </a:lnTo>
                  <a:lnTo>
                    <a:pt x="645" y="104"/>
                  </a:lnTo>
                  <a:lnTo>
                    <a:pt x="645" y="104"/>
                  </a:lnTo>
                  <a:lnTo>
                    <a:pt x="645" y="103"/>
                  </a:lnTo>
                  <a:lnTo>
                    <a:pt x="645" y="103"/>
                  </a:lnTo>
                  <a:lnTo>
                    <a:pt x="640" y="103"/>
                  </a:lnTo>
                  <a:lnTo>
                    <a:pt x="640" y="103"/>
                  </a:lnTo>
                  <a:lnTo>
                    <a:pt x="638" y="101"/>
                  </a:lnTo>
                  <a:lnTo>
                    <a:pt x="635" y="100"/>
                  </a:lnTo>
                  <a:lnTo>
                    <a:pt x="632" y="94"/>
                  </a:lnTo>
                  <a:lnTo>
                    <a:pt x="629" y="90"/>
                  </a:lnTo>
                  <a:lnTo>
                    <a:pt x="628" y="87"/>
                  </a:lnTo>
                  <a:lnTo>
                    <a:pt x="625" y="87"/>
                  </a:lnTo>
                  <a:lnTo>
                    <a:pt x="625" y="87"/>
                  </a:lnTo>
                  <a:lnTo>
                    <a:pt x="619" y="86"/>
                  </a:lnTo>
                  <a:lnTo>
                    <a:pt x="610" y="87"/>
                  </a:lnTo>
                  <a:lnTo>
                    <a:pt x="602" y="86"/>
                  </a:lnTo>
                  <a:lnTo>
                    <a:pt x="598" y="84"/>
                  </a:lnTo>
                  <a:lnTo>
                    <a:pt x="595" y="83"/>
                  </a:lnTo>
                  <a:lnTo>
                    <a:pt x="595" y="83"/>
                  </a:lnTo>
                  <a:lnTo>
                    <a:pt x="589" y="80"/>
                  </a:lnTo>
                  <a:lnTo>
                    <a:pt x="586" y="80"/>
                  </a:lnTo>
                  <a:lnTo>
                    <a:pt x="575" y="81"/>
                  </a:lnTo>
                  <a:lnTo>
                    <a:pt x="575" y="81"/>
                  </a:lnTo>
                  <a:lnTo>
                    <a:pt x="568" y="83"/>
                  </a:lnTo>
                  <a:lnTo>
                    <a:pt x="562" y="87"/>
                  </a:lnTo>
                  <a:lnTo>
                    <a:pt x="558" y="90"/>
                  </a:lnTo>
                  <a:lnTo>
                    <a:pt x="555" y="94"/>
                  </a:lnTo>
                  <a:lnTo>
                    <a:pt x="555" y="94"/>
                  </a:lnTo>
                  <a:lnTo>
                    <a:pt x="552" y="97"/>
                  </a:lnTo>
                  <a:lnTo>
                    <a:pt x="549" y="98"/>
                  </a:lnTo>
                  <a:lnTo>
                    <a:pt x="546" y="98"/>
                  </a:lnTo>
                  <a:lnTo>
                    <a:pt x="540" y="100"/>
                  </a:lnTo>
                  <a:lnTo>
                    <a:pt x="540" y="100"/>
                  </a:lnTo>
                  <a:lnTo>
                    <a:pt x="536" y="101"/>
                  </a:lnTo>
                  <a:lnTo>
                    <a:pt x="536" y="103"/>
                  </a:lnTo>
                  <a:lnTo>
                    <a:pt x="538" y="103"/>
                  </a:lnTo>
                  <a:lnTo>
                    <a:pt x="536" y="107"/>
                  </a:lnTo>
                  <a:lnTo>
                    <a:pt x="536" y="107"/>
                  </a:lnTo>
                  <a:lnTo>
                    <a:pt x="533" y="110"/>
                  </a:lnTo>
                  <a:lnTo>
                    <a:pt x="530" y="113"/>
                  </a:lnTo>
                  <a:lnTo>
                    <a:pt x="528" y="114"/>
                  </a:lnTo>
                  <a:lnTo>
                    <a:pt x="525" y="117"/>
                  </a:lnTo>
                  <a:lnTo>
                    <a:pt x="525" y="117"/>
                  </a:lnTo>
                  <a:lnTo>
                    <a:pt x="523" y="121"/>
                  </a:lnTo>
                  <a:lnTo>
                    <a:pt x="520" y="120"/>
                  </a:lnTo>
                  <a:lnTo>
                    <a:pt x="516" y="118"/>
                  </a:lnTo>
                  <a:lnTo>
                    <a:pt x="512" y="118"/>
                  </a:lnTo>
                  <a:lnTo>
                    <a:pt x="512" y="118"/>
                  </a:lnTo>
                  <a:lnTo>
                    <a:pt x="505" y="118"/>
                  </a:lnTo>
                  <a:lnTo>
                    <a:pt x="505" y="118"/>
                  </a:lnTo>
                  <a:lnTo>
                    <a:pt x="505" y="123"/>
                  </a:lnTo>
                  <a:lnTo>
                    <a:pt x="505" y="127"/>
                  </a:lnTo>
                  <a:lnTo>
                    <a:pt x="505" y="127"/>
                  </a:lnTo>
                  <a:lnTo>
                    <a:pt x="505" y="127"/>
                  </a:lnTo>
                  <a:lnTo>
                    <a:pt x="505" y="127"/>
                  </a:lnTo>
                  <a:lnTo>
                    <a:pt x="502" y="127"/>
                  </a:lnTo>
                  <a:lnTo>
                    <a:pt x="502" y="127"/>
                  </a:lnTo>
                  <a:lnTo>
                    <a:pt x="500" y="130"/>
                  </a:lnTo>
                  <a:lnTo>
                    <a:pt x="499" y="131"/>
                  </a:lnTo>
                  <a:lnTo>
                    <a:pt x="495" y="131"/>
                  </a:lnTo>
                  <a:lnTo>
                    <a:pt x="489" y="130"/>
                  </a:lnTo>
                  <a:lnTo>
                    <a:pt x="489" y="130"/>
                  </a:lnTo>
                  <a:lnTo>
                    <a:pt x="486" y="127"/>
                  </a:lnTo>
                  <a:lnTo>
                    <a:pt x="485" y="126"/>
                  </a:lnTo>
                  <a:lnTo>
                    <a:pt x="480" y="124"/>
                  </a:lnTo>
                  <a:lnTo>
                    <a:pt x="480" y="124"/>
                  </a:lnTo>
                  <a:lnTo>
                    <a:pt x="480" y="126"/>
                  </a:lnTo>
                  <a:lnTo>
                    <a:pt x="482" y="126"/>
                  </a:lnTo>
                  <a:lnTo>
                    <a:pt x="480" y="127"/>
                  </a:lnTo>
                  <a:lnTo>
                    <a:pt x="480" y="127"/>
                  </a:lnTo>
                  <a:lnTo>
                    <a:pt x="477" y="130"/>
                  </a:lnTo>
                  <a:lnTo>
                    <a:pt x="477" y="130"/>
                  </a:lnTo>
                  <a:lnTo>
                    <a:pt x="476" y="133"/>
                  </a:lnTo>
                  <a:lnTo>
                    <a:pt x="476" y="134"/>
                  </a:lnTo>
                  <a:lnTo>
                    <a:pt x="476" y="134"/>
                  </a:lnTo>
                  <a:lnTo>
                    <a:pt x="477" y="136"/>
                  </a:lnTo>
                  <a:lnTo>
                    <a:pt x="479" y="137"/>
                  </a:lnTo>
                  <a:lnTo>
                    <a:pt x="479" y="140"/>
                  </a:lnTo>
                  <a:lnTo>
                    <a:pt x="482" y="141"/>
                  </a:lnTo>
                  <a:lnTo>
                    <a:pt x="482" y="141"/>
                  </a:lnTo>
                  <a:lnTo>
                    <a:pt x="482" y="141"/>
                  </a:lnTo>
                  <a:lnTo>
                    <a:pt x="482" y="141"/>
                  </a:lnTo>
                  <a:lnTo>
                    <a:pt x="477" y="144"/>
                  </a:lnTo>
                  <a:lnTo>
                    <a:pt x="477" y="144"/>
                  </a:lnTo>
                  <a:lnTo>
                    <a:pt x="477" y="144"/>
                  </a:lnTo>
                  <a:lnTo>
                    <a:pt x="477" y="146"/>
                  </a:lnTo>
                  <a:lnTo>
                    <a:pt x="476" y="148"/>
                  </a:lnTo>
                  <a:lnTo>
                    <a:pt x="470" y="151"/>
                  </a:lnTo>
                  <a:lnTo>
                    <a:pt x="467" y="151"/>
                  </a:lnTo>
                  <a:lnTo>
                    <a:pt x="465" y="151"/>
                  </a:lnTo>
                  <a:lnTo>
                    <a:pt x="465" y="151"/>
                  </a:lnTo>
                  <a:lnTo>
                    <a:pt x="465" y="151"/>
                  </a:lnTo>
                  <a:lnTo>
                    <a:pt x="462" y="151"/>
                  </a:lnTo>
                  <a:lnTo>
                    <a:pt x="459" y="150"/>
                  </a:lnTo>
                  <a:lnTo>
                    <a:pt x="457" y="151"/>
                  </a:lnTo>
                  <a:lnTo>
                    <a:pt x="457" y="151"/>
                  </a:lnTo>
                  <a:lnTo>
                    <a:pt x="459" y="156"/>
                  </a:lnTo>
                  <a:lnTo>
                    <a:pt x="460" y="160"/>
                  </a:lnTo>
                  <a:lnTo>
                    <a:pt x="460" y="161"/>
                  </a:lnTo>
                  <a:lnTo>
                    <a:pt x="469" y="170"/>
                  </a:lnTo>
                  <a:lnTo>
                    <a:pt x="472" y="174"/>
                  </a:lnTo>
                  <a:lnTo>
                    <a:pt x="472" y="174"/>
                  </a:lnTo>
                  <a:lnTo>
                    <a:pt x="473" y="178"/>
                  </a:lnTo>
                  <a:lnTo>
                    <a:pt x="473" y="178"/>
                  </a:lnTo>
                  <a:lnTo>
                    <a:pt x="473" y="180"/>
                  </a:lnTo>
                  <a:lnTo>
                    <a:pt x="473" y="181"/>
                  </a:lnTo>
                  <a:lnTo>
                    <a:pt x="473" y="181"/>
                  </a:lnTo>
                  <a:lnTo>
                    <a:pt x="470" y="183"/>
                  </a:lnTo>
                  <a:lnTo>
                    <a:pt x="469" y="186"/>
                  </a:lnTo>
                  <a:lnTo>
                    <a:pt x="469" y="186"/>
                  </a:lnTo>
                  <a:lnTo>
                    <a:pt x="469" y="186"/>
                  </a:lnTo>
                  <a:lnTo>
                    <a:pt x="469" y="186"/>
                  </a:lnTo>
                  <a:lnTo>
                    <a:pt x="469" y="186"/>
                  </a:lnTo>
                  <a:lnTo>
                    <a:pt x="466" y="188"/>
                  </a:lnTo>
                  <a:lnTo>
                    <a:pt x="465" y="193"/>
                  </a:lnTo>
                  <a:lnTo>
                    <a:pt x="460" y="193"/>
                  </a:lnTo>
                  <a:lnTo>
                    <a:pt x="457" y="193"/>
                  </a:lnTo>
                  <a:lnTo>
                    <a:pt x="455" y="194"/>
                  </a:lnTo>
                  <a:lnTo>
                    <a:pt x="452" y="191"/>
                  </a:lnTo>
                  <a:lnTo>
                    <a:pt x="449" y="188"/>
                  </a:lnTo>
                  <a:lnTo>
                    <a:pt x="442" y="191"/>
                  </a:lnTo>
                  <a:lnTo>
                    <a:pt x="435" y="193"/>
                  </a:lnTo>
                  <a:lnTo>
                    <a:pt x="422" y="188"/>
                  </a:lnTo>
                  <a:lnTo>
                    <a:pt x="415" y="183"/>
                  </a:lnTo>
                  <a:lnTo>
                    <a:pt x="413" y="183"/>
                  </a:lnTo>
                  <a:lnTo>
                    <a:pt x="413" y="183"/>
                  </a:lnTo>
                  <a:lnTo>
                    <a:pt x="413" y="230"/>
                  </a:lnTo>
                  <a:lnTo>
                    <a:pt x="413" y="230"/>
                  </a:lnTo>
                  <a:lnTo>
                    <a:pt x="413" y="231"/>
                  </a:lnTo>
                  <a:lnTo>
                    <a:pt x="416" y="233"/>
                  </a:lnTo>
                  <a:lnTo>
                    <a:pt x="417" y="233"/>
                  </a:lnTo>
                  <a:lnTo>
                    <a:pt x="417" y="233"/>
                  </a:lnTo>
                  <a:lnTo>
                    <a:pt x="419" y="233"/>
                  </a:lnTo>
                  <a:lnTo>
                    <a:pt x="419" y="233"/>
                  </a:lnTo>
                  <a:lnTo>
                    <a:pt x="422" y="234"/>
                  </a:lnTo>
                  <a:lnTo>
                    <a:pt x="422" y="234"/>
                  </a:lnTo>
                  <a:lnTo>
                    <a:pt x="423" y="234"/>
                  </a:lnTo>
                  <a:lnTo>
                    <a:pt x="423" y="234"/>
                  </a:lnTo>
                  <a:lnTo>
                    <a:pt x="423" y="236"/>
                  </a:lnTo>
                  <a:lnTo>
                    <a:pt x="423" y="236"/>
                  </a:lnTo>
                  <a:lnTo>
                    <a:pt x="422" y="239"/>
                  </a:lnTo>
                  <a:lnTo>
                    <a:pt x="422" y="239"/>
                  </a:lnTo>
                  <a:lnTo>
                    <a:pt x="420" y="237"/>
                  </a:lnTo>
                  <a:lnTo>
                    <a:pt x="420" y="237"/>
                  </a:lnTo>
                  <a:lnTo>
                    <a:pt x="417" y="237"/>
                  </a:lnTo>
                  <a:lnTo>
                    <a:pt x="419" y="239"/>
                  </a:lnTo>
                  <a:lnTo>
                    <a:pt x="417" y="244"/>
                  </a:lnTo>
                  <a:lnTo>
                    <a:pt x="407" y="246"/>
                  </a:lnTo>
                  <a:lnTo>
                    <a:pt x="402" y="244"/>
                  </a:lnTo>
                  <a:lnTo>
                    <a:pt x="393" y="239"/>
                  </a:lnTo>
                  <a:lnTo>
                    <a:pt x="383" y="241"/>
                  </a:lnTo>
                  <a:lnTo>
                    <a:pt x="377" y="243"/>
                  </a:lnTo>
                  <a:lnTo>
                    <a:pt x="375" y="246"/>
                  </a:lnTo>
                  <a:lnTo>
                    <a:pt x="366" y="247"/>
                  </a:lnTo>
                  <a:lnTo>
                    <a:pt x="362" y="249"/>
                  </a:lnTo>
                  <a:lnTo>
                    <a:pt x="362" y="249"/>
                  </a:lnTo>
                  <a:lnTo>
                    <a:pt x="363" y="251"/>
                  </a:lnTo>
                  <a:lnTo>
                    <a:pt x="365" y="253"/>
                  </a:lnTo>
                  <a:lnTo>
                    <a:pt x="370" y="254"/>
                  </a:lnTo>
                  <a:lnTo>
                    <a:pt x="370" y="254"/>
                  </a:lnTo>
                  <a:lnTo>
                    <a:pt x="375" y="254"/>
                  </a:lnTo>
                  <a:lnTo>
                    <a:pt x="375" y="254"/>
                  </a:lnTo>
                  <a:lnTo>
                    <a:pt x="376" y="259"/>
                  </a:lnTo>
                  <a:lnTo>
                    <a:pt x="377" y="261"/>
                  </a:lnTo>
                  <a:lnTo>
                    <a:pt x="377" y="261"/>
                  </a:lnTo>
                  <a:lnTo>
                    <a:pt x="379" y="263"/>
                  </a:lnTo>
                  <a:lnTo>
                    <a:pt x="379" y="264"/>
                  </a:lnTo>
                  <a:lnTo>
                    <a:pt x="379" y="264"/>
                  </a:lnTo>
                  <a:lnTo>
                    <a:pt x="379" y="266"/>
                  </a:lnTo>
                  <a:lnTo>
                    <a:pt x="383" y="270"/>
                  </a:lnTo>
                  <a:lnTo>
                    <a:pt x="383" y="270"/>
                  </a:lnTo>
                  <a:lnTo>
                    <a:pt x="386" y="271"/>
                  </a:lnTo>
                  <a:lnTo>
                    <a:pt x="389" y="273"/>
                  </a:lnTo>
                  <a:lnTo>
                    <a:pt x="392" y="286"/>
                  </a:lnTo>
                  <a:lnTo>
                    <a:pt x="392" y="286"/>
                  </a:lnTo>
                  <a:lnTo>
                    <a:pt x="392" y="286"/>
                  </a:lnTo>
                  <a:lnTo>
                    <a:pt x="392" y="286"/>
                  </a:lnTo>
                  <a:lnTo>
                    <a:pt x="393" y="289"/>
                  </a:lnTo>
                  <a:lnTo>
                    <a:pt x="393" y="289"/>
                  </a:lnTo>
                  <a:lnTo>
                    <a:pt x="396" y="294"/>
                  </a:lnTo>
                  <a:lnTo>
                    <a:pt x="397" y="297"/>
                  </a:lnTo>
                  <a:lnTo>
                    <a:pt x="396" y="299"/>
                  </a:lnTo>
                  <a:lnTo>
                    <a:pt x="396" y="299"/>
                  </a:lnTo>
                  <a:lnTo>
                    <a:pt x="392" y="306"/>
                  </a:lnTo>
                  <a:lnTo>
                    <a:pt x="392" y="319"/>
                  </a:lnTo>
                  <a:lnTo>
                    <a:pt x="392" y="319"/>
                  </a:lnTo>
                  <a:lnTo>
                    <a:pt x="395" y="321"/>
                  </a:lnTo>
                  <a:lnTo>
                    <a:pt x="395" y="321"/>
                  </a:lnTo>
                  <a:lnTo>
                    <a:pt x="396" y="323"/>
                  </a:lnTo>
                  <a:lnTo>
                    <a:pt x="397" y="326"/>
                  </a:lnTo>
                  <a:lnTo>
                    <a:pt x="397" y="326"/>
                  </a:lnTo>
                  <a:lnTo>
                    <a:pt x="397" y="326"/>
                  </a:lnTo>
                  <a:lnTo>
                    <a:pt x="396" y="329"/>
                  </a:lnTo>
                  <a:lnTo>
                    <a:pt x="396" y="329"/>
                  </a:lnTo>
                  <a:lnTo>
                    <a:pt x="395" y="329"/>
                  </a:lnTo>
                  <a:lnTo>
                    <a:pt x="395" y="329"/>
                  </a:lnTo>
                  <a:lnTo>
                    <a:pt x="392" y="329"/>
                  </a:lnTo>
                  <a:lnTo>
                    <a:pt x="392" y="329"/>
                  </a:lnTo>
                  <a:lnTo>
                    <a:pt x="392" y="329"/>
                  </a:lnTo>
                  <a:lnTo>
                    <a:pt x="392" y="329"/>
                  </a:lnTo>
                  <a:lnTo>
                    <a:pt x="389" y="330"/>
                  </a:lnTo>
                  <a:lnTo>
                    <a:pt x="387" y="331"/>
                  </a:lnTo>
                  <a:lnTo>
                    <a:pt x="387" y="331"/>
                  </a:lnTo>
                  <a:lnTo>
                    <a:pt x="385" y="336"/>
                  </a:lnTo>
                  <a:lnTo>
                    <a:pt x="385" y="336"/>
                  </a:lnTo>
                  <a:lnTo>
                    <a:pt x="380" y="337"/>
                  </a:lnTo>
                  <a:lnTo>
                    <a:pt x="380" y="337"/>
                  </a:lnTo>
                  <a:lnTo>
                    <a:pt x="377" y="339"/>
                  </a:lnTo>
                  <a:lnTo>
                    <a:pt x="373" y="340"/>
                  </a:lnTo>
                  <a:lnTo>
                    <a:pt x="373" y="340"/>
                  </a:lnTo>
                  <a:lnTo>
                    <a:pt x="372" y="344"/>
                  </a:lnTo>
                  <a:lnTo>
                    <a:pt x="372" y="349"/>
                  </a:lnTo>
                  <a:lnTo>
                    <a:pt x="372" y="349"/>
                  </a:lnTo>
                  <a:lnTo>
                    <a:pt x="372" y="349"/>
                  </a:lnTo>
                  <a:lnTo>
                    <a:pt x="372" y="349"/>
                  </a:lnTo>
                  <a:lnTo>
                    <a:pt x="369" y="350"/>
                  </a:lnTo>
                  <a:lnTo>
                    <a:pt x="366" y="354"/>
                  </a:lnTo>
                  <a:lnTo>
                    <a:pt x="366" y="354"/>
                  </a:lnTo>
                  <a:lnTo>
                    <a:pt x="365" y="359"/>
                  </a:lnTo>
                  <a:lnTo>
                    <a:pt x="365" y="359"/>
                  </a:lnTo>
                  <a:lnTo>
                    <a:pt x="365" y="359"/>
                  </a:lnTo>
                  <a:lnTo>
                    <a:pt x="365" y="359"/>
                  </a:lnTo>
                  <a:lnTo>
                    <a:pt x="359" y="356"/>
                  </a:lnTo>
                  <a:lnTo>
                    <a:pt x="359" y="356"/>
                  </a:lnTo>
                  <a:lnTo>
                    <a:pt x="356" y="354"/>
                  </a:lnTo>
                  <a:lnTo>
                    <a:pt x="356" y="354"/>
                  </a:lnTo>
                  <a:lnTo>
                    <a:pt x="353" y="356"/>
                  </a:lnTo>
                  <a:lnTo>
                    <a:pt x="350" y="357"/>
                  </a:lnTo>
                  <a:lnTo>
                    <a:pt x="350" y="357"/>
                  </a:lnTo>
                  <a:lnTo>
                    <a:pt x="347" y="359"/>
                  </a:lnTo>
                  <a:lnTo>
                    <a:pt x="346" y="360"/>
                  </a:lnTo>
                  <a:lnTo>
                    <a:pt x="346" y="360"/>
                  </a:lnTo>
                  <a:lnTo>
                    <a:pt x="345" y="359"/>
                  </a:lnTo>
                  <a:lnTo>
                    <a:pt x="345" y="359"/>
                  </a:lnTo>
                  <a:lnTo>
                    <a:pt x="343" y="356"/>
                  </a:lnTo>
                  <a:lnTo>
                    <a:pt x="340" y="356"/>
                  </a:lnTo>
                  <a:lnTo>
                    <a:pt x="340" y="356"/>
                  </a:lnTo>
                  <a:lnTo>
                    <a:pt x="337" y="356"/>
                  </a:lnTo>
                  <a:lnTo>
                    <a:pt x="336" y="356"/>
                  </a:lnTo>
                  <a:lnTo>
                    <a:pt x="336" y="356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2" y="357"/>
                  </a:lnTo>
                  <a:lnTo>
                    <a:pt x="332" y="357"/>
                  </a:lnTo>
                  <a:lnTo>
                    <a:pt x="329" y="359"/>
                  </a:lnTo>
                  <a:lnTo>
                    <a:pt x="326" y="360"/>
                  </a:lnTo>
                  <a:lnTo>
                    <a:pt x="323" y="366"/>
                  </a:lnTo>
                  <a:lnTo>
                    <a:pt x="323" y="366"/>
                  </a:lnTo>
                  <a:lnTo>
                    <a:pt x="322" y="374"/>
                  </a:lnTo>
                  <a:lnTo>
                    <a:pt x="322" y="374"/>
                  </a:lnTo>
                  <a:lnTo>
                    <a:pt x="320" y="380"/>
                  </a:lnTo>
                  <a:lnTo>
                    <a:pt x="320" y="380"/>
                  </a:lnTo>
                  <a:lnTo>
                    <a:pt x="319" y="382"/>
                  </a:lnTo>
                  <a:lnTo>
                    <a:pt x="315" y="382"/>
                  </a:lnTo>
                  <a:lnTo>
                    <a:pt x="315" y="382"/>
                  </a:lnTo>
                  <a:lnTo>
                    <a:pt x="310" y="380"/>
                  </a:lnTo>
                  <a:lnTo>
                    <a:pt x="310" y="380"/>
                  </a:lnTo>
                  <a:lnTo>
                    <a:pt x="307" y="379"/>
                  </a:lnTo>
                  <a:lnTo>
                    <a:pt x="306" y="377"/>
                  </a:lnTo>
                  <a:lnTo>
                    <a:pt x="306" y="377"/>
                  </a:lnTo>
                  <a:lnTo>
                    <a:pt x="305" y="374"/>
                  </a:lnTo>
                  <a:lnTo>
                    <a:pt x="302" y="373"/>
                  </a:lnTo>
                  <a:lnTo>
                    <a:pt x="302" y="373"/>
                  </a:lnTo>
                  <a:lnTo>
                    <a:pt x="299" y="373"/>
                  </a:lnTo>
                  <a:lnTo>
                    <a:pt x="299" y="373"/>
                  </a:lnTo>
                  <a:lnTo>
                    <a:pt x="296" y="373"/>
                  </a:lnTo>
                  <a:lnTo>
                    <a:pt x="293" y="376"/>
                  </a:lnTo>
                  <a:lnTo>
                    <a:pt x="293" y="376"/>
                  </a:lnTo>
                  <a:lnTo>
                    <a:pt x="292" y="377"/>
                  </a:lnTo>
                  <a:lnTo>
                    <a:pt x="292" y="377"/>
                  </a:lnTo>
                  <a:lnTo>
                    <a:pt x="292" y="377"/>
                  </a:lnTo>
                  <a:lnTo>
                    <a:pt x="292" y="377"/>
                  </a:lnTo>
                  <a:lnTo>
                    <a:pt x="290" y="377"/>
                  </a:lnTo>
                  <a:lnTo>
                    <a:pt x="290" y="377"/>
                  </a:lnTo>
                  <a:lnTo>
                    <a:pt x="283" y="377"/>
                  </a:lnTo>
                  <a:lnTo>
                    <a:pt x="283" y="377"/>
                  </a:lnTo>
                  <a:lnTo>
                    <a:pt x="280" y="377"/>
                  </a:lnTo>
                  <a:lnTo>
                    <a:pt x="279" y="380"/>
                  </a:lnTo>
                  <a:lnTo>
                    <a:pt x="277" y="384"/>
                  </a:lnTo>
                  <a:lnTo>
                    <a:pt x="277" y="384"/>
                  </a:lnTo>
                  <a:lnTo>
                    <a:pt x="276" y="387"/>
                  </a:lnTo>
                  <a:lnTo>
                    <a:pt x="276" y="387"/>
                  </a:lnTo>
                  <a:lnTo>
                    <a:pt x="275" y="387"/>
                  </a:lnTo>
                  <a:lnTo>
                    <a:pt x="275" y="387"/>
                  </a:lnTo>
                  <a:lnTo>
                    <a:pt x="273" y="387"/>
                  </a:lnTo>
                  <a:lnTo>
                    <a:pt x="273" y="387"/>
                  </a:lnTo>
                  <a:lnTo>
                    <a:pt x="273" y="387"/>
                  </a:lnTo>
                  <a:lnTo>
                    <a:pt x="270" y="387"/>
                  </a:lnTo>
                  <a:lnTo>
                    <a:pt x="267" y="389"/>
                  </a:lnTo>
                  <a:lnTo>
                    <a:pt x="267" y="389"/>
                  </a:lnTo>
                  <a:lnTo>
                    <a:pt x="265" y="390"/>
                  </a:lnTo>
                  <a:lnTo>
                    <a:pt x="265" y="393"/>
                  </a:lnTo>
                  <a:lnTo>
                    <a:pt x="265" y="393"/>
                  </a:lnTo>
                  <a:lnTo>
                    <a:pt x="265" y="397"/>
                  </a:lnTo>
                  <a:lnTo>
                    <a:pt x="266" y="400"/>
                  </a:lnTo>
                  <a:lnTo>
                    <a:pt x="266" y="400"/>
                  </a:lnTo>
                  <a:lnTo>
                    <a:pt x="266" y="403"/>
                  </a:lnTo>
                  <a:lnTo>
                    <a:pt x="266" y="406"/>
                  </a:lnTo>
                  <a:lnTo>
                    <a:pt x="266" y="406"/>
                  </a:lnTo>
                  <a:lnTo>
                    <a:pt x="266" y="409"/>
                  </a:lnTo>
                  <a:lnTo>
                    <a:pt x="266" y="412"/>
                  </a:lnTo>
                  <a:lnTo>
                    <a:pt x="266" y="412"/>
                  </a:lnTo>
                  <a:lnTo>
                    <a:pt x="263" y="412"/>
                  </a:lnTo>
                  <a:lnTo>
                    <a:pt x="262" y="413"/>
                  </a:lnTo>
                  <a:lnTo>
                    <a:pt x="262" y="413"/>
                  </a:lnTo>
                  <a:lnTo>
                    <a:pt x="262" y="417"/>
                  </a:lnTo>
                  <a:lnTo>
                    <a:pt x="263" y="422"/>
                  </a:lnTo>
                  <a:lnTo>
                    <a:pt x="263" y="422"/>
                  </a:lnTo>
                  <a:lnTo>
                    <a:pt x="263" y="422"/>
                  </a:lnTo>
                  <a:lnTo>
                    <a:pt x="263" y="422"/>
                  </a:lnTo>
                  <a:lnTo>
                    <a:pt x="266" y="426"/>
                  </a:lnTo>
                  <a:lnTo>
                    <a:pt x="266" y="426"/>
                  </a:lnTo>
                  <a:lnTo>
                    <a:pt x="266" y="430"/>
                  </a:lnTo>
                  <a:lnTo>
                    <a:pt x="269" y="432"/>
                  </a:lnTo>
                  <a:lnTo>
                    <a:pt x="273" y="432"/>
                  </a:lnTo>
                  <a:lnTo>
                    <a:pt x="273" y="432"/>
                  </a:lnTo>
                  <a:lnTo>
                    <a:pt x="276" y="433"/>
                  </a:lnTo>
                  <a:lnTo>
                    <a:pt x="276" y="433"/>
                  </a:lnTo>
                  <a:lnTo>
                    <a:pt x="283" y="432"/>
                  </a:lnTo>
                  <a:lnTo>
                    <a:pt x="283" y="432"/>
                  </a:lnTo>
                  <a:lnTo>
                    <a:pt x="286" y="432"/>
                  </a:lnTo>
                  <a:lnTo>
                    <a:pt x="286" y="432"/>
                  </a:lnTo>
                  <a:lnTo>
                    <a:pt x="287" y="432"/>
                  </a:lnTo>
                  <a:lnTo>
                    <a:pt x="287" y="432"/>
                  </a:lnTo>
                  <a:lnTo>
                    <a:pt x="287" y="433"/>
                  </a:lnTo>
                  <a:lnTo>
                    <a:pt x="287" y="433"/>
                  </a:lnTo>
                  <a:lnTo>
                    <a:pt x="285" y="433"/>
                  </a:lnTo>
                  <a:lnTo>
                    <a:pt x="285" y="433"/>
                  </a:lnTo>
                  <a:lnTo>
                    <a:pt x="285" y="436"/>
                  </a:lnTo>
                  <a:lnTo>
                    <a:pt x="286" y="440"/>
                  </a:lnTo>
                  <a:lnTo>
                    <a:pt x="289" y="447"/>
                  </a:lnTo>
                  <a:lnTo>
                    <a:pt x="289" y="447"/>
                  </a:lnTo>
                  <a:lnTo>
                    <a:pt x="289" y="450"/>
                  </a:lnTo>
                  <a:lnTo>
                    <a:pt x="292" y="452"/>
                  </a:lnTo>
                  <a:lnTo>
                    <a:pt x="297" y="452"/>
                  </a:lnTo>
                  <a:lnTo>
                    <a:pt x="297" y="452"/>
                  </a:lnTo>
                  <a:lnTo>
                    <a:pt x="300" y="450"/>
                  </a:lnTo>
                  <a:lnTo>
                    <a:pt x="300" y="450"/>
                  </a:lnTo>
                  <a:lnTo>
                    <a:pt x="305" y="452"/>
                  </a:lnTo>
                  <a:lnTo>
                    <a:pt x="305" y="452"/>
                  </a:lnTo>
                  <a:lnTo>
                    <a:pt x="307" y="453"/>
                  </a:lnTo>
                  <a:lnTo>
                    <a:pt x="307" y="453"/>
                  </a:lnTo>
                  <a:lnTo>
                    <a:pt x="309" y="452"/>
                  </a:lnTo>
                  <a:lnTo>
                    <a:pt x="309" y="449"/>
                  </a:lnTo>
                  <a:lnTo>
                    <a:pt x="309" y="449"/>
                  </a:lnTo>
                  <a:lnTo>
                    <a:pt x="309" y="450"/>
                  </a:lnTo>
                  <a:lnTo>
                    <a:pt x="307" y="453"/>
                  </a:lnTo>
                  <a:lnTo>
                    <a:pt x="307" y="453"/>
                  </a:lnTo>
                  <a:lnTo>
                    <a:pt x="302" y="463"/>
                  </a:lnTo>
                  <a:lnTo>
                    <a:pt x="307" y="470"/>
                  </a:lnTo>
                  <a:lnTo>
                    <a:pt x="307" y="474"/>
                  </a:lnTo>
                  <a:lnTo>
                    <a:pt x="302" y="482"/>
                  </a:lnTo>
                  <a:lnTo>
                    <a:pt x="296" y="474"/>
                  </a:lnTo>
                  <a:lnTo>
                    <a:pt x="293" y="479"/>
                  </a:lnTo>
                  <a:lnTo>
                    <a:pt x="290" y="484"/>
                  </a:lnTo>
                  <a:lnTo>
                    <a:pt x="286" y="489"/>
                  </a:lnTo>
                  <a:lnTo>
                    <a:pt x="275" y="489"/>
                  </a:lnTo>
                  <a:lnTo>
                    <a:pt x="267" y="490"/>
                  </a:lnTo>
                  <a:lnTo>
                    <a:pt x="259" y="489"/>
                  </a:lnTo>
                  <a:lnTo>
                    <a:pt x="250" y="490"/>
                  </a:lnTo>
                  <a:lnTo>
                    <a:pt x="243" y="492"/>
                  </a:lnTo>
                  <a:lnTo>
                    <a:pt x="236" y="502"/>
                  </a:lnTo>
                  <a:lnTo>
                    <a:pt x="232" y="502"/>
                  </a:lnTo>
                  <a:lnTo>
                    <a:pt x="226" y="504"/>
                  </a:lnTo>
                  <a:lnTo>
                    <a:pt x="222" y="517"/>
                  </a:lnTo>
                  <a:lnTo>
                    <a:pt x="226" y="519"/>
                  </a:lnTo>
                  <a:lnTo>
                    <a:pt x="229" y="522"/>
                  </a:lnTo>
                  <a:lnTo>
                    <a:pt x="232" y="529"/>
                  </a:lnTo>
                  <a:lnTo>
                    <a:pt x="233" y="536"/>
                  </a:lnTo>
                  <a:lnTo>
                    <a:pt x="233" y="539"/>
                  </a:lnTo>
                  <a:lnTo>
                    <a:pt x="232" y="547"/>
                  </a:lnTo>
                  <a:lnTo>
                    <a:pt x="229" y="555"/>
                  </a:lnTo>
                  <a:lnTo>
                    <a:pt x="225" y="557"/>
                  </a:lnTo>
                  <a:lnTo>
                    <a:pt x="225" y="562"/>
                  </a:lnTo>
                  <a:lnTo>
                    <a:pt x="227" y="569"/>
                  </a:lnTo>
                  <a:lnTo>
                    <a:pt x="227" y="576"/>
                  </a:lnTo>
                  <a:lnTo>
                    <a:pt x="227" y="576"/>
                  </a:lnTo>
                  <a:lnTo>
                    <a:pt x="222" y="576"/>
                  </a:lnTo>
                  <a:lnTo>
                    <a:pt x="222" y="576"/>
                  </a:lnTo>
                  <a:lnTo>
                    <a:pt x="216" y="577"/>
                  </a:lnTo>
                  <a:lnTo>
                    <a:pt x="216" y="577"/>
                  </a:lnTo>
                  <a:lnTo>
                    <a:pt x="206" y="575"/>
                  </a:lnTo>
                  <a:lnTo>
                    <a:pt x="206" y="575"/>
                  </a:lnTo>
                  <a:lnTo>
                    <a:pt x="202" y="576"/>
                  </a:lnTo>
                  <a:lnTo>
                    <a:pt x="199" y="580"/>
                  </a:lnTo>
                  <a:lnTo>
                    <a:pt x="203" y="583"/>
                  </a:lnTo>
                  <a:lnTo>
                    <a:pt x="205" y="585"/>
                  </a:lnTo>
                  <a:lnTo>
                    <a:pt x="207" y="587"/>
                  </a:lnTo>
                  <a:lnTo>
                    <a:pt x="213" y="592"/>
                  </a:lnTo>
                  <a:lnTo>
                    <a:pt x="213" y="596"/>
                  </a:lnTo>
                  <a:lnTo>
                    <a:pt x="213" y="602"/>
                  </a:lnTo>
                  <a:lnTo>
                    <a:pt x="207" y="602"/>
                  </a:lnTo>
                  <a:lnTo>
                    <a:pt x="202" y="602"/>
                  </a:lnTo>
                  <a:lnTo>
                    <a:pt x="202" y="602"/>
                  </a:lnTo>
                  <a:lnTo>
                    <a:pt x="199" y="603"/>
                  </a:lnTo>
                  <a:lnTo>
                    <a:pt x="199" y="603"/>
                  </a:lnTo>
                  <a:lnTo>
                    <a:pt x="197" y="605"/>
                  </a:lnTo>
                  <a:lnTo>
                    <a:pt x="197" y="609"/>
                  </a:lnTo>
                  <a:lnTo>
                    <a:pt x="197" y="616"/>
                  </a:lnTo>
                  <a:lnTo>
                    <a:pt x="196" y="619"/>
                  </a:lnTo>
                  <a:lnTo>
                    <a:pt x="196" y="623"/>
                  </a:lnTo>
                  <a:lnTo>
                    <a:pt x="197" y="629"/>
                  </a:lnTo>
                  <a:lnTo>
                    <a:pt x="197" y="629"/>
                  </a:lnTo>
                  <a:lnTo>
                    <a:pt x="197" y="635"/>
                  </a:lnTo>
                  <a:lnTo>
                    <a:pt x="197" y="635"/>
                  </a:lnTo>
                  <a:lnTo>
                    <a:pt x="195" y="640"/>
                  </a:lnTo>
                  <a:lnTo>
                    <a:pt x="193" y="642"/>
                  </a:lnTo>
                  <a:lnTo>
                    <a:pt x="187" y="645"/>
                  </a:lnTo>
                  <a:lnTo>
                    <a:pt x="182" y="643"/>
                  </a:lnTo>
                  <a:lnTo>
                    <a:pt x="175" y="642"/>
                  </a:lnTo>
                  <a:lnTo>
                    <a:pt x="166" y="643"/>
                  </a:lnTo>
                  <a:lnTo>
                    <a:pt x="163" y="646"/>
                  </a:lnTo>
                  <a:lnTo>
                    <a:pt x="162" y="649"/>
                  </a:lnTo>
                  <a:lnTo>
                    <a:pt x="162" y="649"/>
                  </a:lnTo>
                  <a:lnTo>
                    <a:pt x="160" y="650"/>
                  </a:lnTo>
                  <a:lnTo>
                    <a:pt x="160" y="656"/>
                  </a:lnTo>
                  <a:lnTo>
                    <a:pt x="160" y="656"/>
                  </a:lnTo>
                  <a:lnTo>
                    <a:pt x="160" y="659"/>
                  </a:lnTo>
                  <a:lnTo>
                    <a:pt x="159" y="659"/>
                  </a:lnTo>
                  <a:lnTo>
                    <a:pt x="156" y="659"/>
                  </a:lnTo>
                  <a:lnTo>
                    <a:pt x="149" y="656"/>
                  </a:lnTo>
                  <a:lnTo>
                    <a:pt x="143" y="656"/>
                  </a:lnTo>
                  <a:lnTo>
                    <a:pt x="139" y="657"/>
                  </a:lnTo>
                  <a:lnTo>
                    <a:pt x="133" y="660"/>
                  </a:lnTo>
                  <a:lnTo>
                    <a:pt x="129" y="672"/>
                  </a:lnTo>
                  <a:lnTo>
                    <a:pt x="127" y="679"/>
                  </a:lnTo>
                  <a:lnTo>
                    <a:pt x="129" y="685"/>
                  </a:lnTo>
                  <a:lnTo>
                    <a:pt x="129" y="693"/>
                  </a:lnTo>
                  <a:lnTo>
                    <a:pt x="126" y="700"/>
                  </a:lnTo>
                  <a:lnTo>
                    <a:pt x="122" y="702"/>
                  </a:lnTo>
                  <a:lnTo>
                    <a:pt x="112" y="705"/>
                  </a:lnTo>
                  <a:lnTo>
                    <a:pt x="103" y="706"/>
                  </a:lnTo>
                  <a:lnTo>
                    <a:pt x="94" y="708"/>
                  </a:lnTo>
                  <a:lnTo>
                    <a:pt x="86" y="706"/>
                  </a:lnTo>
                  <a:lnTo>
                    <a:pt x="79" y="708"/>
                  </a:lnTo>
                  <a:lnTo>
                    <a:pt x="72" y="710"/>
                  </a:lnTo>
                  <a:lnTo>
                    <a:pt x="63" y="712"/>
                  </a:lnTo>
                  <a:lnTo>
                    <a:pt x="50" y="712"/>
                  </a:lnTo>
                  <a:lnTo>
                    <a:pt x="43" y="712"/>
                  </a:lnTo>
                  <a:lnTo>
                    <a:pt x="36" y="710"/>
                  </a:lnTo>
                  <a:lnTo>
                    <a:pt x="33" y="710"/>
                  </a:lnTo>
                  <a:lnTo>
                    <a:pt x="29" y="709"/>
                  </a:lnTo>
                  <a:lnTo>
                    <a:pt x="29" y="709"/>
                  </a:lnTo>
                  <a:lnTo>
                    <a:pt x="29" y="709"/>
                  </a:lnTo>
                  <a:lnTo>
                    <a:pt x="19" y="708"/>
                  </a:lnTo>
                  <a:lnTo>
                    <a:pt x="6" y="703"/>
                  </a:lnTo>
                  <a:lnTo>
                    <a:pt x="0" y="700"/>
                  </a:lnTo>
                  <a:lnTo>
                    <a:pt x="0" y="700"/>
                  </a:lnTo>
                  <a:lnTo>
                    <a:pt x="3" y="706"/>
                  </a:lnTo>
                  <a:lnTo>
                    <a:pt x="7" y="713"/>
                  </a:lnTo>
                  <a:lnTo>
                    <a:pt x="13" y="720"/>
                  </a:lnTo>
                  <a:lnTo>
                    <a:pt x="20" y="732"/>
                  </a:lnTo>
                  <a:lnTo>
                    <a:pt x="26" y="738"/>
                  </a:lnTo>
                  <a:lnTo>
                    <a:pt x="40" y="739"/>
                  </a:lnTo>
                  <a:lnTo>
                    <a:pt x="47" y="742"/>
                  </a:lnTo>
                  <a:lnTo>
                    <a:pt x="53" y="776"/>
                  </a:lnTo>
                  <a:lnTo>
                    <a:pt x="62" y="778"/>
                  </a:lnTo>
                  <a:lnTo>
                    <a:pt x="67" y="775"/>
                  </a:lnTo>
                  <a:lnTo>
                    <a:pt x="69" y="786"/>
                  </a:lnTo>
                  <a:lnTo>
                    <a:pt x="72" y="793"/>
                  </a:lnTo>
                  <a:lnTo>
                    <a:pt x="67" y="795"/>
                  </a:lnTo>
                  <a:lnTo>
                    <a:pt x="56" y="793"/>
                  </a:lnTo>
                  <a:lnTo>
                    <a:pt x="49" y="793"/>
                  </a:lnTo>
                  <a:lnTo>
                    <a:pt x="43" y="805"/>
                  </a:lnTo>
                  <a:lnTo>
                    <a:pt x="32" y="812"/>
                  </a:lnTo>
                  <a:lnTo>
                    <a:pt x="29" y="819"/>
                  </a:lnTo>
                  <a:lnTo>
                    <a:pt x="29" y="828"/>
                  </a:lnTo>
                  <a:lnTo>
                    <a:pt x="27" y="832"/>
                  </a:lnTo>
                  <a:lnTo>
                    <a:pt x="30" y="833"/>
                  </a:lnTo>
                  <a:lnTo>
                    <a:pt x="36" y="836"/>
                  </a:lnTo>
                  <a:lnTo>
                    <a:pt x="53" y="832"/>
                  </a:lnTo>
                  <a:lnTo>
                    <a:pt x="57" y="832"/>
                  </a:lnTo>
                  <a:lnTo>
                    <a:pt x="57" y="833"/>
                  </a:lnTo>
                  <a:lnTo>
                    <a:pt x="56" y="838"/>
                  </a:lnTo>
                  <a:lnTo>
                    <a:pt x="57" y="839"/>
                  </a:lnTo>
                  <a:lnTo>
                    <a:pt x="63" y="840"/>
                  </a:lnTo>
                  <a:lnTo>
                    <a:pt x="80" y="838"/>
                  </a:lnTo>
                  <a:lnTo>
                    <a:pt x="87" y="838"/>
                  </a:lnTo>
                  <a:lnTo>
                    <a:pt x="97" y="839"/>
                  </a:lnTo>
                  <a:lnTo>
                    <a:pt x="106" y="839"/>
                  </a:lnTo>
                  <a:lnTo>
                    <a:pt x="109" y="836"/>
                  </a:lnTo>
                  <a:lnTo>
                    <a:pt x="112" y="829"/>
                  </a:lnTo>
                  <a:lnTo>
                    <a:pt x="116" y="828"/>
                  </a:lnTo>
                  <a:lnTo>
                    <a:pt x="120" y="829"/>
                  </a:lnTo>
                  <a:lnTo>
                    <a:pt x="127" y="833"/>
                  </a:lnTo>
                  <a:lnTo>
                    <a:pt x="133" y="836"/>
                  </a:lnTo>
                  <a:lnTo>
                    <a:pt x="149" y="832"/>
                  </a:lnTo>
                  <a:lnTo>
                    <a:pt x="162" y="832"/>
                  </a:lnTo>
                  <a:lnTo>
                    <a:pt x="165" y="832"/>
                  </a:lnTo>
                  <a:lnTo>
                    <a:pt x="167" y="838"/>
                  </a:lnTo>
                  <a:lnTo>
                    <a:pt x="172" y="840"/>
                  </a:lnTo>
                  <a:lnTo>
                    <a:pt x="176" y="840"/>
                  </a:lnTo>
                  <a:lnTo>
                    <a:pt x="179" y="848"/>
                  </a:lnTo>
                  <a:lnTo>
                    <a:pt x="182" y="858"/>
                  </a:lnTo>
                  <a:lnTo>
                    <a:pt x="185" y="861"/>
                  </a:lnTo>
                  <a:lnTo>
                    <a:pt x="186" y="862"/>
                  </a:lnTo>
                  <a:lnTo>
                    <a:pt x="185" y="865"/>
                  </a:lnTo>
                  <a:lnTo>
                    <a:pt x="187" y="869"/>
                  </a:lnTo>
                  <a:lnTo>
                    <a:pt x="196" y="875"/>
                  </a:lnTo>
                  <a:lnTo>
                    <a:pt x="206" y="881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81"/>
                  </a:lnTo>
                  <a:lnTo>
                    <a:pt x="207" y="881"/>
                  </a:lnTo>
                  <a:lnTo>
                    <a:pt x="207" y="883"/>
                  </a:lnTo>
                  <a:lnTo>
                    <a:pt x="210" y="888"/>
                  </a:lnTo>
                  <a:lnTo>
                    <a:pt x="217" y="895"/>
                  </a:lnTo>
                  <a:lnTo>
                    <a:pt x="217" y="895"/>
                  </a:lnTo>
                  <a:lnTo>
                    <a:pt x="220" y="896"/>
                  </a:lnTo>
                  <a:lnTo>
                    <a:pt x="220" y="896"/>
                  </a:lnTo>
                  <a:lnTo>
                    <a:pt x="225" y="901"/>
                  </a:lnTo>
                  <a:lnTo>
                    <a:pt x="230" y="903"/>
                  </a:lnTo>
                  <a:lnTo>
                    <a:pt x="240" y="908"/>
                  </a:lnTo>
                  <a:lnTo>
                    <a:pt x="240" y="908"/>
                  </a:lnTo>
                  <a:lnTo>
                    <a:pt x="245" y="909"/>
                  </a:lnTo>
                  <a:lnTo>
                    <a:pt x="247" y="909"/>
                  </a:lnTo>
                  <a:lnTo>
                    <a:pt x="250" y="906"/>
                  </a:lnTo>
                  <a:lnTo>
                    <a:pt x="250" y="906"/>
                  </a:lnTo>
                  <a:lnTo>
                    <a:pt x="250" y="905"/>
                  </a:lnTo>
                  <a:lnTo>
                    <a:pt x="250" y="905"/>
                  </a:lnTo>
                  <a:lnTo>
                    <a:pt x="257" y="909"/>
                  </a:lnTo>
                  <a:lnTo>
                    <a:pt x="257" y="909"/>
                  </a:lnTo>
                  <a:lnTo>
                    <a:pt x="257" y="909"/>
                  </a:lnTo>
                  <a:lnTo>
                    <a:pt x="257" y="909"/>
                  </a:lnTo>
                  <a:lnTo>
                    <a:pt x="255" y="911"/>
                  </a:lnTo>
                  <a:lnTo>
                    <a:pt x="252" y="913"/>
                  </a:lnTo>
                  <a:lnTo>
                    <a:pt x="252" y="913"/>
                  </a:lnTo>
                  <a:lnTo>
                    <a:pt x="249" y="913"/>
                  </a:lnTo>
                  <a:lnTo>
                    <a:pt x="246" y="915"/>
                  </a:lnTo>
                  <a:lnTo>
                    <a:pt x="246" y="915"/>
                  </a:lnTo>
                  <a:lnTo>
                    <a:pt x="240" y="913"/>
                  </a:lnTo>
                  <a:lnTo>
                    <a:pt x="236" y="912"/>
                  </a:lnTo>
                  <a:lnTo>
                    <a:pt x="235" y="912"/>
                  </a:lnTo>
                  <a:lnTo>
                    <a:pt x="235" y="912"/>
                  </a:lnTo>
                  <a:lnTo>
                    <a:pt x="232" y="911"/>
                  </a:lnTo>
                  <a:lnTo>
                    <a:pt x="230" y="912"/>
                  </a:lnTo>
                  <a:lnTo>
                    <a:pt x="230" y="912"/>
                  </a:lnTo>
                  <a:lnTo>
                    <a:pt x="227" y="913"/>
                  </a:lnTo>
                  <a:lnTo>
                    <a:pt x="227" y="916"/>
                  </a:lnTo>
                  <a:lnTo>
                    <a:pt x="227" y="918"/>
                  </a:lnTo>
                  <a:lnTo>
                    <a:pt x="227" y="918"/>
                  </a:lnTo>
                  <a:lnTo>
                    <a:pt x="227" y="921"/>
                  </a:lnTo>
                  <a:lnTo>
                    <a:pt x="229" y="923"/>
                  </a:lnTo>
                  <a:lnTo>
                    <a:pt x="235" y="929"/>
                  </a:lnTo>
                  <a:lnTo>
                    <a:pt x="235" y="929"/>
                  </a:lnTo>
                  <a:lnTo>
                    <a:pt x="237" y="933"/>
                  </a:lnTo>
                  <a:lnTo>
                    <a:pt x="237" y="933"/>
                  </a:lnTo>
                  <a:lnTo>
                    <a:pt x="242" y="939"/>
                  </a:lnTo>
                  <a:lnTo>
                    <a:pt x="242" y="939"/>
                  </a:lnTo>
                  <a:lnTo>
                    <a:pt x="245" y="945"/>
                  </a:lnTo>
                  <a:lnTo>
                    <a:pt x="249" y="948"/>
                  </a:lnTo>
                  <a:lnTo>
                    <a:pt x="249" y="948"/>
                  </a:lnTo>
                  <a:lnTo>
                    <a:pt x="253" y="951"/>
                  </a:lnTo>
                  <a:lnTo>
                    <a:pt x="253" y="951"/>
                  </a:lnTo>
                  <a:lnTo>
                    <a:pt x="260" y="955"/>
                  </a:lnTo>
                  <a:lnTo>
                    <a:pt x="265" y="959"/>
                  </a:lnTo>
                  <a:lnTo>
                    <a:pt x="267" y="963"/>
                  </a:lnTo>
                  <a:lnTo>
                    <a:pt x="267" y="963"/>
                  </a:lnTo>
                  <a:lnTo>
                    <a:pt x="270" y="968"/>
                  </a:lnTo>
                  <a:lnTo>
                    <a:pt x="272" y="969"/>
                  </a:lnTo>
                  <a:lnTo>
                    <a:pt x="275" y="969"/>
                  </a:lnTo>
                  <a:lnTo>
                    <a:pt x="275" y="969"/>
                  </a:lnTo>
                  <a:lnTo>
                    <a:pt x="282" y="968"/>
                  </a:lnTo>
                  <a:lnTo>
                    <a:pt x="282" y="968"/>
                  </a:lnTo>
                  <a:lnTo>
                    <a:pt x="286" y="968"/>
                  </a:lnTo>
                  <a:lnTo>
                    <a:pt x="286" y="968"/>
                  </a:lnTo>
                  <a:lnTo>
                    <a:pt x="286" y="968"/>
                  </a:lnTo>
                  <a:lnTo>
                    <a:pt x="292" y="968"/>
                  </a:lnTo>
                  <a:lnTo>
                    <a:pt x="292" y="968"/>
                  </a:lnTo>
                  <a:lnTo>
                    <a:pt x="295" y="972"/>
                  </a:lnTo>
                  <a:lnTo>
                    <a:pt x="299" y="973"/>
                  </a:lnTo>
                  <a:lnTo>
                    <a:pt x="299" y="973"/>
                  </a:lnTo>
                  <a:lnTo>
                    <a:pt x="306" y="972"/>
                  </a:lnTo>
                  <a:lnTo>
                    <a:pt x="306" y="972"/>
                  </a:lnTo>
                  <a:lnTo>
                    <a:pt x="310" y="971"/>
                  </a:lnTo>
                  <a:lnTo>
                    <a:pt x="310" y="971"/>
                  </a:lnTo>
                  <a:lnTo>
                    <a:pt x="310" y="971"/>
                  </a:lnTo>
                  <a:lnTo>
                    <a:pt x="315" y="971"/>
                  </a:lnTo>
                  <a:lnTo>
                    <a:pt x="320" y="969"/>
                  </a:lnTo>
                  <a:lnTo>
                    <a:pt x="325" y="968"/>
                  </a:lnTo>
                  <a:lnTo>
                    <a:pt x="327" y="965"/>
                  </a:lnTo>
                  <a:lnTo>
                    <a:pt x="327" y="965"/>
                  </a:lnTo>
                  <a:lnTo>
                    <a:pt x="330" y="962"/>
                  </a:lnTo>
                  <a:lnTo>
                    <a:pt x="330" y="962"/>
                  </a:lnTo>
                  <a:lnTo>
                    <a:pt x="330" y="965"/>
                  </a:lnTo>
                  <a:lnTo>
                    <a:pt x="329" y="969"/>
                  </a:lnTo>
                  <a:lnTo>
                    <a:pt x="329" y="969"/>
                  </a:lnTo>
                  <a:lnTo>
                    <a:pt x="326" y="973"/>
                  </a:lnTo>
                  <a:lnTo>
                    <a:pt x="326" y="978"/>
                  </a:lnTo>
                  <a:lnTo>
                    <a:pt x="327" y="985"/>
                  </a:lnTo>
                  <a:lnTo>
                    <a:pt x="327" y="985"/>
                  </a:lnTo>
                  <a:lnTo>
                    <a:pt x="327" y="995"/>
                  </a:lnTo>
                  <a:lnTo>
                    <a:pt x="327" y="995"/>
                  </a:lnTo>
                  <a:lnTo>
                    <a:pt x="329" y="1003"/>
                  </a:lnTo>
                  <a:lnTo>
                    <a:pt x="332" y="1009"/>
                  </a:lnTo>
                  <a:lnTo>
                    <a:pt x="332" y="1009"/>
                  </a:lnTo>
                  <a:lnTo>
                    <a:pt x="335" y="1015"/>
                  </a:lnTo>
                  <a:lnTo>
                    <a:pt x="336" y="1021"/>
                  </a:lnTo>
                  <a:lnTo>
                    <a:pt x="336" y="1021"/>
                  </a:lnTo>
                  <a:lnTo>
                    <a:pt x="339" y="1034"/>
                  </a:lnTo>
                  <a:lnTo>
                    <a:pt x="339" y="1034"/>
                  </a:lnTo>
                  <a:lnTo>
                    <a:pt x="340" y="1041"/>
                  </a:lnTo>
                  <a:lnTo>
                    <a:pt x="342" y="1049"/>
                  </a:lnTo>
                  <a:lnTo>
                    <a:pt x="342" y="1049"/>
                  </a:lnTo>
                  <a:lnTo>
                    <a:pt x="353" y="1078"/>
                  </a:lnTo>
                  <a:lnTo>
                    <a:pt x="353" y="1078"/>
                  </a:lnTo>
                  <a:lnTo>
                    <a:pt x="355" y="1088"/>
                  </a:lnTo>
                  <a:lnTo>
                    <a:pt x="355" y="1088"/>
                  </a:lnTo>
                  <a:lnTo>
                    <a:pt x="355" y="1096"/>
                  </a:lnTo>
                  <a:lnTo>
                    <a:pt x="356" y="1101"/>
                  </a:lnTo>
                  <a:lnTo>
                    <a:pt x="357" y="1105"/>
                  </a:lnTo>
                  <a:lnTo>
                    <a:pt x="357" y="1105"/>
                  </a:lnTo>
                  <a:lnTo>
                    <a:pt x="363" y="1112"/>
                  </a:lnTo>
                  <a:lnTo>
                    <a:pt x="363" y="1112"/>
                  </a:lnTo>
                  <a:lnTo>
                    <a:pt x="369" y="1122"/>
                  </a:lnTo>
                  <a:lnTo>
                    <a:pt x="372" y="1128"/>
                  </a:lnTo>
                  <a:lnTo>
                    <a:pt x="373" y="1134"/>
                  </a:lnTo>
                  <a:lnTo>
                    <a:pt x="373" y="1134"/>
                  </a:lnTo>
                  <a:lnTo>
                    <a:pt x="375" y="1139"/>
                  </a:lnTo>
                  <a:lnTo>
                    <a:pt x="377" y="1145"/>
                  </a:lnTo>
                  <a:lnTo>
                    <a:pt x="386" y="1156"/>
                  </a:lnTo>
                  <a:lnTo>
                    <a:pt x="386" y="1156"/>
                  </a:lnTo>
                  <a:lnTo>
                    <a:pt x="392" y="1165"/>
                  </a:lnTo>
                  <a:lnTo>
                    <a:pt x="392" y="1165"/>
                  </a:lnTo>
                  <a:lnTo>
                    <a:pt x="396" y="1172"/>
                  </a:lnTo>
                  <a:lnTo>
                    <a:pt x="396" y="1178"/>
                  </a:lnTo>
                  <a:lnTo>
                    <a:pt x="396" y="1178"/>
                  </a:lnTo>
                  <a:lnTo>
                    <a:pt x="396" y="1188"/>
                  </a:lnTo>
                  <a:lnTo>
                    <a:pt x="396" y="1188"/>
                  </a:lnTo>
                  <a:lnTo>
                    <a:pt x="397" y="1197"/>
                  </a:lnTo>
                  <a:lnTo>
                    <a:pt x="402" y="1202"/>
                  </a:lnTo>
                  <a:lnTo>
                    <a:pt x="402" y="1202"/>
                  </a:lnTo>
                  <a:lnTo>
                    <a:pt x="405" y="1209"/>
                  </a:lnTo>
                  <a:lnTo>
                    <a:pt x="407" y="1218"/>
                  </a:lnTo>
                  <a:lnTo>
                    <a:pt x="407" y="1218"/>
                  </a:lnTo>
                  <a:lnTo>
                    <a:pt x="410" y="1228"/>
                  </a:lnTo>
                  <a:lnTo>
                    <a:pt x="415" y="1234"/>
                  </a:lnTo>
                  <a:lnTo>
                    <a:pt x="419" y="1239"/>
                  </a:lnTo>
                  <a:lnTo>
                    <a:pt x="425" y="1244"/>
                  </a:lnTo>
                  <a:lnTo>
                    <a:pt x="425" y="1244"/>
                  </a:lnTo>
                  <a:lnTo>
                    <a:pt x="429" y="1248"/>
                  </a:lnTo>
                  <a:lnTo>
                    <a:pt x="429" y="1248"/>
                  </a:lnTo>
                  <a:lnTo>
                    <a:pt x="432" y="1254"/>
                  </a:lnTo>
                  <a:lnTo>
                    <a:pt x="435" y="1261"/>
                  </a:lnTo>
                  <a:lnTo>
                    <a:pt x="435" y="1261"/>
                  </a:lnTo>
                  <a:lnTo>
                    <a:pt x="437" y="1269"/>
                  </a:lnTo>
                  <a:lnTo>
                    <a:pt x="437" y="1269"/>
                  </a:lnTo>
                  <a:lnTo>
                    <a:pt x="439" y="1272"/>
                  </a:lnTo>
                  <a:lnTo>
                    <a:pt x="439" y="1272"/>
                  </a:lnTo>
                  <a:lnTo>
                    <a:pt x="439" y="1272"/>
                  </a:lnTo>
                  <a:lnTo>
                    <a:pt x="442" y="1278"/>
                  </a:lnTo>
                  <a:lnTo>
                    <a:pt x="446" y="1287"/>
                  </a:lnTo>
                  <a:lnTo>
                    <a:pt x="446" y="1287"/>
                  </a:lnTo>
                  <a:lnTo>
                    <a:pt x="449" y="1291"/>
                  </a:lnTo>
                  <a:lnTo>
                    <a:pt x="450" y="1295"/>
                  </a:lnTo>
                  <a:lnTo>
                    <a:pt x="449" y="1298"/>
                  </a:lnTo>
                  <a:lnTo>
                    <a:pt x="449" y="1302"/>
                  </a:lnTo>
                  <a:lnTo>
                    <a:pt x="449" y="1302"/>
                  </a:lnTo>
                  <a:lnTo>
                    <a:pt x="446" y="1308"/>
                  </a:lnTo>
                  <a:lnTo>
                    <a:pt x="446" y="1308"/>
                  </a:lnTo>
                  <a:lnTo>
                    <a:pt x="446" y="1312"/>
                  </a:lnTo>
                  <a:lnTo>
                    <a:pt x="447" y="1317"/>
                  </a:lnTo>
                  <a:lnTo>
                    <a:pt x="455" y="1325"/>
                  </a:lnTo>
                  <a:lnTo>
                    <a:pt x="455" y="1325"/>
                  </a:lnTo>
                  <a:lnTo>
                    <a:pt x="460" y="1332"/>
                  </a:lnTo>
                  <a:lnTo>
                    <a:pt x="460" y="1332"/>
                  </a:lnTo>
                  <a:lnTo>
                    <a:pt x="465" y="1338"/>
                  </a:lnTo>
                  <a:lnTo>
                    <a:pt x="467" y="1341"/>
                  </a:lnTo>
                  <a:lnTo>
                    <a:pt x="472" y="1344"/>
                  </a:lnTo>
                  <a:lnTo>
                    <a:pt x="477" y="1344"/>
                  </a:lnTo>
                  <a:lnTo>
                    <a:pt x="477" y="1344"/>
                  </a:lnTo>
                  <a:lnTo>
                    <a:pt x="480" y="1344"/>
                  </a:lnTo>
                  <a:lnTo>
                    <a:pt x="480" y="1344"/>
                  </a:lnTo>
                  <a:lnTo>
                    <a:pt x="486" y="1342"/>
                  </a:lnTo>
                  <a:lnTo>
                    <a:pt x="492" y="1340"/>
                  </a:lnTo>
                  <a:lnTo>
                    <a:pt x="492" y="1340"/>
                  </a:lnTo>
                  <a:lnTo>
                    <a:pt x="497" y="1341"/>
                  </a:lnTo>
                  <a:lnTo>
                    <a:pt x="497" y="1341"/>
                  </a:lnTo>
                  <a:lnTo>
                    <a:pt x="500" y="1341"/>
                  </a:lnTo>
                  <a:lnTo>
                    <a:pt x="500" y="1341"/>
                  </a:lnTo>
                  <a:lnTo>
                    <a:pt x="510" y="1340"/>
                  </a:lnTo>
                  <a:lnTo>
                    <a:pt x="515" y="1337"/>
                  </a:lnTo>
                  <a:lnTo>
                    <a:pt x="520" y="1332"/>
                  </a:lnTo>
                  <a:lnTo>
                    <a:pt x="520" y="1332"/>
                  </a:lnTo>
                  <a:lnTo>
                    <a:pt x="522" y="1329"/>
                  </a:lnTo>
                  <a:lnTo>
                    <a:pt x="523" y="1327"/>
                  </a:lnTo>
                  <a:lnTo>
                    <a:pt x="522" y="1321"/>
                  </a:lnTo>
                  <a:lnTo>
                    <a:pt x="522" y="1321"/>
                  </a:lnTo>
                  <a:lnTo>
                    <a:pt x="520" y="1315"/>
                  </a:lnTo>
                  <a:lnTo>
                    <a:pt x="520" y="1315"/>
                  </a:lnTo>
                  <a:lnTo>
                    <a:pt x="522" y="1314"/>
                  </a:lnTo>
                  <a:lnTo>
                    <a:pt x="526" y="1314"/>
                  </a:lnTo>
                  <a:lnTo>
                    <a:pt x="526" y="1314"/>
                  </a:lnTo>
                  <a:lnTo>
                    <a:pt x="535" y="1312"/>
                  </a:lnTo>
                  <a:lnTo>
                    <a:pt x="535" y="1312"/>
                  </a:lnTo>
                  <a:lnTo>
                    <a:pt x="540" y="1311"/>
                  </a:lnTo>
                  <a:lnTo>
                    <a:pt x="542" y="1308"/>
                  </a:lnTo>
                  <a:lnTo>
                    <a:pt x="542" y="1308"/>
                  </a:lnTo>
                  <a:lnTo>
                    <a:pt x="542" y="1305"/>
                  </a:lnTo>
                  <a:lnTo>
                    <a:pt x="540" y="1302"/>
                  </a:lnTo>
                  <a:lnTo>
                    <a:pt x="540" y="1302"/>
                  </a:lnTo>
                  <a:lnTo>
                    <a:pt x="539" y="1301"/>
                  </a:lnTo>
                  <a:lnTo>
                    <a:pt x="539" y="1301"/>
                  </a:lnTo>
                  <a:lnTo>
                    <a:pt x="539" y="1298"/>
                  </a:lnTo>
                  <a:lnTo>
                    <a:pt x="543" y="1292"/>
                  </a:lnTo>
                  <a:lnTo>
                    <a:pt x="543" y="1292"/>
                  </a:lnTo>
                  <a:lnTo>
                    <a:pt x="548" y="1287"/>
                  </a:lnTo>
                  <a:lnTo>
                    <a:pt x="548" y="1287"/>
                  </a:lnTo>
                  <a:lnTo>
                    <a:pt x="552" y="1281"/>
                  </a:lnTo>
                  <a:lnTo>
                    <a:pt x="552" y="1281"/>
                  </a:lnTo>
                  <a:lnTo>
                    <a:pt x="555" y="1281"/>
                  </a:lnTo>
                  <a:lnTo>
                    <a:pt x="555" y="1281"/>
                  </a:lnTo>
                  <a:lnTo>
                    <a:pt x="559" y="1281"/>
                  </a:lnTo>
                  <a:lnTo>
                    <a:pt x="560" y="1279"/>
                  </a:lnTo>
                  <a:lnTo>
                    <a:pt x="560" y="1279"/>
                  </a:lnTo>
                  <a:lnTo>
                    <a:pt x="562" y="1278"/>
                  </a:lnTo>
                  <a:lnTo>
                    <a:pt x="563" y="1275"/>
                  </a:lnTo>
                  <a:lnTo>
                    <a:pt x="562" y="1269"/>
                  </a:lnTo>
                  <a:lnTo>
                    <a:pt x="560" y="1268"/>
                  </a:lnTo>
                  <a:lnTo>
                    <a:pt x="560" y="1268"/>
                  </a:lnTo>
                  <a:lnTo>
                    <a:pt x="560" y="1262"/>
                  </a:lnTo>
                  <a:lnTo>
                    <a:pt x="562" y="1258"/>
                  </a:lnTo>
                  <a:lnTo>
                    <a:pt x="562" y="1258"/>
                  </a:lnTo>
                  <a:lnTo>
                    <a:pt x="562" y="1254"/>
                  </a:lnTo>
                  <a:lnTo>
                    <a:pt x="562" y="1248"/>
                  </a:lnTo>
                  <a:lnTo>
                    <a:pt x="562" y="1248"/>
                  </a:lnTo>
                  <a:lnTo>
                    <a:pt x="560" y="1242"/>
                  </a:lnTo>
                  <a:lnTo>
                    <a:pt x="560" y="1242"/>
                  </a:lnTo>
                  <a:lnTo>
                    <a:pt x="560" y="1239"/>
                  </a:lnTo>
                  <a:lnTo>
                    <a:pt x="560" y="1235"/>
                  </a:lnTo>
                  <a:lnTo>
                    <a:pt x="560" y="1235"/>
                  </a:lnTo>
                  <a:lnTo>
                    <a:pt x="562" y="1227"/>
                  </a:lnTo>
                  <a:lnTo>
                    <a:pt x="566" y="1218"/>
                  </a:lnTo>
                  <a:lnTo>
                    <a:pt x="566" y="1218"/>
                  </a:lnTo>
                  <a:lnTo>
                    <a:pt x="569" y="1214"/>
                  </a:lnTo>
                  <a:lnTo>
                    <a:pt x="570" y="1211"/>
                  </a:lnTo>
                  <a:lnTo>
                    <a:pt x="570" y="1208"/>
                  </a:lnTo>
                  <a:lnTo>
                    <a:pt x="569" y="1205"/>
                  </a:lnTo>
                  <a:lnTo>
                    <a:pt x="569" y="1205"/>
                  </a:lnTo>
                  <a:lnTo>
                    <a:pt x="568" y="1202"/>
                  </a:lnTo>
                  <a:lnTo>
                    <a:pt x="568" y="1202"/>
                  </a:lnTo>
                  <a:lnTo>
                    <a:pt x="568" y="1199"/>
                  </a:lnTo>
                  <a:lnTo>
                    <a:pt x="568" y="1197"/>
                  </a:lnTo>
                  <a:lnTo>
                    <a:pt x="568" y="1197"/>
                  </a:lnTo>
                  <a:lnTo>
                    <a:pt x="569" y="1194"/>
                  </a:lnTo>
                  <a:lnTo>
                    <a:pt x="569" y="1189"/>
                  </a:lnTo>
                  <a:lnTo>
                    <a:pt x="569" y="1189"/>
                  </a:lnTo>
                  <a:lnTo>
                    <a:pt x="569" y="1182"/>
                  </a:lnTo>
                  <a:lnTo>
                    <a:pt x="566" y="1178"/>
                  </a:lnTo>
                  <a:lnTo>
                    <a:pt x="566" y="1178"/>
                  </a:lnTo>
                  <a:lnTo>
                    <a:pt x="565" y="1175"/>
                  </a:lnTo>
                  <a:lnTo>
                    <a:pt x="565" y="1175"/>
                  </a:lnTo>
                  <a:lnTo>
                    <a:pt x="562" y="1165"/>
                  </a:lnTo>
                  <a:lnTo>
                    <a:pt x="562" y="1165"/>
                  </a:lnTo>
                  <a:lnTo>
                    <a:pt x="562" y="1165"/>
                  </a:lnTo>
                  <a:lnTo>
                    <a:pt x="562" y="1161"/>
                  </a:lnTo>
                  <a:lnTo>
                    <a:pt x="562" y="1161"/>
                  </a:lnTo>
                  <a:lnTo>
                    <a:pt x="562" y="1158"/>
                  </a:lnTo>
                  <a:lnTo>
                    <a:pt x="563" y="1156"/>
                  </a:lnTo>
                  <a:lnTo>
                    <a:pt x="563" y="1156"/>
                  </a:lnTo>
                  <a:lnTo>
                    <a:pt x="565" y="1152"/>
                  </a:lnTo>
                  <a:lnTo>
                    <a:pt x="565" y="1149"/>
                  </a:lnTo>
                  <a:lnTo>
                    <a:pt x="565" y="1146"/>
                  </a:lnTo>
                  <a:lnTo>
                    <a:pt x="565" y="1146"/>
                  </a:lnTo>
                  <a:lnTo>
                    <a:pt x="562" y="1139"/>
                  </a:lnTo>
                  <a:lnTo>
                    <a:pt x="562" y="1131"/>
                  </a:lnTo>
                  <a:lnTo>
                    <a:pt x="563" y="1122"/>
                  </a:lnTo>
                  <a:lnTo>
                    <a:pt x="565" y="1115"/>
                  </a:lnTo>
                  <a:lnTo>
                    <a:pt x="565" y="1115"/>
                  </a:lnTo>
                  <a:lnTo>
                    <a:pt x="565" y="1114"/>
                  </a:lnTo>
                  <a:lnTo>
                    <a:pt x="565" y="1114"/>
                  </a:lnTo>
                  <a:lnTo>
                    <a:pt x="568" y="1118"/>
                  </a:lnTo>
                  <a:lnTo>
                    <a:pt x="569" y="1118"/>
                  </a:lnTo>
                  <a:lnTo>
                    <a:pt x="569" y="1118"/>
                  </a:lnTo>
                  <a:lnTo>
                    <a:pt x="572" y="1121"/>
                  </a:lnTo>
                  <a:lnTo>
                    <a:pt x="575" y="1121"/>
                  </a:lnTo>
                  <a:lnTo>
                    <a:pt x="575" y="1121"/>
                  </a:lnTo>
                  <a:lnTo>
                    <a:pt x="578" y="1119"/>
                  </a:lnTo>
                  <a:lnTo>
                    <a:pt x="580" y="1118"/>
                  </a:lnTo>
                  <a:lnTo>
                    <a:pt x="583" y="1111"/>
                  </a:lnTo>
                  <a:lnTo>
                    <a:pt x="583" y="1111"/>
                  </a:lnTo>
                  <a:lnTo>
                    <a:pt x="588" y="1102"/>
                  </a:lnTo>
                  <a:lnTo>
                    <a:pt x="588" y="1102"/>
                  </a:lnTo>
                  <a:lnTo>
                    <a:pt x="588" y="1102"/>
                  </a:lnTo>
                  <a:lnTo>
                    <a:pt x="588" y="1102"/>
                  </a:lnTo>
                  <a:lnTo>
                    <a:pt x="592" y="1101"/>
                  </a:lnTo>
                  <a:lnTo>
                    <a:pt x="592" y="1101"/>
                  </a:lnTo>
                  <a:lnTo>
                    <a:pt x="599" y="1101"/>
                  </a:lnTo>
                  <a:lnTo>
                    <a:pt x="606" y="1098"/>
                  </a:lnTo>
                  <a:lnTo>
                    <a:pt x="606" y="1098"/>
                  </a:lnTo>
                  <a:lnTo>
                    <a:pt x="610" y="1095"/>
                  </a:lnTo>
                  <a:lnTo>
                    <a:pt x="612" y="1092"/>
                  </a:lnTo>
                  <a:lnTo>
                    <a:pt x="612" y="1088"/>
                  </a:lnTo>
                  <a:lnTo>
                    <a:pt x="612" y="1085"/>
                  </a:lnTo>
                  <a:lnTo>
                    <a:pt x="612" y="1085"/>
                  </a:lnTo>
                  <a:lnTo>
                    <a:pt x="610" y="1079"/>
                  </a:lnTo>
                  <a:lnTo>
                    <a:pt x="610" y="1079"/>
                  </a:lnTo>
                  <a:lnTo>
                    <a:pt x="610" y="1076"/>
                  </a:lnTo>
                  <a:lnTo>
                    <a:pt x="613" y="1075"/>
                  </a:lnTo>
                  <a:lnTo>
                    <a:pt x="613" y="1075"/>
                  </a:lnTo>
                  <a:lnTo>
                    <a:pt x="618" y="1072"/>
                  </a:lnTo>
                  <a:lnTo>
                    <a:pt x="620" y="1071"/>
                  </a:lnTo>
                  <a:lnTo>
                    <a:pt x="622" y="1068"/>
                  </a:lnTo>
                  <a:lnTo>
                    <a:pt x="622" y="1068"/>
                  </a:lnTo>
                  <a:lnTo>
                    <a:pt x="622" y="1066"/>
                  </a:lnTo>
                  <a:lnTo>
                    <a:pt x="623" y="1065"/>
                  </a:lnTo>
                  <a:lnTo>
                    <a:pt x="626" y="1065"/>
                  </a:lnTo>
                  <a:lnTo>
                    <a:pt x="626" y="1065"/>
                  </a:lnTo>
                  <a:lnTo>
                    <a:pt x="629" y="1066"/>
                  </a:lnTo>
                  <a:lnTo>
                    <a:pt x="629" y="1066"/>
                  </a:lnTo>
                  <a:lnTo>
                    <a:pt x="630" y="1065"/>
                  </a:lnTo>
                  <a:lnTo>
                    <a:pt x="633" y="1064"/>
                  </a:lnTo>
                  <a:lnTo>
                    <a:pt x="633" y="1064"/>
                  </a:lnTo>
                  <a:lnTo>
                    <a:pt x="635" y="1062"/>
                  </a:lnTo>
                  <a:lnTo>
                    <a:pt x="635" y="1062"/>
                  </a:lnTo>
                  <a:lnTo>
                    <a:pt x="638" y="1058"/>
                  </a:lnTo>
                  <a:lnTo>
                    <a:pt x="640" y="1052"/>
                  </a:lnTo>
                  <a:lnTo>
                    <a:pt x="640" y="1052"/>
                  </a:lnTo>
                  <a:lnTo>
                    <a:pt x="643" y="1049"/>
                  </a:lnTo>
                  <a:lnTo>
                    <a:pt x="648" y="1046"/>
                  </a:lnTo>
                  <a:lnTo>
                    <a:pt x="648" y="1046"/>
                  </a:lnTo>
                  <a:lnTo>
                    <a:pt x="652" y="1044"/>
                  </a:lnTo>
                  <a:lnTo>
                    <a:pt x="658" y="1039"/>
                  </a:lnTo>
                  <a:lnTo>
                    <a:pt x="658" y="1039"/>
                  </a:lnTo>
                  <a:lnTo>
                    <a:pt x="668" y="1026"/>
                  </a:lnTo>
                  <a:lnTo>
                    <a:pt x="672" y="1018"/>
                  </a:lnTo>
                  <a:lnTo>
                    <a:pt x="675" y="1011"/>
                  </a:lnTo>
                  <a:lnTo>
                    <a:pt x="675" y="1011"/>
                  </a:lnTo>
                  <a:lnTo>
                    <a:pt x="678" y="1006"/>
                  </a:lnTo>
                  <a:lnTo>
                    <a:pt x="679" y="1005"/>
                  </a:lnTo>
                  <a:lnTo>
                    <a:pt x="679" y="1005"/>
                  </a:lnTo>
                  <a:lnTo>
                    <a:pt x="683" y="1003"/>
                  </a:lnTo>
                  <a:lnTo>
                    <a:pt x="683" y="1003"/>
                  </a:lnTo>
                  <a:lnTo>
                    <a:pt x="685" y="1003"/>
                  </a:lnTo>
                  <a:lnTo>
                    <a:pt x="686" y="1003"/>
                  </a:lnTo>
                  <a:lnTo>
                    <a:pt x="686" y="1003"/>
                  </a:lnTo>
                  <a:lnTo>
                    <a:pt x="692" y="1005"/>
                  </a:lnTo>
                  <a:lnTo>
                    <a:pt x="692" y="1005"/>
                  </a:lnTo>
                  <a:lnTo>
                    <a:pt x="695" y="1005"/>
                  </a:lnTo>
                  <a:lnTo>
                    <a:pt x="698" y="1003"/>
                  </a:lnTo>
                  <a:lnTo>
                    <a:pt x="700" y="1001"/>
                  </a:lnTo>
                  <a:lnTo>
                    <a:pt x="702" y="996"/>
                  </a:lnTo>
                  <a:lnTo>
                    <a:pt x="702" y="996"/>
                  </a:lnTo>
                  <a:lnTo>
                    <a:pt x="706" y="991"/>
                  </a:lnTo>
                  <a:lnTo>
                    <a:pt x="710" y="988"/>
                  </a:lnTo>
                  <a:lnTo>
                    <a:pt x="710" y="988"/>
                  </a:lnTo>
                  <a:lnTo>
                    <a:pt x="713" y="986"/>
                  </a:lnTo>
                  <a:lnTo>
                    <a:pt x="718" y="983"/>
                  </a:lnTo>
                  <a:lnTo>
                    <a:pt x="718" y="983"/>
                  </a:lnTo>
                  <a:lnTo>
                    <a:pt x="719" y="979"/>
                  </a:lnTo>
                  <a:lnTo>
                    <a:pt x="720" y="975"/>
                  </a:lnTo>
                  <a:lnTo>
                    <a:pt x="718" y="963"/>
                  </a:lnTo>
                  <a:lnTo>
                    <a:pt x="718" y="963"/>
                  </a:lnTo>
                  <a:lnTo>
                    <a:pt x="716" y="959"/>
                  </a:lnTo>
                  <a:lnTo>
                    <a:pt x="716" y="959"/>
                  </a:lnTo>
                  <a:lnTo>
                    <a:pt x="715" y="956"/>
                  </a:lnTo>
                  <a:lnTo>
                    <a:pt x="716" y="953"/>
                  </a:lnTo>
                  <a:lnTo>
                    <a:pt x="719" y="952"/>
                  </a:lnTo>
                  <a:lnTo>
                    <a:pt x="722" y="951"/>
                  </a:lnTo>
                  <a:lnTo>
                    <a:pt x="722" y="951"/>
                  </a:lnTo>
                  <a:lnTo>
                    <a:pt x="728" y="949"/>
                  </a:lnTo>
                  <a:lnTo>
                    <a:pt x="729" y="948"/>
                  </a:lnTo>
                  <a:lnTo>
                    <a:pt x="729" y="948"/>
                  </a:lnTo>
                  <a:lnTo>
                    <a:pt x="735" y="945"/>
                  </a:lnTo>
                  <a:lnTo>
                    <a:pt x="736" y="942"/>
                  </a:lnTo>
                  <a:lnTo>
                    <a:pt x="738" y="939"/>
                  </a:lnTo>
                  <a:lnTo>
                    <a:pt x="738" y="939"/>
                  </a:lnTo>
                  <a:lnTo>
                    <a:pt x="739" y="933"/>
                  </a:lnTo>
                  <a:lnTo>
                    <a:pt x="739" y="932"/>
                  </a:lnTo>
                  <a:lnTo>
                    <a:pt x="739" y="932"/>
                  </a:lnTo>
                  <a:lnTo>
                    <a:pt x="740" y="933"/>
                  </a:lnTo>
                  <a:lnTo>
                    <a:pt x="740" y="933"/>
                  </a:lnTo>
                  <a:lnTo>
                    <a:pt x="740" y="935"/>
                  </a:lnTo>
                  <a:lnTo>
                    <a:pt x="740" y="938"/>
                  </a:lnTo>
                  <a:lnTo>
                    <a:pt x="740" y="938"/>
                  </a:lnTo>
                  <a:lnTo>
                    <a:pt x="742" y="943"/>
                  </a:lnTo>
                  <a:lnTo>
                    <a:pt x="743" y="945"/>
                  </a:lnTo>
                  <a:lnTo>
                    <a:pt x="746" y="946"/>
                  </a:lnTo>
                  <a:lnTo>
                    <a:pt x="746" y="946"/>
                  </a:lnTo>
                  <a:lnTo>
                    <a:pt x="748" y="948"/>
                  </a:lnTo>
                  <a:lnTo>
                    <a:pt x="748" y="948"/>
                  </a:lnTo>
                  <a:lnTo>
                    <a:pt x="750" y="946"/>
                  </a:lnTo>
                  <a:lnTo>
                    <a:pt x="752" y="943"/>
                  </a:lnTo>
                  <a:lnTo>
                    <a:pt x="752" y="943"/>
                  </a:lnTo>
                  <a:lnTo>
                    <a:pt x="753" y="943"/>
                  </a:lnTo>
                  <a:lnTo>
                    <a:pt x="753" y="943"/>
                  </a:lnTo>
                  <a:lnTo>
                    <a:pt x="753" y="942"/>
                  </a:lnTo>
                  <a:lnTo>
                    <a:pt x="753" y="942"/>
                  </a:lnTo>
                  <a:lnTo>
                    <a:pt x="756" y="941"/>
                  </a:lnTo>
                  <a:lnTo>
                    <a:pt x="756" y="941"/>
                  </a:lnTo>
                  <a:lnTo>
                    <a:pt x="759" y="939"/>
                  </a:lnTo>
                  <a:lnTo>
                    <a:pt x="759" y="939"/>
                  </a:lnTo>
                  <a:lnTo>
                    <a:pt x="763" y="945"/>
                  </a:lnTo>
                  <a:lnTo>
                    <a:pt x="763" y="945"/>
                  </a:lnTo>
                  <a:lnTo>
                    <a:pt x="766" y="946"/>
                  </a:lnTo>
                  <a:lnTo>
                    <a:pt x="768" y="948"/>
                  </a:lnTo>
                  <a:lnTo>
                    <a:pt x="768" y="948"/>
                  </a:lnTo>
                  <a:lnTo>
                    <a:pt x="770" y="946"/>
                  </a:lnTo>
                  <a:lnTo>
                    <a:pt x="770" y="946"/>
                  </a:lnTo>
                  <a:lnTo>
                    <a:pt x="770" y="946"/>
                  </a:lnTo>
                  <a:lnTo>
                    <a:pt x="770" y="946"/>
                  </a:lnTo>
                  <a:lnTo>
                    <a:pt x="773" y="945"/>
                  </a:lnTo>
                  <a:lnTo>
                    <a:pt x="773" y="945"/>
                  </a:lnTo>
                  <a:lnTo>
                    <a:pt x="775" y="943"/>
                  </a:lnTo>
                  <a:lnTo>
                    <a:pt x="776" y="941"/>
                  </a:lnTo>
                  <a:lnTo>
                    <a:pt x="776" y="935"/>
                  </a:lnTo>
                  <a:lnTo>
                    <a:pt x="776" y="935"/>
                  </a:lnTo>
                  <a:lnTo>
                    <a:pt x="776" y="933"/>
                  </a:lnTo>
                  <a:lnTo>
                    <a:pt x="776" y="933"/>
                  </a:lnTo>
                  <a:lnTo>
                    <a:pt x="779" y="938"/>
                  </a:lnTo>
                  <a:lnTo>
                    <a:pt x="779" y="938"/>
                  </a:lnTo>
                  <a:lnTo>
                    <a:pt x="782" y="939"/>
                  </a:lnTo>
                  <a:lnTo>
                    <a:pt x="782" y="939"/>
                  </a:lnTo>
                  <a:lnTo>
                    <a:pt x="785" y="938"/>
                  </a:lnTo>
                  <a:lnTo>
                    <a:pt x="786" y="936"/>
                  </a:lnTo>
                  <a:lnTo>
                    <a:pt x="786" y="932"/>
                  </a:lnTo>
                  <a:lnTo>
                    <a:pt x="786" y="932"/>
                  </a:lnTo>
                  <a:lnTo>
                    <a:pt x="786" y="929"/>
                  </a:lnTo>
                  <a:lnTo>
                    <a:pt x="786" y="929"/>
                  </a:lnTo>
                  <a:lnTo>
                    <a:pt x="786" y="929"/>
                  </a:lnTo>
                  <a:lnTo>
                    <a:pt x="786" y="929"/>
                  </a:lnTo>
                  <a:lnTo>
                    <a:pt x="788" y="929"/>
                  </a:lnTo>
                  <a:lnTo>
                    <a:pt x="788" y="929"/>
                  </a:lnTo>
                  <a:lnTo>
                    <a:pt x="789" y="932"/>
                  </a:lnTo>
                  <a:lnTo>
                    <a:pt x="789" y="932"/>
                  </a:lnTo>
                  <a:lnTo>
                    <a:pt x="792" y="932"/>
                  </a:lnTo>
                  <a:lnTo>
                    <a:pt x="795" y="932"/>
                  </a:lnTo>
                  <a:lnTo>
                    <a:pt x="796" y="932"/>
                  </a:lnTo>
                  <a:lnTo>
                    <a:pt x="796" y="932"/>
                  </a:lnTo>
                  <a:lnTo>
                    <a:pt x="799" y="931"/>
                  </a:lnTo>
                  <a:lnTo>
                    <a:pt x="799" y="931"/>
                  </a:lnTo>
                  <a:lnTo>
                    <a:pt x="802" y="929"/>
                  </a:lnTo>
                  <a:lnTo>
                    <a:pt x="802" y="929"/>
                  </a:lnTo>
                  <a:lnTo>
                    <a:pt x="803" y="928"/>
                  </a:lnTo>
                  <a:lnTo>
                    <a:pt x="803" y="928"/>
                  </a:lnTo>
                  <a:lnTo>
                    <a:pt x="803" y="928"/>
                  </a:lnTo>
                  <a:lnTo>
                    <a:pt x="803" y="928"/>
                  </a:lnTo>
                  <a:lnTo>
                    <a:pt x="805" y="926"/>
                  </a:lnTo>
                  <a:lnTo>
                    <a:pt x="806" y="923"/>
                  </a:lnTo>
                  <a:lnTo>
                    <a:pt x="806" y="923"/>
                  </a:lnTo>
                  <a:lnTo>
                    <a:pt x="806" y="921"/>
                  </a:lnTo>
                  <a:lnTo>
                    <a:pt x="805" y="918"/>
                  </a:lnTo>
                  <a:lnTo>
                    <a:pt x="802" y="915"/>
                  </a:lnTo>
                  <a:lnTo>
                    <a:pt x="802" y="915"/>
                  </a:lnTo>
                  <a:lnTo>
                    <a:pt x="799" y="913"/>
                  </a:lnTo>
                  <a:lnTo>
                    <a:pt x="799" y="913"/>
                  </a:lnTo>
                  <a:lnTo>
                    <a:pt x="799" y="912"/>
                  </a:lnTo>
                  <a:lnTo>
                    <a:pt x="799" y="912"/>
                  </a:lnTo>
                  <a:lnTo>
                    <a:pt x="800" y="909"/>
                  </a:lnTo>
                  <a:lnTo>
                    <a:pt x="800" y="909"/>
                  </a:lnTo>
                  <a:lnTo>
                    <a:pt x="800" y="909"/>
                  </a:lnTo>
                  <a:lnTo>
                    <a:pt x="802" y="909"/>
                  </a:lnTo>
                  <a:lnTo>
                    <a:pt x="802" y="909"/>
                  </a:lnTo>
                  <a:lnTo>
                    <a:pt x="806" y="911"/>
                  </a:lnTo>
                  <a:lnTo>
                    <a:pt x="806" y="911"/>
                  </a:lnTo>
                  <a:lnTo>
                    <a:pt x="806" y="912"/>
                  </a:lnTo>
                  <a:lnTo>
                    <a:pt x="806" y="912"/>
                  </a:lnTo>
                  <a:lnTo>
                    <a:pt x="808" y="913"/>
                  </a:lnTo>
                  <a:lnTo>
                    <a:pt x="809" y="916"/>
                  </a:lnTo>
                  <a:lnTo>
                    <a:pt x="809" y="916"/>
                  </a:lnTo>
                  <a:lnTo>
                    <a:pt x="812" y="916"/>
                  </a:lnTo>
                  <a:lnTo>
                    <a:pt x="812" y="916"/>
                  </a:lnTo>
                  <a:lnTo>
                    <a:pt x="815" y="916"/>
                  </a:lnTo>
                  <a:lnTo>
                    <a:pt x="815" y="916"/>
                  </a:lnTo>
                  <a:lnTo>
                    <a:pt x="815" y="916"/>
                  </a:lnTo>
                  <a:lnTo>
                    <a:pt x="816" y="919"/>
                  </a:lnTo>
                  <a:lnTo>
                    <a:pt x="819" y="922"/>
                  </a:lnTo>
                  <a:lnTo>
                    <a:pt x="820" y="926"/>
                  </a:lnTo>
                  <a:lnTo>
                    <a:pt x="822" y="931"/>
                  </a:lnTo>
                  <a:lnTo>
                    <a:pt x="822" y="938"/>
                  </a:lnTo>
                  <a:lnTo>
                    <a:pt x="822" y="938"/>
                  </a:lnTo>
                  <a:lnTo>
                    <a:pt x="823" y="942"/>
                  </a:lnTo>
                  <a:lnTo>
                    <a:pt x="823" y="942"/>
                  </a:lnTo>
                  <a:lnTo>
                    <a:pt x="826" y="945"/>
                  </a:lnTo>
                  <a:lnTo>
                    <a:pt x="829" y="951"/>
                  </a:lnTo>
                  <a:lnTo>
                    <a:pt x="829" y="951"/>
                  </a:lnTo>
                  <a:lnTo>
                    <a:pt x="828" y="953"/>
                  </a:lnTo>
                  <a:lnTo>
                    <a:pt x="828" y="953"/>
                  </a:lnTo>
                  <a:lnTo>
                    <a:pt x="828" y="956"/>
                  </a:lnTo>
                  <a:lnTo>
                    <a:pt x="829" y="961"/>
                  </a:lnTo>
                  <a:lnTo>
                    <a:pt x="832" y="968"/>
                  </a:lnTo>
                  <a:lnTo>
                    <a:pt x="838" y="975"/>
                  </a:lnTo>
                  <a:lnTo>
                    <a:pt x="843" y="981"/>
                  </a:lnTo>
                  <a:lnTo>
                    <a:pt x="843" y="981"/>
                  </a:lnTo>
                  <a:lnTo>
                    <a:pt x="846" y="985"/>
                  </a:lnTo>
                  <a:lnTo>
                    <a:pt x="846" y="985"/>
                  </a:lnTo>
                  <a:lnTo>
                    <a:pt x="850" y="989"/>
                  </a:lnTo>
                  <a:lnTo>
                    <a:pt x="852" y="993"/>
                  </a:lnTo>
                  <a:lnTo>
                    <a:pt x="852" y="993"/>
                  </a:lnTo>
                  <a:lnTo>
                    <a:pt x="853" y="996"/>
                  </a:lnTo>
                  <a:lnTo>
                    <a:pt x="853" y="996"/>
                  </a:lnTo>
                  <a:lnTo>
                    <a:pt x="855" y="999"/>
                  </a:lnTo>
                  <a:lnTo>
                    <a:pt x="856" y="1001"/>
                  </a:lnTo>
                  <a:lnTo>
                    <a:pt x="858" y="1001"/>
                  </a:lnTo>
                  <a:lnTo>
                    <a:pt x="858" y="1001"/>
                  </a:lnTo>
                  <a:lnTo>
                    <a:pt x="861" y="999"/>
                  </a:lnTo>
                  <a:lnTo>
                    <a:pt x="861" y="999"/>
                  </a:lnTo>
                  <a:lnTo>
                    <a:pt x="863" y="999"/>
                  </a:lnTo>
                  <a:lnTo>
                    <a:pt x="865" y="998"/>
                  </a:lnTo>
                  <a:lnTo>
                    <a:pt x="865" y="998"/>
                  </a:lnTo>
                  <a:lnTo>
                    <a:pt x="865" y="998"/>
                  </a:lnTo>
                  <a:lnTo>
                    <a:pt x="869" y="999"/>
                  </a:lnTo>
                  <a:lnTo>
                    <a:pt x="869" y="999"/>
                  </a:lnTo>
                  <a:lnTo>
                    <a:pt x="869" y="999"/>
                  </a:lnTo>
                  <a:lnTo>
                    <a:pt x="869" y="999"/>
                  </a:lnTo>
                  <a:lnTo>
                    <a:pt x="871" y="1002"/>
                  </a:lnTo>
                  <a:lnTo>
                    <a:pt x="872" y="1003"/>
                  </a:lnTo>
                  <a:lnTo>
                    <a:pt x="873" y="1003"/>
                  </a:lnTo>
                  <a:lnTo>
                    <a:pt x="873" y="1003"/>
                  </a:lnTo>
                  <a:lnTo>
                    <a:pt x="875" y="1003"/>
                  </a:lnTo>
                  <a:lnTo>
                    <a:pt x="875" y="1003"/>
                  </a:lnTo>
                  <a:lnTo>
                    <a:pt x="872" y="1006"/>
                  </a:lnTo>
                  <a:lnTo>
                    <a:pt x="872" y="1006"/>
                  </a:lnTo>
                  <a:lnTo>
                    <a:pt x="868" y="1009"/>
                  </a:lnTo>
                  <a:lnTo>
                    <a:pt x="868" y="1012"/>
                  </a:lnTo>
                  <a:lnTo>
                    <a:pt x="868" y="1012"/>
                  </a:lnTo>
                  <a:lnTo>
                    <a:pt x="868" y="1015"/>
                  </a:lnTo>
                  <a:lnTo>
                    <a:pt x="871" y="1016"/>
                  </a:lnTo>
                  <a:lnTo>
                    <a:pt x="871" y="1016"/>
                  </a:lnTo>
                  <a:lnTo>
                    <a:pt x="872" y="1016"/>
                  </a:lnTo>
                  <a:lnTo>
                    <a:pt x="872" y="1016"/>
                  </a:lnTo>
                  <a:lnTo>
                    <a:pt x="873" y="1018"/>
                  </a:lnTo>
                  <a:lnTo>
                    <a:pt x="875" y="1021"/>
                  </a:lnTo>
                  <a:lnTo>
                    <a:pt x="875" y="1021"/>
                  </a:lnTo>
                  <a:lnTo>
                    <a:pt x="873" y="1021"/>
                  </a:lnTo>
                  <a:lnTo>
                    <a:pt x="872" y="1022"/>
                  </a:lnTo>
                  <a:lnTo>
                    <a:pt x="872" y="1022"/>
                  </a:lnTo>
                  <a:lnTo>
                    <a:pt x="869" y="1024"/>
                  </a:lnTo>
                  <a:lnTo>
                    <a:pt x="869" y="1026"/>
                  </a:lnTo>
                  <a:lnTo>
                    <a:pt x="869" y="1028"/>
                  </a:lnTo>
                  <a:lnTo>
                    <a:pt x="869" y="1028"/>
                  </a:lnTo>
                  <a:lnTo>
                    <a:pt x="869" y="1031"/>
                  </a:lnTo>
                  <a:lnTo>
                    <a:pt x="871" y="1032"/>
                  </a:lnTo>
                  <a:lnTo>
                    <a:pt x="878" y="1034"/>
                  </a:lnTo>
                  <a:lnTo>
                    <a:pt x="878" y="1034"/>
                  </a:lnTo>
                  <a:lnTo>
                    <a:pt x="883" y="1032"/>
                  </a:lnTo>
                  <a:lnTo>
                    <a:pt x="883" y="1032"/>
                  </a:lnTo>
                  <a:lnTo>
                    <a:pt x="885" y="1031"/>
                  </a:lnTo>
                  <a:lnTo>
                    <a:pt x="885" y="1031"/>
                  </a:lnTo>
                  <a:lnTo>
                    <a:pt x="886" y="1034"/>
                  </a:lnTo>
                  <a:lnTo>
                    <a:pt x="892" y="1035"/>
                  </a:lnTo>
                  <a:lnTo>
                    <a:pt x="892" y="1035"/>
                  </a:lnTo>
                  <a:lnTo>
                    <a:pt x="893" y="1035"/>
                  </a:lnTo>
                  <a:lnTo>
                    <a:pt x="893" y="1035"/>
                  </a:lnTo>
                  <a:lnTo>
                    <a:pt x="896" y="1039"/>
                  </a:lnTo>
                  <a:lnTo>
                    <a:pt x="898" y="1044"/>
                  </a:lnTo>
                  <a:lnTo>
                    <a:pt x="898" y="1045"/>
                  </a:lnTo>
                  <a:lnTo>
                    <a:pt x="898" y="1045"/>
                  </a:lnTo>
                  <a:lnTo>
                    <a:pt x="899" y="1049"/>
                  </a:lnTo>
                  <a:lnTo>
                    <a:pt x="901" y="1051"/>
                  </a:lnTo>
                  <a:lnTo>
                    <a:pt x="901" y="1051"/>
                  </a:lnTo>
                  <a:lnTo>
                    <a:pt x="902" y="1054"/>
                  </a:lnTo>
                  <a:lnTo>
                    <a:pt x="905" y="1061"/>
                  </a:lnTo>
                  <a:lnTo>
                    <a:pt x="905" y="1061"/>
                  </a:lnTo>
                  <a:lnTo>
                    <a:pt x="906" y="1069"/>
                  </a:lnTo>
                  <a:lnTo>
                    <a:pt x="905" y="1078"/>
                  </a:lnTo>
                  <a:lnTo>
                    <a:pt x="903" y="1086"/>
                  </a:lnTo>
                  <a:lnTo>
                    <a:pt x="902" y="1091"/>
                  </a:lnTo>
                  <a:lnTo>
                    <a:pt x="902" y="1091"/>
                  </a:lnTo>
                  <a:lnTo>
                    <a:pt x="899" y="1102"/>
                  </a:lnTo>
                  <a:lnTo>
                    <a:pt x="898" y="1109"/>
                  </a:lnTo>
                  <a:lnTo>
                    <a:pt x="898" y="1114"/>
                  </a:lnTo>
                  <a:lnTo>
                    <a:pt x="901" y="1115"/>
                  </a:lnTo>
                  <a:lnTo>
                    <a:pt x="901" y="1115"/>
                  </a:lnTo>
                  <a:lnTo>
                    <a:pt x="902" y="1115"/>
                  </a:lnTo>
                  <a:lnTo>
                    <a:pt x="905" y="1114"/>
                  </a:lnTo>
                  <a:lnTo>
                    <a:pt x="905" y="1114"/>
                  </a:lnTo>
                  <a:lnTo>
                    <a:pt x="909" y="1116"/>
                  </a:lnTo>
                  <a:lnTo>
                    <a:pt x="909" y="1116"/>
                  </a:lnTo>
                  <a:lnTo>
                    <a:pt x="915" y="1119"/>
                  </a:lnTo>
                  <a:lnTo>
                    <a:pt x="919" y="1121"/>
                  </a:lnTo>
                  <a:lnTo>
                    <a:pt x="919" y="1121"/>
                  </a:lnTo>
                  <a:lnTo>
                    <a:pt x="925" y="1119"/>
                  </a:lnTo>
                  <a:lnTo>
                    <a:pt x="925" y="1119"/>
                  </a:lnTo>
                  <a:lnTo>
                    <a:pt x="926" y="1118"/>
                  </a:lnTo>
                  <a:lnTo>
                    <a:pt x="926" y="1118"/>
                  </a:lnTo>
                  <a:lnTo>
                    <a:pt x="931" y="1121"/>
                  </a:lnTo>
                  <a:lnTo>
                    <a:pt x="931" y="1121"/>
                  </a:lnTo>
                  <a:lnTo>
                    <a:pt x="932" y="1121"/>
                  </a:lnTo>
                  <a:lnTo>
                    <a:pt x="932" y="1121"/>
                  </a:lnTo>
                  <a:lnTo>
                    <a:pt x="935" y="1121"/>
                  </a:lnTo>
                  <a:lnTo>
                    <a:pt x="935" y="1121"/>
                  </a:lnTo>
                  <a:lnTo>
                    <a:pt x="939" y="1119"/>
                  </a:lnTo>
                  <a:lnTo>
                    <a:pt x="939" y="1119"/>
                  </a:lnTo>
                  <a:lnTo>
                    <a:pt x="941" y="1119"/>
                  </a:lnTo>
                  <a:lnTo>
                    <a:pt x="941" y="1119"/>
                  </a:lnTo>
                  <a:lnTo>
                    <a:pt x="942" y="1118"/>
                  </a:lnTo>
                  <a:lnTo>
                    <a:pt x="942" y="1118"/>
                  </a:lnTo>
                  <a:lnTo>
                    <a:pt x="942" y="1119"/>
                  </a:lnTo>
                  <a:lnTo>
                    <a:pt x="942" y="1119"/>
                  </a:lnTo>
                  <a:lnTo>
                    <a:pt x="943" y="1121"/>
                  </a:lnTo>
                  <a:lnTo>
                    <a:pt x="946" y="1122"/>
                  </a:lnTo>
                  <a:lnTo>
                    <a:pt x="946" y="1122"/>
                  </a:lnTo>
                  <a:lnTo>
                    <a:pt x="949" y="1122"/>
                  </a:lnTo>
                  <a:lnTo>
                    <a:pt x="952" y="1121"/>
                  </a:lnTo>
                  <a:lnTo>
                    <a:pt x="953" y="1118"/>
                  </a:lnTo>
                  <a:lnTo>
                    <a:pt x="956" y="1112"/>
                  </a:lnTo>
                  <a:lnTo>
                    <a:pt x="956" y="1112"/>
                  </a:lnTo>
                  <a:lnTo>
                    <a:pt x="956" y="1109"/>
                  </a:lnTo>
                  <a:lnTo>
                    <a:pt x="956" y="1109"/>
                  </a:lnTo>
                  <a:lnTo>
                    <a:pt x="958" y="1108"/>
                  </a:lnTo>
                  <a:lnTo>
                    <a:pt x="963" y="1106"/>
                  </a:lnTo>
                  <a:lnTo>
                    <a:pt x="963" y="1106"/>
                  </a:lnTo>
                  <a:lnTo>
                    <a:pt x="969" y="1104"/>
                  </a:lnTo>
                  <a:lnTo>
                    <a:pt x="972" y="1102"/>
                  </a:lnTo>
                  <a:lnTo>
                    <a:pt x="976" y="1096"/>
                  </a:lnTo>
                  <a:lnTo>
                    <a:pt x="976" y="1096"/>
                  </a:lnTo>
                  <a:lnTo>
                    <a:pt x="979" y="1095"/>
                  </a:lnTo>
                  <a:lnTo>
                    <a:pt x="979" y="1095"/>
                  </a:lnTo>
                  <a:lnTo>
                    <a:pt x="981" y="1098"/>
                  </a:lnTo>
                  <a:lnTo>
                    <a:pt x="983" y="1101"/>
                  </a:lnTo>
                  <a:lnTo>
                    <a:pt x="985" y="1102"/>
                  </a:lnTo>
                  <a:lnTo>
                    <a:pt x="985" y="1102"/>
                  </a:lnTo>
                  <a:lnTo>
                    <a:pt x="986" y="1102"/>
                  </a:lnTo>
                  <a:lnTo>
                    <a:pt x="986" y="1102"/>
                  </a:lnTo>
                  <a:lnTo>
                    <a:pt x="986" y="1104"/>
                  </a:lnTo>
                  <a:lnTo>
                    <a:pt x="986" y="1104"/>
                  </a:lnTo>
                  <a:lnTo>
                    <a:pt x="986" y="1109"/>
                  </a:lnTo>
                  <a:lnTo>
                    <a:pt x="986" y="1109"/>
                  </a:lnTo>
                  <a:lnTo>
                    <a:pt x="988" y="1112"/>
                  </a:lnTo>
                  <a:lnTo>
                    <a:pt x="989" y="1114"/>
                  </a:lnTo>
                  <a:lnTo>
                    <a:pt x="992" y="1116"/>
                  </a:lnTo>
                  <a:lnTo>
                    <a:pt x="992" y="1116"/>
                  </a:lnTo>
                  <a:lnTo>
                    <a:pt x="993" y="1116"/>
                  </a:lnTo>
                  <a:lnTo>
                    <a:pt x="993" y="1119"/>
                  </a:lnTo>
                  <a:lnTo>
                    <a:pt x="993" y="1119"/>
                  </a:lnTo>
                  <a:lnTo>
                    <a:pt x="993" y="1129"/>
                  </a:lnTo>
                  <a:lnTo>
                    <a:pt x="995" y="1138"/>
                  </a:lnTo>
                  <a:lnTo>
                    <a:pt x="995" y="1138"/>
                  </a:lnTo>
                  <a:lnTo>
                    <a:pt x="996" y="1142"/>
                  </a:lnTo>
                  <a:lnTo>
                    <a:pt x="996" y="1142"/>
                  </a:lnTo>
                  <a:lnTo>
                    <a:pt x="998" y="1148"/>
                  </a:lnTo>
                  <a:lnTo>
                    <a:pt x="1001" y="1152"/>
                  </a:lnTo>
                  <a:lnTo>
                    <a:pt x="1001" y="1152"/>
                  </a:lnTo>
                  <a:lnTo>
                    <a:pt x="1003" y="1159"/>
                  </a:lnTo>
                  <a:lnTo>
                    <a:pt x="1005" y="1169"/>
                  </a:lnTo>
                  <a:lnTo>
                    <a:pt x="1005" y="1169"/>
                  </a:lnTo>
                  <a:lnTo>
                    <a:pt x="1005" y="1175"/>
                  </a:lnTo>
                  <a:lnTo>
                    <a:pt x="1006" y="1178"/>
                  </a:lnTo>
                  <a:lnTo>
                    <a:pt x="1008" y="1179"/>
                  </a:lnTo>
                  <a:lnTo>
                    <a:pt x="1011" y="1181"/>
                  </a:lnTo>
                  <a:lnTo>
                    <a:pt x="1011" y="1181"/>
                  </a:lnTo>
                  <a:lnTo>
                    <a:pt x="1015" y="1182"/>
                  </a:lnTo>
                  <a:lnTo>
                    <a:pt x="1015" y="1182"/>
                  </a:lnTo>
                  <a:lnTo>
                    <a:pt x="1018" y="1185"/>
                  </a:lnTo>
                  <a:lnTo>
                    <a:pt x="1021" y="1192"/>
                  </a:lnTo>
                  <a:lnTo>
                    <a:pt x="1026" y="1207"/>
                  </a:lnTo>
                  <a:lnTo>
                    <a:pt x="1026" y="1207"/>
                  </a:lnTo>
                  <a:lnTo>
                    <a:pt x="1028" y="1225"/>
                  </a:lnTo>
                  <a:lnTo>
                    <a:pt x="1029" y="1235"/>
                  </a:lnTo>
                  <a:lnTo>
                    <a:pt x="1028" y="1244"/>
                  </a:lnTo>
                  <a:lnTo>
                    <a:pt x="1028" y="1244"/>
                  </a:lnTo>
                  <a:lnTo>
                    <a:pt x="1029" y="1249"/>
                  </a:lnTo>
                  <a:lnTo>
                    <a:pt x="1031" y="1252"/>
                  </a:lnTo>
                  <a:lnTo>
                    <a:pt x="1031" y="1252"/>
                  </a:lnTo>
                  <a:lnTo>
                    <a:pt x="1031" y="1254"/>
                  </a:lnTo>
                  <a:lnTo>
                    <a:pt x="1031" y="1254"/>
                  </a:lnTo>
                  <a:lnTo>
                    <a:pt x="1029" y="1257"/>
                  </a:lnTo>
                  <a:lnTo>
                    <a:pt x="1029" y="1257"/>
                  </a:lnTo>
                  <a:lnTo>
                    <a:pt x="1028" y="1261"/>
                  </a:lnTo>
                  <a:lnTo>
                    <a:pt x="1026" y="1268"/>
                  </a:lnTo>
                  <a:lnTo>
                    <a:pt x="1026" y="1268"/>
                  </a:lnTo>
                  <a:lnTo>
                    <a:pt x="1026" y="1275"/>
                  </a:lnTo>
                  <a:lnTo>
                    <a:pt x="1026" y="1275"/>
                  </a:lnTo>
                  <a:lnTo>
                    <a:pt x="1025" y="1278"/>
                  </a:lnTo>
                  <a:lnTo>
                    <a:pt x="1026" y="1284"/>
                  </a:lnTo>
                  <a:lnTo>
                    <a:pt x="1026" y="1284"/>
                  </a:lnTo>
                  <a:lnTo>
                    <a:pt x="1028" y="1289"/>
                  </a:lnTo>
                  <a:lnTo>
                    <a:pt x="1031" y="1292"/>
                  </a:lnTo>
                  <a:lnTo>
                    <a:pt x="1031" y="1292"/>
                  </a:lnTo>
                  <a:lnTo>
                    <a:pt x="1028" y="1301"/>
                  </a:lnTo>
                  <a:lnTo>
                    <a:pt x="1028" y="1301"/>
                  </a:lnTo>
                  <a:lnTo>
                    <a:pt x="1025" y="1308"/>
                  </a:lnTo>
                  <a:lnTo>
                    <a:pt x="1025" y="1311"/>
                  </a:lnTo>
                  <a:lnTo>
                    <a:pt x="1025" y="1311"/>
                  </a:lnTo>
                  <a:lnTo>
                    <a:pt x="1023" y="1318"/>
                  </a:lnTo>
                  <a:lnTo>
                    <a:pt x="1023" y="1318"/>
                  </a:lnTo>
                  <a:lnTo>
                    <a:pt x="1023" y="1322"/>
                  </a:lnTo>
                  <a:lnTo>
                    <a:pt x="1023" y="1322"/>
                  </a:lnTo>
                  <a:lnTo>
                    <a:pt x="1022" y="1329"/>
                  </a:lnTo>
                  <a:lnTo>
                    <a:pt x="1021" y="1340"/>
                  </a:lnTo>
                  <a:lnTo>
                    <a:pt x="1021" y="1340"/>
                  </a:lnTo>
                  <a:lnTo>
                    <a:pt x="1022" y="1357"/>
                  </a:lnTo>
                  <a:lnTo>
                    <a:pt x="1023" y="1360"/>
                  </a:lnTo>
                  <a:lnTo>
                    <a:pt x="1025" y="1361"/>
                  </a:lnTo>
                  <a:lnTo>
                    <a:pt x="1025" y="1362"/>
                  </a:lnTo>
                  <a:lnTo>
                    <a:pt x="1026" y="1361"/>
                  </a:lnTo>
                  <a:lnTo>
                    <a:pt x="1026" y="1361"/>
                  </a:lnTo>
                  <a:lnTo>
                    <a:pt x="1028" y="1360"/>
                  </a:lnTo>
                  <a:lnTo>
                    <a:pt x="1028" y="1358"/>
                  </a:lnTo>
                  <a:lnTo>
                    <a:pt x="1028" y="1358"/>
                  </a:lnTo>
                  <a:lnTo>
                    <a:pt x="1029" y="1352"/>
                  </a:lnTo>
                  <a:lnTo>
                    <a:pt x="1029" y="1352"/>
                  </a:lnTo>
                  <a:lnTo>
                    <a:pt x="1031" y="1347"/>
                  </a:lnTo>
                  <a:lnTo>
                    <a:pt x="1032" y="1347"/>
                  </a:lnTo>
                  <a:lnTo>
                    <a:pt x="1033" y="1345"/>
                  </a:lnTo>
                  <a:lnTo>
                    <a:pt x="1033" y="1345"/>
                  </a:lnTo>
                  <a:lnTo>
                    <a:pt x="1033" y="1345"/>
                  </a:lnTo>
                  <a:lnTo>
                    <a:pt x="1033" y="1345"/>
                  </a:lnTo>
                  <a:lnTo>
                    <a:pt x="1035" y="1355"/>
                  </a:lnTo>
                  <a:lnTo>
                    <a:pt x="1036" y="1357"/>
                  </a:lnTo>
                  <a:lnTo>
                    <a:pt x="1038" y="1358"/>
                  </a:lnTo>
                  <a:lnTo>
                    <a:pt x="1038" y="1360"/>
                  </a:lnTo>
                  <a:lnTo>
                    <a:pt x="1038" y="1358"/>
                  </a:lnTo>
                  <a:lnTo>
                    <a:pt x="1038" y="1358"/>
                  </a:lnTo>
                  <a:lnTo>
                    <a:pt x="1041" y="1357"/>
                  </a:lnTo>
                  <a:lnTo>
                    <a:pt x="1041" y="1355"/>
                  </a:lnTo>
                  <a:lnTo>
                    <a:pt x="1041" y="1355"/>
                  </a:lnTo>
                  <a:lnTo>
                    <a:pt x="1042" y="1352"/>
                  </a:lnTo>
                  <a:lnTo>
                    <a:pt x="1042" y="1352"/>
                  </a:lnTo>
                  <a:lnTo>
                    <a:pt x="1045" y="1358"/>
                  </a:lnTo>
                  <a:lnTo>
                    <a:pt x="1048" y="1362"/>
                  </a:lnTo>
                  <a:lnTo>
                    <a:pt x="1048" y="1364"/>
                  </a:lnTo>
                  <a:lnTo>
                    <a:pt x="1048" y="1364"/>
                  </a:lnTo>
                  <a:lnTo>
                    <a:pt x="1049" y="1367"/>
                  </a:lnTo>
                  <a:lnTo>
                    <a:pt x="1052" y="1368"/>
                  </a:lnTo>
                  <a:lnTo>
                    <a:pt x="1052" y="1368"/>
                  </a:lnTo>
                  <a:lnTo>
                    <a:pt x="1053" y="1367"/>
                  </a:lnTo>
                  <a:lnTo>
                    <a:pt x="1056" y="1364"/>
                  </a:lnTo>
                  <a:lnTo>
                    <a:pt x="1056" y="1364"/>
                  </a:lnTo>
                  <a:lnTo>
                    <a:pt x="1058" y="1370"/>
                  </a:lnTo>
                  <a:lnTo>
                    <a:pt x="1058" y="1370"/>
                  </a:lnTo>
                  <a:lnTo>
                    <a:pt x="1061" y="1375"/>
                  </a:lnTo>
                  <a:lnTo>
                    <a:pt x="1061" y="1375"/>
                  </a:lnTo>
                  <a:lnTo>
                    <a:pt x="1063" y="1381"/>
                  </a:lnTo>
                  <a:lnTo>
                    <a:pt x="1063" y="1381"/>
                  </a:lnTo>
                  <a:lnTo>
                    <a:pt x="1063" y="1384"/>
                  </a:lnTo>
                  <a:lnTo>
                    <a:pt x="1065" y="1387"/>
                  </a:lnTo>
                  <a:lnTo>
                    <a:pt x="1068" y="1388"/>
                  </a:lnTo>
                  <a:lnTo>
                    <a:pt x="1072" y="1390"/>
                  </a:lnTo>
                  <a:lnTo>
                    <a:pt x="1072" y="1390"/>
                  </a:lnTo>
                  <a:lnTo>
                    <a:pt x="1072" y="1392"/>
                  </a:lnTo>
                  <a:lnTo>
                    <a:pt x="1072" y="1392"/>
                  </a:lnTo>
                  <a:lnTo>
                    <a:pt x="1073" y="1398"/>
                  </a:lnTo>
                  <a:lnTo>
                    <a:pt x="1076" y="1404"/>
                  </a:lnTo>
                  <a:lnTo>
                    <a:pt x="1081" y="1408"/>
                  </a:lnTo>
                  <a:lnTo>
                    <a:pt x="1081" y="1408"/>
                  </a:lnTo>
                  <a:lnTo>
                    <a:pt x="1082" y="1410"/>
                  </a:lnTo>
                  <a:lnTo>
                    <a:pt x="1082" y="1412"/>
                  </a:lnTo>
                  <a:lnTo>
                    <a:pt x="1081" y="1420"/>
                  </a:lnTo>
                  <a:lnTo>
                    <a:pt x="1081" y="1420"/>
                  </a:lnTo>
                  <a:lnTo>
                    <a:pt x="1079" y="1427"/>
                  </a:lnTo>
                  <a:lnTo>
                    <a:pt x="1079" y="1427"/>
                  </a:lnTo>
                  <a:lnTo>
                    <a:pt x="1078" y="1431"/>
                  </a:lnTo>
                  <a:lnTo>
                    <a:pt x="1078" y="1431"/>
                  </a:lnTo>
                  <a:lnTo>
                    <a:pt x="1079" y="1435"/>
                  </a:lnTo>
                  <a:lnTo>
                    <a:pt x="1082" y="1437"/>
                  </a:lnTo>
                  <a:lnTo>
                    <a:pt x="1082" y="1437"/>
                  </a:lnTo>
                  <a:lnTo>
                    <a:pt x="1083" y="1437"/>
                  </a:lnTo>
                  <a:lnTo>
                    <a:pt x="1083" y="1437"/>
                  </a:lnTo>
                  <a:lnTo>
                    <a:pt x="1086" y="1438"/>
                  </a:lnTo>
                  <a:lnTo>
                    <a:pt x="1088" y="1441"/>
                  </a:lnTo>
                  <a:lnTo>
                    <a:pt x="1089" y="1450"/>
                  </a:lnTo>
                  <a:lnTo>
                    <a:pt x="1089" y="1451"/>
                  </a:lnTo>
                  <a:lnTo>
                    <a:pt x="1089" y="1451"/>
                  </a:lnTo>
                  <a:lnTo>
                    <a:pt x="1089" y="1455"/>
                  </a:lnTo>
                  <a:lnTo>
                    <a:pt x="1089" y="1455"/>
                  </a:lnTo>
                  <a:lnTo>
                    <a:pt x="1091" y="1462"/>
                  </a:lnTo>
                  <a:lnTo>
                    <a:pt x="1091" y="1462"/>
                  </a:lnTo>
                  <a:lnTo>
                    <a:pt x="1092" y="1474"/>
                  </a:lnTo>
                  <a:lnTo>
                    <a:pt x="1093" y="1477"/>
                  </a:lnTo>
                  <a:lnTo>
                    <a:pt x="1098" y="1480"/>
                  </a:lnTo>
                  <a:lnTo>
                    <a:pt x="1098" y="1480"/>
                  </a:lnTo>
                  <a:lnTo>
                    <a:pt x="1102" y="1482"/>
                  </a:lnTo>
                  <a:lnTo>
                    <a:pt x="1105" y="1488"/>
                  </a:lnTo>
                  <a:lnTo>
                    <a:pt x="1111" y="1503"/>
                  </a:lnTo>
                  <a:lnTo>
                    <a:pt x="1111" y="1504"/>
                  </a:lnTo>
                  <a:lnTo>
                    <a:pt x="1111" y="1504"/>
                  </a:lnTo>
                  <a:lnTo>
                    <a:pt x="1113" y="1510"/>
                  </a:lnTo>
                  <a:lnTo>
                    <a:pt x="1113" y="1510"/>
                  </a:lnTo>
                  <a:lnTo>
                    <a:pt x="1112" y="1510"/>
                  </a:lnTo>
                  <a:lnTo>
                    <a:pt x="1112" y="1510"/>
                  </a:lnTo>
                  <a:lnTo>
                    <a:pt x="1109" y="1511"/>
                  </a:lnTo>
                  <a:lnTo>
                    <a:pt x="1108" y="1513"/>
                  </a:lnTo>
                  <a:lnTo>
                    <a:pt x="1108" y="1513"/>
                  </a:lnTo>
                  <a:lnTo>
                    <a:pt x="1106" y="1514"/>
                  </a:lnTo>
                  <a:lnTo>
                    <a:pt x="1105" y="1515"/>
                  </a:lnTo>
                  <a:lnTo>
                    <a:pt x="1105" y="1515"/>
                  </a:lnTo>
                  <a:lnTo>
                    <a:pt x="1103" y="1514"/>
                  </a:lnTo>
                  <a:lnTo>
                    <a:pt x="1103" y="1514"/>
                  </a:lnTo>
                  <a:lnTo>
                    <a:pt x="1102" y="1508"/>
                  </a:lnTo>
                  <a:lnTo>
                    <a:pt x="1102" y="1508"/>
                  </a:lnTo>
                  <a:lnTo>
                    <a:pt x="1102" y="1504"/>
                  </a:lnTo>
                  <a:lnTo>
                    <a:pt x="1099" y="1503"/>
                  </a:lnTo>
                  <a:lnTo>
                    <a:pt x="1096" y="1501"/>
                  </a:lnTo>
                  <a:lnTo>
                    <a:pt x="1096" y="1501"/>
                  </a:lnTo>
                  <a:lnTo>
                    <a:pt x="1092" y="1498"/>
                  </a:lnTo>
                  <a:lnTo>
                    <a:pt x="1092" y="1498"/>
                  </a:lnTo>
                  <a:lnTo>
                    <a:pt x="1091" y="1498"/>
                  </a:lnTo>
                  <a:lnTo>
                    <a:pt x="1091" y="1495"/>
                  </a:lnTo>
                  <a:lnTo>
                    <a:pt x="1091" y="1495"/>
                  </a:lnTo>
                  <a:lnTo>
                    <a:pt x="1089" y="1491"/>
                  </a:lnTo>
                  <a:lnTo>
                    <a:pt x="1086" y="1487"/>
                  </a:lnTo>
                  <a:lnTo>
                    <a:pt x="1073" y="1478"/>
                  </a:lnTo>
                  <a:lnTo>
                    <a:pt x="1073" y="1478"/>
                  </a:lnTo>
                  <a:lnTo>
                    <a:pt x="1063" y="1472"/>
                  </a:lnTo>
                  <a:lnTo>
                    <a:pt x="1063" y="1472"/>
                  </a:lnTo>
                  <a:lnTo>
                    <a:pt x="1056" y="1468"/>
                  </a:lnTo>
                  <a:lnTo>
                    <a:pt x="1056" y="1468"/>
                  </a:lnTo>
                  <a:lnTo>
                    <a:pt x="1058" y="1464"/>
                  </a:lnTo>
                  <a:lnTo>
                    <a:pt x="1058" y="1464"/>
                  </a:lnTo>
                  <a:lnTo>
                    <a:pt x="1056" y="1462"/>
                  </a:lnTo>
                  <a:lnTo>
                    <a:pt x="1053" y="1461"/>
                  </a:lnTo>
                  <a:lnTo>
                    <a:pt x="1049" y="1460"/>
                  </a:lnTo>
                  <a:lnTo>
                    <a:pt x="1049" y="1460"/>
                  </a:lnTo>
                  <a:lnTo>
                    <a:pt x="1045" y="1458"/>
                  </a:lnTo>
                  <a:lnTo>
                    <a:pt x="1045" y="1458"/>
                  </a:lnTo>
                  <a:lnTo>
                    <a:pt x="1043" y="1454"/>
                  </a:lnTo>
                  <a:lnTo>
                    <a:pt x="1043" y="1454"/>
                  </a:lnTo>
                  <a:lnTo>
                    <a:pt x="1043" y="1450"/>
                  </a:lnTo>
                  <a:lnTo>
                    <a:pt x="1042" y="1447"/>
                  </a:lnTo>
                  <a:lnTo>
                    <a:pt x="1042" y="1447"/>
                  </a:lnTo>
                  <a:lnTo>
                    <a:pt x="1041" y="1444"/>
                  </a:lnTo>
                  <a:lnTo>
                    <a:pt x="1041" y="1444"/>
                  </a:lnTo>
                  <a:lnTo>
                    <a:pt x="1032" y="1432"/>
                  </a:lnTo>
                  <a:lnTo>
                    <a:pt x="1026" y="1428"/>
                  </a:lnTo>
                  <a:lnTo>
                    <a:pt x="1023" y="1425"/>
                  </a:lnTo>
                  <a:lnTo>
                    <a:pt x="1021" y="1425"/>
                  </a:lnTo>
                  <a:lnTo>
                    <a:pt x="1021" y="1425"/>
                  </a:lnTo>
                  <a:lnTo>
                    <a:pt x="1013" y="1425"/>
                  </a:lnTo>
                  <a:lnTo>
                    <a:pt x="1006" y="1425"/>
                  </a:lnTo>
                  <a:lnTo>
                    <a:pt x="1006" y="1425"/>
                  </a:lnTo>
                  <a:lnTo>
                    <a:pt x="996" y="1427"/>
                  </a:lnTo>
                  <a:lnTo>
                    <a:pt x="996" y="1427"/>
                  </a:lnTo>
                  <a:lnTo>
                    <a:pt x="991" y="1425"/>
                  </a:lnTo>
                  <a:lnTo>
                    <a:pt x="991" y="1425"/>
                  </a:lnTo>
                  <a:lnTo>
                    <a:pt x="985" y="1421"/>
                  </a:lnTo>
                  <a:lnTo>
                    <a:pt x="979" y="1418"/>
                  </a:lnTo>
                  <a:lnTo>
                    <a:pt x="973" y="1415"/>
                  </a:lnTo>
                  <a:lnTo>
                    <a:pt x="973" y="1415"/>
                  </a:lnTo>
                  <a:lnTo>
                    <a:pt x="968" y="1414"/>
                  </a:lnTo>
                  <a:lnTo>
                    <a:pt x="968" y="1414"/>
                  </a:lnTo>
                  <a:lnTo>
                    <a:pt x="963" y="1415"/>
                  </a:lnTo>
                  <a:lnTo>
                    <a:pt x="962" y="1417"/>
                  </a:lnTo>
                  <a:lnTo>
                    <a:pt x="962" y="1417"/>
                  </a:lnTo>
                  <a:lnTo>
                    <a:pt x="961" y="1418"/>
                  </a:lnTo>
                  <a:lnTo>
                    <a:pt x="961" y="1421"/>
                  </a:lnTo>
                  <a:lnTo>
                    <a:pt x="963" y="1428"/>
                  </a:lnTo>
                  <a:lnTo>
                    <a:pt x="963" y="1428"/>
                  </a:lnTo>
                  <a:lnTo>
                    <a:pt x="966" y="1434"/>
                  </a:lnTo>
                  <a:lnTo>
                    <a:pt x="966" y="1434"/>
                  </a:lnTo>
                  <a:lnTo>
                    <a:pt x="969" y="1442"/>
                  </a:lnTo>
                  <a:lnTo>
                    <a:pt x="973" y="1451"/>
                  </a:lnTo>
                  <a:lnTo>
                    <a:pt x="981" y="1458"/>
                  </a:lnTo>
                  <a:lnTo>
                    <a:pt x="983" y="1460"/>
                  </a:lnTo>
                  <a:lnTo>
                    <a:pt x="988" y="1462"/>
                  </a:lnTo>
                  <a:lnTo>
                    <a:pt x="988" y="1462"/>
                  </a:lnTo>
                  <a:lnTo>
                    <a:pt x="992" y="1464"/>
                  </a:lnTo>
                  <a:lnTo>
                    <a:pt x="993" y="1465"/>
                  </a:lnTo>
                  <a:lnTo>
                    <a:pt x="993" y="1465"/>
                  </a:lnTo>
                  <a:lnTo>
                    <a:pt x="993" y="1465"/>
                  </a:lnTo>
                  <a:lnTo>
                    <a:pt x="993" y="1465"/>
                  </a:lnTo>
                  <a:lnTo>
                    <a:pt x="991" y="1467"/>
                  </a:lnTo>
                  <a:lnTo>
                    <a:pt x="991" y="1467"/>
                  </a:lnTo>
                  <a:lnTo>
                    <a:pt x="989" y="1470"/>
                  </a:lnTo>
                  <a:lnTo>
                    <a:pt x="988" y="1472"/>
                  </a:lnTo>
                  <a:lnTo>
                    <a:pt x="988" y="1472"/>
                  </a:lnTo>
                  <a:lnTo>
                    <a:pt x="989" y="1474"/>
                  </a:lnTo>
                  <a:lnTo>
                    <a:pt x="991" y="1475"/>
                  </a:lnTo>
                  <a:lnTo>
                    <a:pt x="995" y="1477"/>
                  </a:lnTo>
                  <a:lnTo>
                    <a:pt x="995" y="1477"/>
                  </a:lnTo>
                  <a:lnTo>
                    <a:pt x="1002" y="1478"/>
                  </a:lnTo>
                  <a:lnTo>
                    <a:pt x="1009" y="1481"/>
                  </a:lnTo>
                  <a:lnTo>
                    <a:pt x="1018" y="1487"/>
                  </a:lnTo>
                  <a:lnTo>
                    <a:pt x="1022" y="1492"/>
                  </a:lnTo>
                  <a:lnTo>
                    <a:pt x="1025" y="1498"/>
                  </a:lnTo>
                  <a:lnTo>
                    <a:pt x="1025" y="1498"/>
                  </a:lnTo>
                  <a:lnTo>
                    <a:pt x="1026" y="1503"/>
                  </a:lnTo>
                  <a:lnTo>
                    <a:pt x="1028" y="1507"/>
                  </a:lnTo>
                  <a:lnTo>
                    <a:pt x="1028" y="1507"/>
                  </a:lnTo>
                  <a:lnTo>
                    <a:pt x="1028" y="1511"/>
                  </a:lnTo>
                  <a:lnTo>
                    <a:pt x="1029" y="1514"/>
                  </a:lnTo>
                  <a:lnTo>
                    <a:pt x="1029" y="1514"/>
                  </a:lnTo>
                  <a:lnTo>
                    <a:pt x="1031" y="1515"/>
                  </a:lnTo>
                  <a:lnTo>
                    <a:pt x="1033" y="1517"/>
                  </a:lnTo>
                  <a:lnTo>
                    <a:pt x="1033" y="1517"/>
                  </a:lnTo>
                  <a:lnTo>
                    <a:pt x="1039" y="1517"/>
                  </a:lnTo>
                  <a:lnTo>
                    <a:pt x="1045" y="1520"/>
                  </a:lnTo>
                  <a:lnTo>
                    <a:pt x="1049" y="1524"/>
                  </a:lnTo>
                  <a:lnTo>
                    <a:pt x="1052" y="1530"/>
                  </a:lnTo>
                  <a:lnTo>
                    <a:pt x="1052" y="1530"/>
                  </a:lnTo>
                  <a:lnTo>
                    <a:pt x="1053" y="1535"/>
                  </a:lnTo>
                  <a:lnTo>
                    <a:pt x="1056" y="1544"/>
                  </a:lnTo>
                  <a:lnTo>
                    <a:pt x="1056" y="1544"/>
                  </a:lnTo>
                  <a:lnTo>
                    <a:pt x="1061" y="1563"/>
                  </a:lnTo>
                  <a:lnTo>
                    <a:pt x="1063" y="1568"/>
                  </a:lnTo>
                  <a:lnTo>
                    <a:pt x="1066" y="1574"/>
                  </a:lnTo>
                  <a:lnTo>
                    <a:pt x="1066" y="1574"/>
                  </a:lnTo>
                  <a:lnTo>
                    <a:pt x="1073" y="1577"/>
                  </a:lnTo>
                  <a:lnTo>
                    <a:pt x="1078" y="1578"/>
                  </a:lnTo>
                  <a:lnTo>
                    <a:pt x="1078" y="1578"/>
                  </a:lnTo>
                  <a:lnTo>
                    <a:pt x="1081" y="1580"/>
                  </a:lnTo>
                  <a:lnTo>
                    <a:pt x="1081" y="1580"/>
                  </a:lnTo>
                  <a:lnTo>
                    <a:pt x="1082" y="1584"/>
                  </a:lnTo>
                  <a:lnTo>
                    <a:pt x="1085" y="1593"/>
                  </a:lnTo>
                  <a:lnTo>
                    <a:pt x="1089" y="1603"/>
                  </a:lnTo>
                  <a:lnTo>
                    <a:pt x="1098" y="1613"/>
                  </a:lnTo>
                  <a:lnTo>
                    <a:pt x="1098" y="1613"/>
                  </a:lnTo>
                  <a:lnTo>
                    <a:pt x="1102" y="1617"/>
                  </a:lnTo>
                  <a:lnTo>
                    <a:pt x="1105" y="1621"/>
                  </a:lnTo>
                  <a:lnTo>
                    <a:pt x="1108" y="1628"/>
                  </a:lnTo>
                  <a:lnTo>
                    <a:pt x="1108" y="1628"/>
                  </a:lnTo>
                  <a:lnTo>
                    <a:pt x="1108" y="1633"/>
                  </a:lnTo>
                  <a:lnTo>
                    <a:pt x="1111" y="1640"/>
                  </a:lnTo>
                  <a:lnTo>
                    <a:pt x="1111" y="1640"/>
                  </a:lnTo>
                  <a:lnTo>
                    <a:pt x="1113" y="1650"/>
                  </a:lnTo>
                  <a:lnTo>
                    <a:pt x="1113" y="1650"/>
                  </a:lnTo>
                  <a:lnTo>
                    <a:pt x="1116" y="1658"/>
                  </a:lnTo>
                  <a:lnTo>
                    <a:pt x="1119" y="1663"/>
                  </a:lnTo>
                  <a:lnTo>
                    <a:pt x="1123" y="1667"/>
                  </a:lnTo>
                  <a:lnTo>
                    <a:pt x="1123" y="1667"/>
                  </a:lnTo>
                  <a:lnTo>
                    <a:pt x="1129" y="1673"/>
                  </a:lnTo>
                  <a:lnTo>
                    <a:pt x="1132" y="1678"/>
                  </a:lnTo>
                  <a:lnTo>
                    <a:pt x="1132" y="1678"/>
                  </a:lnTo>
                  <a:lnTo>
                    <a:pt x="1136" y="1686"/>
                  </a:lnTo>
                  <a:lnTo>
                    <a:pt x="1139" y="1688"/>
                  </a:lnTo>
                  <a:lnTo>
                    <a:pt x="1143" y="1691"/>
                  </a:lnTo>
                  <a:lnTo>
                    <a:pt x="1143" y="1691"/>
                  </a:lnTo>
                  <a:lnTo>
                    <a:pt x="1146" y="1696"/>
                  </a:lnTo>
                  <a:lnTo>
                    <a:pt x="1148" y="1698"/>
                  </a:lnTo>
                  <a:lnTo>
                    <a:pt x="1148" y="1698"/>
                  </a:lnTo>
                  <a:lnTo>
                    <a:pt x="1148" y="1701"/>
                  </a:lnTo>
                  <a:lnTo>
                    <a:pt x="1149" y="1706"/>
                  </a:lnTo>
                  <a:lnTo>
                    <a:pt x="1152" y="1708"/>
                  </a:lnTo>
                  <a:lnTo>
                    <a:pt x="1159" y="1714"/>
                  </a:lnTo>
                  <a:lnTo>
                    <a:pt x="1163" y="1716"/>
                  </a:lnTo>
                  <a:lnTo>
                    <a:pt x="1163" y="1716"/>
                  </a:lnTo>
                  <a:lnTo>
                    <a:pt x="1176" y="1723"/>
                  </a:lnTo>
                  <a:lnTo>
                    <a:pt x="1179" y="1726"/>
                  </a:lnTo>
                  <a:lnTo>
                    <a:pt x="1182" y="1730"/>
                  </a:lnTo>
                  <a:lnTo>
                    <a:pt x="1182" y="1730"/>
                  </a:lnTo>
                  <a:lnTo>
                    <a:pt x="1183" y="1733"/>
                  </a:lnTo>
                  <a:lnTo>
                    <a:pt x="1183" y="1733"/>
                  </a:lnTo>
                  <a:lnTo>
                    <a:pt x="1195" y="1751"/>
                  </a:lnTo>
                  <a:lnTo>
                    <a:pt x="1199" y="1757"/>
                  </a:lnTo>
                  <a:lnTo>
                    <a:pt x="1203" y="1758"/>
                  </a:lnTo>
                  <a:lnTo>
                    <a:pt x="1203" y="1758"/>
                  </a:lnTo>
                  <a:lnTo>
                    <a:pt x="1205" y="1758"/>
                  </a:lnTo>
                  <a:lnTo>
                    <a:pt x="1206" y="1756"/>
                  </a:lnTo>
                  <a:lnTo>
                    <a:pt x="1206" y="1756"/>
                  </a:lnTo>
                  <a:lnTo>
                    <a:pt x="1208" y="1751"/>
                  </a:lnTo>
                  <a:lnTo>
                    <a:pt x="1208" y="1748"/>
                  </a:lnTo>
                  <a:lnTo>
                    <a:pt x="1208" y="1748"/>
                  </a:lnTo>
                  <a:lnTo>
                    <a:pt x="1209" y="1750"/>
                  </a:lnTo>
                  <a:lnTo>
                    <a:pt x="1211" y="1751"/>
                  </a:lnTo>
                  <a:lnTo>
                    <a:pt x="1211" y="1751"/>
                  </a:lnTo>
                  <a:lnTo>
                    <a:pt x="1213" y="1754"/>
                  </a:lnTo>
                  <a:lnTo>
                    <a:pt x="1216" y="1754"/>
                  </a:lnTo>
                  <a:lnTo>
                    <a:pt x="1216" y="1754"/>
                  </a:lnTo>
                  <a:lnTo>
                    <a:pt x="1219" y="1754"/>
                  </a:lnTo>
                  <a:lnTo>
                    <a:pt x="1219" y="1754"/>
                  </a:lnTo>
                  <a:lnTo>
                    <a:pt x="1221" y="1753"/>
                  </a:lnTo>
                  <a:lnTo>
                    <a:pt x="1222" y="1750"/>
                  </a:lnTo>
                  <a:lnTo>
                    <a:pt x="1222" y="1746"/>
                  </a:lnTo>
                  <a:lnTo>
                    <a:pt x="1222" y="1746"/>
                  </a:lnTo>
                  <a:close/>
                  <a:moveTo>
                    <a:pt x="1376" y="911"/>
                  </a:moveTo>
                  <a:lnTo>
                    <a:pt x="1376" y="911"/>
                  </a:lnTo>
                  <a:lnTo>
                    <a:pt x="1372" y="906"/>
                  </a:lnTo>
                  <a:lnTo>
                    <a:pt x="1372" y="906"/>
                  </a:lnTo>
                  <a:lnTo>
                    <a:pt x="1372" y="905"/>
                  </a:lnTo>
                  <a:lnTo>
                    <a:pt x="1372" y="905"/>
                  </a:lnTo>
                  <a:lnTo>
                    <a:pt x="1372" y="905"/>
                  </a:lnTo>
                  <a:lnTo>
                    <a:pt x="1374" y="903"/>
                  </a:lnTo>
                  <a:lnTo>
                    <a:pt x="1375" y="903"/>
                  </a:lnTo>
                  <a:lnTo>
                    <a:pt x="1375" y="903"/>
                  </a:lnTo>
                  <a:lnTo>
                    <a:pt x="1379" y="905"/>
                  </a:lnTo>
                  <a:lnTo>
                    <a:pt x="1379" y="905"/>
                  </a:lnTo>
                  <a:lnTo>
                    <a:pt x="1378" y="905"/>
                  </a:lnTo>
                  <a:lnTo>
                    <a:pt x="1378" y="905"/>
                  </a:lnTo>
                  <a:lnTo>
                    <a:pt x="1378" y="909"/>
                  </a:lnTo>
                  <a:lnTo>
                    <a:pt x="1379" y="913"/>
                  </a:lnTo>
                  <a:lnTo>
                    <a:pt x="1379" y="913"/>
                  </a:lnTo>
                  <a:lnTo>
                    <a:pt x="1376" y="911"/>
                  </a:lnTo>
                  <a:lnTo>
                    <a:pt x="1376" y="911"/>
                  </a:lnTo>
                  <a:close/>
                  <a:moveTo>
                    <a:pt x="1145" y="1533"/>
                  </a:moveTo>
                  <a:lnTo>
                    <a:pt x="1145" y="1533"/>
                  </a:lnTo>
                  <a:lnTo>
                    <a:pt x="1141" y="1531"/>
                  </a:lnTo>
                  <a:lnTo>
                    <a:pt x="1138" y="1530"/>
                  </a:lnTo>
                  <a:lnTo>
                    <a:pt x="1138" y="1530"/>
                  </a:lnTo>
                  <a:lnTo>
                    <a:pt x="1138" y="1527"/>
                  </a:lnTo>
                  <a:lnTo>
                    <a:pt x="1138" y="1527"/>
                  </a:lnTo>
                  <a:lnTo>
                    <a:pt x="1139" y="1528"/>
                  </a:lnTo>
                  <a:lnTo>
                    <a:pt x="1139" y="1528"/>
                  </a:lnTo>
                  <a:lnTo>
                    <a:pt x="1148" y="1533"/>
                  </a:lnTo>
                  <a:lnTo>
                    <a:pt x="1148" y="1533"/>
                  </a:lnTo>
                  <a:lnTo>
                    <a:pt x="1145" y="1533"/>
                  </a:lnTo>
                  <a:lnTo>
                    <a:pt x="1145" y="1533"/>
                  </a:lnTo>
                  <a:close/>
                  <a:moveTo>
                    <a:pt x="1162" y="1547"/>
                  </a:moveTo>
                  <a:lnTo>
                    <a:pt x="1162" y="1547"/>
                  </a:lnTo>
                  <a:lnTo>
                    <a:pt x="1161" y="1547"/>
                  </a:lnTo>
                  <a:lnTo>
                    <a:pt x="1158" y="1545"/>
                  </a:lnTo>
                  <a:lnTo>
                    <a:pt x="1158" y="1545"/>
                  </a:lnTo>
                  <a:lnTo>
                    <a:pt x="1158" y="1544"/>
                  </a:lnTo>
                  <a:lnTo>
                    <a:pt x="1158" y="1543"/>
                  </a:lnTo>
                  <a:lnTo>
                    <a:pt x="1158" y="1543"/>
                  </a:lnTo>
                  <a:lnTo>
                    <a:pt x="1159" y="1540"/>
                  </a:lnTo>
                  <a:lnTo>
                    <a:pt x="1159" y="1540"/>
                  </a:lnTo>
                  <a:lnTo>
                    <a:pt x="1169" y="1550"/>
                  </a:lnTo>
                  <a:lnTo>
                    <a:pt x="1169" y="1550"/>
                  </a:lnTo>
                  <a:lnTo>
                    <a:pt x="1162" y="1547"/>
                  </a:lnTo>
                  <a:lnTo>
                    <a:pt x="1162" y="1547"/>
                  </a:lnTo>
                  <a:close/>
                  <a:moveTo>
                    <a:pt x="1175" y="1554"/>
                  </a:moveTo>
                  <a:lnTo>
                    <a:pt x="1175" y="1554"/>
                  </a:lnTo>
                  <a:lnTo>
                    <a:pt x="1175" y="1554"/>
                  </a:lnTo>
                  <a:lnTo>
                    <a:pt x="1175" y="1554"/>
                  </a:lnTo>
                  <a:lnTo>
                    <a:pt x="1175" y="1554"/>
                  </a:lnTo>
                  <a:lnTo>
                    <a:pt x="1175" y="1554"/>
                  </a:lnTo>
                  <a:lnTo>
                    <a:pt x="1175" y="1555"/>
                  </a:lnTo>
                  <a:lnTo>
                    <a:pt x="1175" y="1555"/>
                  </a:lnTo>
                  <a:lnTo>
                    <a:pt x="1175" y="1554"/>
                  </a:lnTo>
                  <a:lnTo>
                    <a:pt x="1175" y="15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02" name="Freeform 193"/>
            <p:cNvSpPr>
              <a:spLocks/>
            </p:cNvSpPr>
            <p:nvPr/>
          </p:nvSpPr>
          <p:spPr bwMode="auto">
            <a:xfrm>
              <a:off x="5867400" y="3662363"/>
              <a:ext cx="209550" cy="69850"/>
            </a:xfrm>
            <a:custGeom>
              <a:avLst/>
              <a:gdLst>
                <a:gd name="T0" fmla="*/ 143 w 266"/>
                <a:gd name="T1" fmla="*/ 71 h 89"/>
                <a:gd name="T2" fmla="*/ 164 w 266"/>
                <a:gd name="T3" fmla="*/ 73 h 89"/>
                <a:gd name="T4" fmla="*/ 176 w 266"/>
                <a:gd name="T5" fmla="*/ 76 h 89"/>
                <a:gd name="T6" fmla="*/ 196 w 266"/>
                <a:gd name="T7" fmla="*/ 70 h 89"/>
                <a:gd name="T8" fmla="*/ 206 w 266"/>
                <a:gd name="T9" fmla="*/ 74 h 89"/>
                <a:gd name="T10" fmla="*/ 223 w 266"/>
                <a:gd name="T11" fmla="*/ 84 h 89"/>
                <a:gd name="T12" fmla="*/ 237 w 266"/>
                <a:gd name="T13" fmla="*/ 89 h 89"/>
                <a:gd name="T14" fmla="*/ 240 w 266"/>
                <a:gd name="T15" fmla="*/ 87 h 89"/>
                <a:gd name="T16" fmla="*/ 234 w 266"/>
                <a:gd name="T17" fmla="*/ 77 h 89"/>
                <a:gd name="T18" fmla="*/ 249 w 266"/>
                <a:gd name="T19" fmla="*/ 84 h 89"/>
                <a:gd name="T20" fmla="*/ 257 w 266"/>
                <a:gd name="T21" fmla="*/ 86 h 89"/>
                <a:gd name="T22" fmla="*/ 266 w 266"/>
                <a:gd name="T23" fmla="*/ 69 h 89"/>
                <a:gd name="T24" fmla="*/ 253 w 266"/>
                <a:gd name="T25" fmla="*/ 58 h 89"/>
                <a:gd name="T26" fmla="*/ 242 w 266"/>
                <a:gd name="T27" fmla="*/ 64 h 89"/>
                <a:gd name="T28" fmla="*/ 234 w 266"/>
                <a:gd name="T29" fmla="*/ 58 h 89"/>
                <a:gd name="T30" fmla="*/ 227 w 266"/>
                <a:gd name="T31" fmla="*/ 48 h 89"/>
                <a:gd name="T32" fmla="*/ 217 w 266"/>
                <a:gd name="T33" fmla="*/ 48 h 89"/>
                <a:gd name="T34" fmla="*/ 207 w 266"/>
                <a:gd name="T35" fmla="*/ 53 h 89"/>
                <a:gd name="T36" fmla="*/ 199 w 266"/>
                <a:gd name="T37" fmla="*/ 51 h 89"/>
                <a:gd name="T38" fmla="*/ 200 w 266"/>
                <a:gd name="T39" fmla="*/ 44 h 89"/>
                <a:gd name="T40" fmla="*/ 223 w 266"/>
                <a:gd name="T41" fmla="*/ 40 h 89"/>
                <a:gd name="T42" fmla="*/ 230 w 266"/>
                <a:gd name="T43" fmla="*/ 28 h 89"/>
                <a:gd name="T44" fmla="*/ 226 w 266"/>
                <a:gd name="T45" fmla="*/ 20 h 89"/>
                <a:gd name="T46" fmla="*/ 216 w 266"/>
                <a:gd name="T47" fmla="*/ 17 h 89"/>
                <a:gd name="T48" fmla="*/ 213 w 266"/>
                <a:gd name="T49" fmla="*/ 24 h 89"/>
                <a:gd name="T50" fmla="*/ 202 w 266"/>
                <a:gd name="T51" fmla="*/ 24 h 89"/>
                <a:gd name="T52" fmla="*/ 190 w 266"/>
                <a:gd name="T53" fmla="*/ 30 h 89"/>
                <a:gd name="T54" fmla="*/ 183 w 266"/>
                <a:gd name="T55" fmla="*/ 28 h 89"/>
                <a:gd name="T56" fmla="*/ 170 w 266"/>
                <a:gd name="T57" fmla="*/ 26 h 89"/>
                <a:gd name="T58" fmla="*/ 156 w 266"/>
                <a:gd name="T59" fmla="*/ 21 h 89"/>
                <a:gd name="T60" fmla="*/ 139 w 266"/>
                <a:gd name="T61" fmla="*/ 21 h 89"/>
                <a:gd name="T62" fmla="*/ 132 w 266"/>
                <a:gd name="T63" fmla="*/ 23 h 89"/>
                <a:gd name="T64" fmla="*/ 133 w 266"/>
                <a:gd name="T65" fmla="*/ 30 h 89"/>
                <a:gd name="T66" fmla="*/ 112 w 266"/>
                <a:gd name="T67" fmla="*/ 26 h 89"/>
                <a:gd name="T68" fmla="*/ 84 w 266"/>
                <a:gd name="T69" fmla="*/ 24 h 89"/>
                <a:gd name="T70" fmla="*/ 84 w 266"/>
                <a:gd name="T71" fmla="*/ 10 h 89"/>
                <a:gd name="T72" fmla="*/ 72 w 266"/>
                <a:gd name="T73" fmla="*/ 6 h 89"/>
                <a:gd name="T74" fmla="*/ 57 w 266"/>
                <a:gd name="T75" fmla="*/ 4 h 89"/>
                <a:gd name="T76" fmla="*/ 52 w 266"/>
                <a:gd name="T77" fmla="*/ 3 h 89"/>
                <a:gd name="T78" fmla="*/ 46 w 266"/>
                <a:gd name="T79" fmla="*/ 8 h 89"/>
                <a:gd name="T80" fmla="*/ 42 w 266"/>
                <a:gd name="T81" fmla="*/ 10 h 89"/>
                <a:gd name="T82" fmla="*/ 24 w 266"/>
                <a:gd name="T83" fmla="*/ 0 h 89"/>
                <a:gd name="T84" fmla="*/ 13 w 266"/>
                <a:gd name="T85" fmla="*/ 3 h 89"/>
                <a:gd name="T86" fmla="*/ 10 w 266"/>
                <a:gd name="T87" fmla="*/ 16 h 89"/>
                <a:gd name="T88" fmla="*/ 2 w 266"/>
                <a:gd name="T89" fmla="*/ 21 h 89"/>
                <a:gd name="T90" fmla="*/ 4 w 266"/>
                <a:gd name="T91" fmla="*/ 27 h 89"/>
                <a:gd name="T92" fmla="*/ 13 w 266"/>
                <a:gd name="T93" fmla="*/ 28 h 89"/>
                <a:gd name="T94" fmla="*/ 23 w 266"/>
                <a:gd name="T95" fmla="*/ 33 h 89"/>
                <a:gd name="T96" fmla="*/ 23 w 266"/>
                <a:gd name="T97" fmla="*/ 37 h 89"/>
                <a:gd name="T98" fmla="*/ 29 w 266"/>
                <a:gd name="T99" fmla="*/ 46 h 89"/>
                <a:gd name="T100" fmla="*/ 43 w 266"/>
                <a:gd name="T101" fmla="*/ 48 h 89"/>
                <a:gd name="T102" fmla="*/ 53 w 266"/>
                <a:gd name="T103" fmla="*/ 50 h 89"/>
                <a:gd name="T104" fmla="*/ 69 w 266"/>
                <a:gd name="T105" fmla="*/ 58 h 89"/>
                <a:gd name="T106" fmla="*/ 82 w 266"/>
                <a:gd name="T107" fmla="*/ 53 h 89"/>
                <a:gd name="T108" fmla="*/ 114 w 266"/>
                <a:gd name="T109" fmla="*/ 6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6" h="89">
                  <a:moveTo>
                    <a:pt x="130" y="67"/>
                  </a:moveTo>
                  <a:lnTo>
                    <a:pt x="130" y="67"/>
                  </a:lnTo>
                  <a:lnTo>
                    <a:pt x="134" y="70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63" y="73"/>
                  </a:lnTo>
                  <a:lnTo>
                    <a:pt x="164" y="73"/>
                  </a:lnTo>
                  <a:lnTo>
                    <a:pt x="164" y="73"/>
                  </a:lnTo>
                  <a:lnTo>
                    <a:pt x="169" y="73"/>
                  </a:lnTo>
                  <a:lnTo>
                    <a:pt x="169" y="73"/>
                  </a:lnTo>
                  <a:lnTo>
                    <a:pt x="173" y="73"/>
                  </a:lnTo>
                  <a:lnTo>
                    <a:pt x="173" y="73"/>
                  </a:lnTo>
                  <a:lnTo>
                    <a:pt x="176" y="76"/>
                  </a:lnTo>
                  <a:lnTo>
                    <a:pt x="182" y="77"/>
                  </a:lnTo>
                  <a:lnTo>
                    <a:pt x="182" y="77"/>
                  </a:lnTo>
                  <a:lnTo>
                    <a:pt x="190" y="76"/>
                  </a:lnTo>
                  <a:lnTo>
                    <a:pt x="194" y="73"/>
                  </a:lnTo>
                  <a:lnTo>
                    <a:pt x="196" y="70"/>
                  </a:lnTo>
                  <a:lnTo>
                    <a:pt x="196" y="70"/>
                  </a:lnTo>
                  <a:lnTo>
                    <a:pt x="199" y="70"/>
                  </a:lnTo>
                  <a:lnTo>
                    <a:pt x="199" y="70"/>
                  </a:lnTo>
                  <a:lnTo>
                    <a:pt x="203" y="71"/>
                  </a:lnTo>
                  <a:lnTo>
                    <a:pt x="206" y="74"/>
                  </a:lnTo>
                  <a:lnTo>
                    <a:pt x="206" y="74"/>
                  </a:lnTo>
                  <a:lnTo>
                    <a:pt x="207" y="77"/>
                  </a:lnTo>
                  <a:lnTo>
                    <a:pt x="210" y="80"/>
                  </a:lnTo>
                  <a:lnTo>
                    <a:pt x="222" y="83"/>
                  </a:lnTo>
                  <a:lnTo>
                    <a:pt x="223" y="84"/>
                  </a:lnTo>
                  <a:lnTo>
                    <a:pt x="223" y="84"/>
                  </a:lnTo>
                  <a:lnTo>
                    <a:pt x="230" y="86"/>
                  </a:lnTo>
                  <a:lnTo>
                    <a:pt x="233" y="87"/>
                  </a:lnTo>
                  <a:lnTo>
                    <a:pt x="233" y="87"/>
                  </a:lnTo>
                  <a:lnTo>
                    <a:pt x="237" y="89"/>
                  </a:lnTo>
                  <a:lnTo>
                    <a:pt x="237" y="89"/>
                  </a:lnTo>
                  <a:lnTo>
                    <a:pt x="237" y="89"/>
                  </a:lnTo>
                  <a:lnTo>
                    <a:pt x="239" y="89"/>
                  </a:lnTo>
                  <a:lnTo>
                    <a:pt x="240" y="87"/>
                  </a:lnTo>
                  <a:lnTo>
                    <a:pt x="240" y="87"/>
                  </a:lnTo>
                  <a:lnTo>
                    <a:pt x="240" y="84"/>
                  </a:lnTo>
                  <a:lnTo>
                    <a:pt x="237" y="80"/>
                  </a:lnTo>
                  <a:lnTo>
                    <a:pt x="237" y="80"/>
                  </a:lnTo>
                  <a:lnTo>
                    <a:pt x="234" y="77"/>
                  </a:lnTo>
                  <a:lnTo>
                    <a:pt x="234" y="77"/>
                  </a:lnTo>
                  <a:lnTo>
                    <a:pt x="239" y="77"/>
                  </a:lnTo>
                  <a:lnTo>
                    <a:pt x="239" y="77"/>
                  </a:lnTo>
                  <a:lnTo>
                    <a:pt x="242" y="77"/>
                  </a:lnTo>
                  <a:lnTo>
                    <a:pt x="244" y="79"/>
                  </a:lnTo>
                  <a:lnTo>
                    <a:pt x="249" y="84"/>
                  </a:lnTo>
                  <a:lnTo>
                    <a:pt x="249" y="84"/>
                  </a:lnTo>
                  <a:lnTo>
                    <a:pt x="252" y="86"/>
                  </a:lnTo>
                  <a:lnTo>
                    <a:pt x="254" y="86"/>
                  </a:lnTo>
                  <a:lnTo>
                    <a:pt x="254" y="86"/>
                  </a:lnTo>
                  <a:lnTo>
                    <a:pt x="257" y="86"/>
                  </a:lnTo>
                  <a:lnTo>
                    <a:pt x="260" y="83"/>
                  </a:lnTo>
                  <a:lnTo>
                    <a:pt x="264" y="77"/>
                  </a:lnTo>
                  <a:lnTo>
                    <a:pt x="264" y="77"/>
                  </a:lnTo>
                  <a:lnTo>
                    <a:pt x="266" y="73"/>
                  </a:lnTo>
                  <a:lnTo>
                    <a:pt x="266" y="69"/>
                  </a:lnTo>
                  <a:lnTo>
                    <a:pt x="263" y="64"/>
                  </a:lnTo>
                  <a:lnTo>
                    <a:pt x="260" y="61"/>
                  </a:lnTo>
                  <a:lnTo>
                    <a:pt x="260" y="61"/>
                  </a:lnTo>
                  <a:lnTo>
                    <a:pt x="256" y="60"/>
                  </a:lnTo>
                  <a:lnTo>
                    <a:pt x="253" y="58"/>
                  </a:lnTo>
                  <a:lnTo>
                    <a:pt x="253" y="58"/>
                  </a:lnTo>
                  <a:lnTo>
                    <a:pt x="249" y="60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2" y="64"/>
                  </a:lnTo>
                  <a:lnTo>
                    <a:pt x="242" y="64"/>
                  </a:lnTo>
                  <a:lnTo>
                    <a:pt x="239" y="61"/>
                  </a:lnTo>
                  <a:lnTo>
                    <a:pt x="239" y="61"/>
                  </a:lnTo>
                  <a:lnTo>
                    <a:pt x="234" y="58"/>
                  </a:lnTo>
                  <a:lnTo>
                    <a:pt x="234" y="58"/>
                  </a:lnTo>
                  <a:lnTo>
                    <a:pt x="233" y="57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30" y="51"/>
                  </a:lnTo>
                  <a:lnTo>
                    <a:pt x="227" y="48"/>
                  </a:lnTo>
                  <a:lnTo>
                    <a:pt x="227" y="48"/>
                  </a:lnTo>
                  <a:lnTo>
                    <a:pt x="224" y="47"/>
                  </a:lnTo>
                  <a:lnTo>
                    <a:pt x="223" y="47"/>
                  </a:lnTo>
                  <a:lnTo>
                    <a:pt x="217" y="48"/>
                  </a:lnTo>
                  <a:lnTo>
                    <a:pt x="217" y="48"/>
                  </a:lnTo>
                  <a:lnTo>
                    <a:pt x="213" y="51"/>
                  </a:lnTo>
                  <a:lnTo>
                    <a:pt x="213" y="51"/>
                  </a:lnTo>
                  <a:lnTo>
                    <a:pt x="210" y="53"/>
                  </a:lnTo>
                  <a:lnTo>
                    <a:pt x="210" y="53"/>
                  </a:lnTo>
                  <a:lnTo>
                    <a:pt x="207" y="53"/>
                  </a:lnTo>
                  <a:lnTo>
                    <a:pt x="207" y="53"/>
                  </a:lnTo>
                  <a:lnTo>
                    <a:pt x="200" y="51"/>
                  </a:lnTo>
                  <a:lnTo>
                    <a:pt x="200" y="51"/>
                  </a:lnTo>
                  <a:lnTo>
                    <a:pt x="199" y="51"/>
                  </a:lnTo>
                  <a:lnTo>
                    <a:pt x="199" y="51"/>
                  </a:lnTo>
                  <a:lnTo>
                    <a:pt x="199" y="50"/>
                  </a:lnTo>
                  <a:lnTo>
                    <a:pt x="199" y="50"/>
                  </a:lnTo>
                  <a:lnTo>
                    <a:pt x="200" y="47"/>
                  </a:lnTo>
                  <a:lnTo>
                    <a:pt x="200" y="44"/>
                  </a:lnTo>
                  <a:lnTo>
                    <a:pt x="200" y="44"/>
                  </a:lnTo>
                  <a:lnTo>
                    <a:pt x="204" y="43"/>
                  </a:lnTo>
                  <a:lnTo>
                    <a:pt x="210" y="43"/>
                  </a:lnTo>
                  <a:lnTo>
                    <a:pt x="210" y="43"/>
                  </a:lnTo>
                  <a:lnTo>
                    <a:pt x="219" y="41"/>
                  </a:lnTo>
                  <a:lnTo>
                    <a:pt x="223" y="40"/>
                  </a:lnTo>
                  <a:lnTo>
                    <a:pt x="226" y="38"/>
                  </a:lnTo>
                  <a:lnTo>
                    <a:pt x="226" y="38"/>
                  </a:lnTo>
                  <a:lnTo>
                    <a:pt x="230" y="33"/>
                  </a:lnTo>
                  <a:lnTo>
                    <a:pt x="230" y="30"/>
                  </a:lnTo>
                  <a:lnTo>
                    <a:pt x="230" y="28"/>
                  </a:lnTo>
                  <a:lnTo>
                    <a:pt x="230" y="28"/>
                  </a:lnTo>
                  <a:lnTo>
                    <a:pt x="229" y="27"/>
                  </a:lnTo>
                  <a:lnTo>
                    <a:pt x="229" y="27"/>
                  </a:lnTo>
                  <a:lnTo>
                    <a:pt x="227" y="23"/>
                  </a:lnTo>
                  <a:lnTo>
                    <a:pt x="226" y="20"/>
                  </a:lnTo>
                  <a:lnTo>
                    <a:pt x="223" y="18"/>
                  </a:lnTo>
                  <a:lnTo>
                    <a:pt x="219" y="17"/>
                  </a:lnTo>
                  <a:lnTo>
                    <a:pt x="219" y="17"/>
                  </a:lnTo>
                  <a:lnTo>
                    <a:pt x="219" y="17"/>
                  </a:lnTo>
                  <a:lnTo>
                    <a:pt x="216" y="17"/>
                  </a:lnTo>
                  <a:lnTo>
                    <a:pt x="214" y="18"/>
                  </a:lnTo>
                  <a:lnTo>
                    <a:pt x="214" y="18"/>
                  </a:lnTo>
                  <a:lnTo>
                    <a:pt x="213" y="21"/>
                  </a:lnTo>
                  <a:lnTo>
                    <a:pt x="213" y="24"/>
                  </a:lnTo>
                  <a:lnTo>
                    <a:pt x="213" y="24"/>
                  </a:lnTo>
                  <a:lnTo>
                    <a:pt x="209" y="24"/>
                  </a:lnTo>
                  <a:lnTo>
                    <a:pt x="209" y="24"/>
                  </a:lnTo>
                  <a:lnTo>
                    <a:pt x="206" y="24"/>
                  </a:lnTo>
                  <a:lnTo>
                    <a:pt x="206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193" y="24"/>
                  </a:lnTo>
                  <a:lnTo>
                    <a:pt x="193" y="24"/>
                  </a:lnTo>
                  <a:lnTo>
                    <a:pt x="190" y="27"/>
                  </a:lnTo>
                  <a:lnTo>
                    <a:pt x="190" y="30"/>
                  </a:lnTo>
                  <a:lnTo>
                    <a:pt x="190" y="30"/>
                  </a:lnTo>
                  <a:lnTo>
                    <a:pt x="187" y="28"/>
                  </a:lnTo>
                  <a:lnTo>
                    <a:pt x="186" y="27"/>
                  </a:lnTo>
                  <a:lnTo>
                    <a:pt x="186" y="27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80" y="28"/>
                  </a:lnTo>
                  <a:lnTo>
                    <a:pt x="176" y="28"/>
                  </a:lnTo>
                  <a:lnTo>
                    <a:pt x="173" y="27"/>
                  </a:lnTo>
                  <a:lnTo>
                    <a:pt x="170" y="26"/>
                  </a:lnTo>
                  <a:lnTo>
                    <a:pt x="170" y="26"/>
                  </a:lnTo>
                  <a:lnTo>
                    <a:pt x="167" y="23"/>
                  </a:lnTo>
                  <a:lnTo>
                    <a:pt x="163" y="21"/>
                  </a:lnTo>
                  <a:lnTo>
                    <a:pt x="156" y="21"/>
                  </a:lnTo>
                  <a:lnTo>
                    <a:pt x="156" y="21"/>
                  </a:lnTo>
                  <a:lnTo>
                    <a:pt x="149" y="21"/>
                  </a:lnTo>
                  <a:lnTo>
                    <a:pt x="144" y="23"/>
                  </a:lnTo>
                  <a:lnTo>
                    <a:pt x="144" y="23"/>
                  </a:lnTo>
                  <a:lnTo>
                    <a:pt x="142" y="23"/>
                  </a:lnTo>
                  <a:lnTo>
                    <a:pt x="139" y="21"/>
                  </a:lnTo>
                  <a:lnTo>
                    <a:pt x="139" y="21"/>
                  </a:lnTo>
                  <a:lnTo>
                    <a:pt x="136" y="20"/>
                  </a:lnTo>
                  <a:lnTo>
                    <a:pt x="136" y="20"/>
                  </a:lnTo>
                  <a:lnTo>
                    <a:pt x="133" y="20"/>
                  </a:lnTo>
                  <a:lnTo>
                    <a:pt x="132" y="23"/>
                  </a:lnTo>
                  <a:lnTo>
                    <a:pt x="132" y="23"/>
                  </a:lnTo>
                  <a:lnTo>
                    <a:pt x="132" y="27"/>
                  </a:lnTo>
                  <a:lnTo>
                    <a:pt x="133" y="30"/>
                  </a:lnTo>
                  <a:lnTo>
                    <a:pt x="133" y="30"/>
                  </a:lnTo>
                  <a:lnTo>
                    <a:pt x="133" y="30"/>
                  </a:lnTo>
                  <a:lnTo>
                    <a:pt x="133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22" y="27"/>
                  </a:lnTo>
                  <a:lnTo>
                    <a:pt x="112" y="26"/>
                  </a:lnTo>
                  <a:lnTo>
                    <a:pt x="90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6" y="14"/>
                  </a:lnTo>
                  <a:lnTo>
                    <a:pt x="86" y="11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2" y="7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59" y="6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6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7" y="4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0" y="3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3" y="3"/>
                  </a:lnTo>
                  <a:lnTo>
                    <a:pt x="12" y="6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3" y="20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0" y="24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4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6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9" y="31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40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6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52" y="48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6" y="53"/>
                  </a:lnTo>
                  <a:lnTo>
                    <a:pt x="59" y="56"/>
                  </a:lnTo>
                  <a:lnTo>
                    <a:pt x="63" y="57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73" y="57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82" y="53"/>
                  </a:lnTo>
                  <a:lnTo>
                    <a:pt x="84" y="53"/>
                  </a:lnTo>
                  <a:lnTo>
                    <a:pt x="97" y="56"/>
                  </a:lnTo>
                  <a:lnTo>
                    <a:pt x="97" y="56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26" y="63"/>
                  </a:lnTo>
                  <a:lnTo>
                    <a:pt x="130" y="67"/>
                  </a:lnTo>
                  <a:lnTo>
                    <a:pt x="130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03" name="Freeform 194"/>
            <p:cNvSpPr>
              <a:spLocks/>
            </p:cNvSpPr>
            <p:nvPr/>
          </p:nvSpPr>
          <p:spPr bwMode="auto">
            <a:xfrm>
              <a:off x="5942013" y="3363913"/>
              <a:ext cx="217488" cy="258762"/>
            </a:xfrm>
            <a:custGeom>
              <a:avLst/>
              <a:gdLst>
                <a:gd name="T0" fmla="*/ 167 w 273"/>
                <a:gd name="T1" fmla="*/ 319 h 326"/>
                <a:gd name="T2" fmla="*/ 186 w 273"/>
                <a:gd name="T3" fmla="*/ 323 h 326"/>
                <a:gd name="T4" fmla="*/ 196 w 273"/>
                <a:gd name="T5" fmla="*/ 319 h 326"/>
                <a:gd name="T6" fmla="*/ 200 w 273"/>
                <a:gd name="T7" fmla="*/ 307 h 326"/>
                <a:gd name="T8" fmla="*/ 196 w 273"/>
                <a:gd name="T9" fmla="*/ 284 h 326"/>
                <a:gd name="T10" fmla="*/ 203 w 273"/>
                <a:gd name="T11" fmla="*/ 266 h 326"/>
                <a:gd name="T12" fmla="*/ 207 w 273"/>
                <a:gd name="T13" fmla="*/ 241 h 326"/>
                <a:gd name="T14" fmla="*/ 216 w 273"/>
                <a:gd name="T15" fmla="*/ 239 h 326"/>
                <a:gd name="T16" fmla="*/ 233 w 273"/>
                <a:gd name="T17" fmla="*/ 221 h 326"/>
                <a:gd name="T18" fmla="*/ 230 w 273"/>
                <a:gd name="T19" fmla="*/ 206 h 326"/>
                <a:gd name="T20" fmla="*/ 237 w 273"/>
                <a:gd name="T21" fmla="*/ 180 h 326"/>
                <a:gd name="T22" fmla="*/ 266 w 273"/>
                <a:gd name="T23" fmla="*/ 179 h 326"/>
                <a:gd name="T24" fmla="*/ 244 w 273"/>
                <a:gd name="T25" fmla="*/ 151 h 326"/>
                <a:gd name="T26" fmla="*/ 243 w 273"/>
                <a:gd name="T27" fmla="*/ 134 h 326"/>
                <a:gd name="T28" fmla="*/ 231 w 273"/>
                <a:gd name="T29" fmla="*/ 120 h 326"/>
                <a:gd name="T30" fmla="*/ 221 w 273"/>
                <a:gd name="T31" fmla="*/ 104 h 326"/>
                <a:gd name="T32" fmla="*/ 233 w 273"/>
                <a:gd name="T33" fmla="*/ 104 h 326"/>
                <a:gd name="T34" fmla="*/ 238 w 273"/>
                <a:gd name="T35" fmla="*/ 94 h 326"/>
                <a:gd name="T36" fmla="*/ 241 w 273"/>
                <a:gd name="T37" fmla="*/ 81 h 326"/>
                <a:gd name="T38" fmla="*/ 260 w 273"/>
                <a:gd name="T39" fmla="*/ 70 h 326"/>
                <a:gd name="T40" fmla="*/ 241 w 273"/>
                <a:gd name="T41" fmla="*/ 58 h 326"/>
                <a:gd name="T42" fmla="*/ 273 w 273"/>
                <a:gd name="T43" fmla="*/ 46 h 326"/>
                <a:gd name="T44" fmla="*/ 260 w 273"/>
                <a:gd name="T45" fmla="*/ 38 h 326"/>
                <a:gd name="T46" fmla="*/ 244 w 273"/>
                <a:gd name="T47" fmla="*/ 31 h 326"/>
                <a:gd name="T48" fmla="*/ 236 w 273"/>
                <a:gd name="T49" fmla="*/ 23 h 326"/>
                <a:gd name="T50" fmla="*/ 227 w 273"/>
                <a:gd name="T51" fmla="*/ 27 h 326"/>
                <a:gd name="T52" fmla="*/ 216 w 273"/>
                <a:gd name="T53" fmla="*/ 4 h 326"/>
                <a:gd name="T54" fmla="*/ 204 w 273"/>
                <a:gd name="T55" fmla="*/ 0 h 326"/>
                <a:gd name="T56" fmla="*/ 191 w 273"/>
                <a:gd name="T57" fmla="*/ 11 h 326"/>
                <a:gd name="T58" fmla="*/ 183 w 273"/>
                <a:gd name="T59" fmla="*/ 30 h 326"/>
                <a:gd name="T60" fmla="*/ 171 w 273"/>
                <a:gd name="T61" fmla="*/ 37 h 326"/>
                <a:gd name="T62" fmla="*/ 164 w 273"/>
                <a:gd name="T63" fmla="*/ 46 h 326"/>
                <a:gd name="T64" fmla="*/ 168 w 273"/>
                <a:gd name="T65" fmla="*/ 60 h 326"/>
                <a:gd name="T66" fmla="*/ 157 w 273"/>
                <a:gd name="T67" fmla="*/ 67 h 326"/>
                <a:gd name="T68" fmla="*/ 147 w 273"/>
                <a:gd name="T69" fmla="*/ 76 h 326"/>
                <a:gd name="T70" fmla="*/ 128 w 273"/>
                <a:gd name="T71" fmla="*/ 68 h 326"/>
                <a:gd name="T72" fmla="*/ 123 w 273"/>
                <a:gd name="T73" fmla="*/ 88 h 326"/>
                <a:gd name="T74" fmla="*/ 108 w 273"/>
                <a:gd name="T75" fmla="*/ 107 h 326"/>
                <a:gd name="T76" fmla="*/ 94 w 273"/>
                <a:gd name="T77" fmla="*/ 111 h 326"/>
                <a:gd name="T78" fmla="*/ 61 w 273"/>
                <a:gd name="T79" fmla="*/ 124 h 326"/>
                <a:gd name="T80" fmla="*/ 56 w 273"/>
                <a:gd name="T81" fmla="*/ 154 h 326"/>
                <a:gd name="T82" fmla="*/ 38 w 273"/>
                <a:gd name="T83" fmla="*/ 146 h 326"/>
                <a:gd name="T84" fmla="*/ 24 w 273"/>
                <a:gd name="T85" fmla="*/ 144 h 326"/>
                <a:gd name="T86" fmla="*/ 14 w 273"/>
                <a:gd name="T87" fmla="*/ 144 h 326"/>
                <a:gd name="T88" fmla="*/ 7 w 273"/>
                <a:gd name="T89" fmla="*/ 163 h 326"/>
                <a:gd name="T90" fmla="*/ 1 w 273"/>
                <a:gd name="T91" fmla="*/ 191 h 326"/>
                <a:gd name="T92" fmla="*/ 7 w 273"/>
                <a:gd name="T93" fmla="*/ 209 h 326"/>
                <a:gd name="T94" fmla="*/ 27 w 273"/>
                <a:gd name="T95" fmla="*/ 236 h 326"/>
                <a:gd name="T96" fmla="*/ 24 w 273"/>
                <a:gd name="T97" fmla="*/ 253 h 326"/>
                <a:gd name="T98" fmla="*/ 27 w 273"/>
                <a:gd name="T99" fmla="*/ 259 h 326"/>
                <a:gd name="T100" fmla="*/ 33 w 273"/>
                <a:gd name="T101" fmla="*/ 292 h 326"/>
                <a:gd name="T102" fmla="*/ 47 w 273"/>
                <a:gd name="T103" fmla="*/ 293 h 326"/>
                <a:gd name="T104" fmla="*/ 61 w 273"/>
                <a:gd name="T105" fmla="*/ 296 h 326"/>
                <a:gd name="T106" fmla="*/ 73 w 273"/>
                <a:gd name="T107" fmla="*/ 293 h 326"/>
                <a:gd name="T108" fmla="*/ 78 w 273"/>
                <a:gd name="T109" fmla="*/ 310 h 326"/>
                <a:gd name="T110" fmla="*/ 88 w 273"/>
                <a:gd name="T111" fmla="*/ 303 h 326"/>
                <a:gd name="T112" fmla="*/ 107 w 273"/>
                <a:gd name="T113" fmla="*/ 293 h 326"/>
                <a:gd name="T114" fmla="*/ 117 w 273"/>
                <a:gd name="T115" fmla="*/ 300 h 326"/>
                <a:gd name="T116" fmla="*/ 127 w 273"/>
                <a:gd name="T117" fmla="*/ 307 h 326"/>
                <a:gd name="T118" fmla="*/ 146 w 273"/>
                <a:gd name="T119" fmla="*/ 30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3" h="326">
                  <a:moveTo>
                    <a:pt x="146" y="323"/>
                  </a:moveTo>
                  <a:lnTo>
                    <a:pt x="146" y="323"/>
                  </a:lnTo>
                  <a:lnTo>
                    <a:pt x="147" y="324"/>
                  </a:lnTo>
                  <a:lnTo>
                    <a:pt x="148" y="326"/>
                  </a:lnTo>
                  <a:lnTo>
                    <a:pt x="148" y="326"/>
                  </a:lnTo>
                  <a:lnTo>
                    <a:pt x="156" y="324"/>
                  </a:lnTo>
                  <a:lnTo>
                    <a:pt x="167" y="319"/>
                  </a:lnTo>
                  <a:lnTo>
                    <a:pt x="167" y="319"/>
                  </a:lnTo>
                  <a:lnTo>
                    <a:pt x="176" y="314"/>
                  </a:lnTo>
                  <a:lnTo>
                    <a:pt x="183" y="313"/>
                  </a:lnTo>
                  <a:lnTo>
                    <a:pt x="183" y="313"/>
                  </a:lnTo>
                  <a:lnTo>
                    <a:pt x="184" y="313"/>
                  </a:lnTo>
                  <a:lnTo>
                    <a:pt x="184" y="314"/>
                  </a:lnTo>
                  <a:lnTo>
                    <a:pt x="184" y="320"/>
                  </a:lnTo>
                  <a:lnTo>
                    <a:pt x="184" y="320"/>
                  </a:lnTo>
                  <a:lnTo>
                    <a:pt x="186" y="323"/>
                  </a:lnTo>
                  <a:lnTo>
                    <a:pt x="186" y="323"/>
                  </a:lnTo>
                  <a:lnTo>
                    <a:pt x="186" y="324"/>
                  </a:lnTo>
                  <a:lnTo>
                    <a:pt x="188" y="326"/>
                  </a:lnTo>
                  <a:lnTo>
                    <a:pt x="188" y="326"/>
                  </a:lnTo>
                  <a:lnTo>
                    <a:pt x="191" y="324"/>
                  </a:lnTo>
                  <a:lnTo>
                    <a:pt x="194" y="323"/>
                  </a:lnTo>
                  <a:lnTo>
                    <a:pt x="194" y="323"/>
                  </a:lnTo>
                  <a:lnTo>
                    <a:pt x="196" y="319"/>
                  </a:lnTo>
                  <a:lnTo>
                    <a:pt x="196" y="314"/>
                  </a:lnTo>
                  <a:lnTo>
                    <a:pt x="196" y="314"/>
                  </a:lnTo>
                  <a:lnTo>
                    <a:pt x="196" y="313"/>
                  </a:lnTo>
                  <a:lnTo>
                    <a:pt x="196" y="312"/>
                  </a:lnTo>
                  <a:lnTo>
                    <a:pt x="196" y="312"/>
                  </a:lnTo>
                  <a:lnTo>
                    <a:pt x="198" y="310"/>
                  </a:lnTo>
                  <a:lnTo>
                    <a:pt x="200" y="307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8" y="302"/>
                  </a:lnTo>
                  <a:lnTo>
                    <a:pt x="198" y="302"/>
                  </a:lnTo>
                  <a:lnTo>
                    <a:pt x="196" y="296"/>
                  </a:lnTo>
                  <a:lnTo>
                    <a:pt x="196" y="296"/>
                  </a:lnTo>
                  <a:lnTo>
                    <a:pt x="194" y="292"/>
                  </a:lnTo>
                  <a:lnTo>
                    <a:pt x="196" y="287"/>
                  </a:lnTo>
                  <a:lnTo>
                    <a:pt x="196" y="284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201" y="276"/>
                  </a:lnTo>
                  <a:lnTo>
                    <a:pt x="201" y="276"/>
                  </a:lnTo>
                  <a:lnTo>
                    <a:pt x="206" y="271"/>
                  </a:lnTo>
                  <a:lnTo>
                    <a:pt x="206" y="269"/>
                  </a:lnTo>
                  <a:lnTo>
                    <a:pt x="203" y="266"/>
                  </a:lnTo>
                  <a:lnTo>
                    <a:pt x="203" y="266"/>
                  </a:lnTo>
                  <a:lnTo>
                    <a:pt x="201" y="261"/>
                  </a:lnTo>
                  <a:lnTo>
                    <a:pt x="200" y="256"/>
                  </a:lnTo>
                  <a:lnTo>
                    <a:pt x="201" y="253"/>
                  </a:lnTo>
                  <a:lnTo>
                    <a:pt x="201" y="253"/>
                  </a:lnTo>
                  <a:lnTo>
                    <a:pt x="201" y="250"/>
                  </a:lnTo>
                  <a:lnTo>
                    <a:pt x="203" y="247"/>
                  </a:lnTo>
                  <a:lnTo>
                    <a:pt x="207" y="241"/>
                  </a:lnTo>
                  <a:lnTo>
                    <a:pt x="207" y="241"/>
                  </a:lnTo>
                  <a:lnTo>
                    <a:pt x="208" y="241"/>
                  </a:lnTo>
                  <a:lnTo>
                    <a:pt x="211" y="241"/>
                  </a:lnTo>
                  <a:lnTo>
                    <a:pt x="211" y="241"/>
                  </a:lnTo>
                  <a:lnTo>
                    <a:pt x="213" y="241"/>
                  </a:lnTo>
                  <a:lnTo>
                    <a:pt x="213" y="241"/>
                  </a:lnTo>
                  <a:lnTo>
                    <a:pt x="214" y="241"/>
                  </a:lnTo>
                  <a:lnTo>
                    <a:pt x="214" y="240"/>
                  </a:lnTo>
                  <a:lnTo>
                    <a:pt x="216" y="239"/>
                  </a:lnTo>
                  <a:lnTo>
                    <a:pt x="216" y="239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26" y="230"/>
                  </a:lnTo>
                  <a:lnTo>
                    <a:pt x="226" y="230"/>
                  </a:lnTo>
                  <a:lnTo>
                    <a:pt x="231" y="226"/>
                  </a:lnTo>
                  <a:lnTo>
                    <a:pt x="233" y="223"/>
                  </a:lnTo>
                  <a:lnTo>
                    <a:pt x="233" y="221"/>
                  </a:lnTo>
                  <a:lnTo>
                    <a:pt x="233" y="221"/>
                  </a:lnTo>
                  <a:lnTo>
                    <a:pt x="233" y="219"/>
                  </a:lnTo>
                  <a:lnTo>
                    <a:pt x="230" y="214"/>
                  </a:lnTo>
                  <a:lnTo>
                    <a:pt x="230" y="214"/>
                  </a:lnTo>
                  <a:lnTo>
                    <a:pt x="228" y="213"/>
                  </a:lnTo>
                  <a:lnTo>
                    <a:pt x="228" y="210"/>
                  </a:lnTo>
                  <a:lnTo>
                    <a:pt x="228" y="210"/>
                  </a:lnTo>
                  <a:lnTo>
                    <a:pt x="230" y="206"/>
                  </a:lnTo>
                  <a:lnTo>
                    <a:pt x="230" y="200"/>
                  </a:lnTo>
                  <a:lnTo>
                    <a:pt x="230" y="200"/>
                  </a:lnTo>
                  <a:lnTo>
                    <a:pt x="230" y="194"/>
                  </a:lnTo>
                  <a:lnTo>
                    <a:pt x="233" y="189"/>
                  </a:lnTo>
                  <a:lnTo>
                    <a:pt x="233" y="189"/>
                  </a:lnTo>
                  <a:lnTo>
                    <a:pt x="234" y="184"/>
                  </a:lnTo>
                  <a:lnTo>
                    <a:pt x="234" y="184"/>
                  </a:lnTo>
                  <a:lnTo>
                    <a:pt x="237" y="180"/>
                  </a:lnTo>
                  <a:lnTo>
                    <a:pt x="240" y="180"/>
                  </a:lnTo>
                  <a:lnTo>
                    <a:pt x="240" y="180"/>
                  </a:lnTo>
                  <a:lnTo>
                    <a:pt x="247" y="181"/>
                  </a:lnTo>
                  <a:lnTo>
                    <a:pt x="247" y="181"/>
                  </a:lnTo>
                  <a:lnTo>
                    <a:pt x="254" y="183"/>
                  </a:lnTo>
                  <a:lnTo>
                    <a:pt x="259" y="183"/>
                  </a:lnTo>
                  <a:lnTo>
                    <a:pt x="263" y="181"/>
                  </a:lnTo>
                  <a:lnTo>
                    <a:pt x="266" y="179"/>
                  </a:lnTo>
                  <a:lnTo>
                    <a:pt x="266" y="179"/>
                  </a:lnTo>
                  <a:lnTo>
                    <a:pt x="267" y="177"/>
                  </a:lnTo>
                  <a:lnTo>
                    <a:pt x="267" y="174"/>
                  </a:lnTo>
                  <a:lnTo>
                    <a:pt x="267" y="174"/>
                  </a:lnTo>
                  <a:lnTo>
                    <a:pt x="263" y="169"/>
                  </a:lnTo>
                  <a:lnTo>
                    <a:pt x="257" y="161"/>
                  </a:lnTo>
                  <a:lnTo>
                    <a:pt x="250" y="154"/>
                  </a:lnTo>
                  <a:lnTo>
                    <a:pt x="244" y="151"/>
                  </a:lnTo>
                  <a:lnTo>
                    <a:pt x="244" y="151"/>
                  </a:lnTo>
                  <a:lnTo>
                    <a:pt x="241" y="150"/>
                  </a:lnTo>
                  <a:lnTo>
                    <a:pt x="240" y="147"/>
                  </a:lnTo>
                  <a:lnTo>
                    <a:pt x="240" y="147"/>
                  </a:lnTo>
                  <a:lnTo>
                    <a:pt x="240" y="143"/>
                  </a:lnTo>
                  <a:lnTo>
                    <a:pt x="241" y="139"/>
                  </a:lnTo>
                  <a:lnTo>
                    <a:pt x="241" y="139"/>
                  </a:lnTo>
                  <a:lnTo>
                    <a:pt x="243" y="134"/>
                  </a:lnTo>
                  <a:lnTo>
                    <a:pt x="243" y="130"/>
                  </a:lnTo>
                  <a:lnTo>
                    <a:pt x="243" y="130"/>
                  </a:lnTo>
                  <a:lnTo>
                    <a:pt x="240" y="127"/>
                  </a:lnTo>
                  <a:lnTo>
                    <a:pt x="236" y="126"/>
                  </a:lnTo>
                  <a:lnTo>
                    <a:pt x="236" y="126"/>
                  </a:lnTo>
                  <a:lnTo>
                    <a:pt x="233" y="124"/>
                  </a:lnTo>
                  <a:lnTo>
                    <a:pt x="231" y="120"/>
                  </a:lnTo>
                  <a:lnTo>
                    <a:pt x="231" y="120"/>
                  </a:lnTo>
                  <a:lnTo>
                    <a:pt x="227" y="116"/>
                  </a:lnTo>
                  <a:lnTo>
                    <a:pt x="223" y="111"/>
                  </a:lnTo>
                  <a:lnTo>
                    <a:pt x="223" y="111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1" y="108"/>
                  </a:lnTo>
                  <a:lnTo>
                    <a:pt x="221" y="104"/>
                  </a:lnTo>
                  <a:lnTo>
                    <a:pt x="221" y="104"/>
                  </a:lnTo>
                  <a:lnTo>
                    <a:pt x="224" y="107"/>
                  </a:lnTo>
                  <a:lnTo>
                    <a:pt x="224" y="107"/>
                  </a:lnTo>
                  <a:lnTo>
                    <a:pt x="228" y="108"/>
                  </a:lnTo>
                  <a:lnTo>
                    <a:pt x="228" y="108"/>
                  </a:lnTo>
                  <a:lnTo>
                    <a:pt x="230" y="107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33" y="104"/>
                  </a:lnTo>
                  <a:lnTo>
                    <a:pt x="236" y="103"/>
                  </a:lnTo>
                  <a:lnTo>
                    <a:pt x="236" y="103"/>
                  </a:lnTo>
                  <a:lnTo>
                    <a:pt x="238" y="103"/>
                  </a:lnTo>
                  <a:lnTo>
                    <a:pt x="240" y="101"/>
                  </a:lnTo>
                  <a:lnTo>
                    <a:pt x="240" y="101"/>
                  </a:lnTo>
                  <a:lnTo>
                    <a:pt x="240" y="100"/>
                  </a:lnTo>
                  <a:lnTo>
                    <a:pt x="240" y="98"/>
                  </a:lnTo>
                  <a:lnTo>
                    <a:pt x="238" y="94"/>
                  </a:lnTo>
                  <a:lnTo>
                    <a:pt x="234" y="87"/>
                  </a:lnTo>
                  <a:lnTo>
                    <a:pt x="234" y="87"/>
                  </a:lnTo>
                  <a:lnTo>
                    <a:pt x="234" y="86"/>
                  </a:lnTo>
                  <a:lnTo>
                    <a:pt x="234" y="86"/>
                  </a:lnTo>
                  <a:lnTo>
                    <a:pt x="237" y="84"/>
                  </a:lnTo>
                  <a:lnTo>
                    <a:pt x="237" y="84"/>
                  </a:lnTo>
                  <a:lnTo>
                    <a:pt x="238" y="83"/>
                  </a:lnTo>
                  <a:lnTo>
                    <a:pt x="241" y="81"/>
                  </a:lnTo>
                  <a:lnTo>
                    <a:pt x="241" y="81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53" y="77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0" y="71"/>
                  </a:lnTo>
                  <a:lnTo>
                    <a:pt x="260" y="70"/>
                  </a:lnTo>
                  <a:lnTo>
                    <a:pt x="260" y="70"/>
                  </a:lnTo>
                  <a:lnTo>
                    <a:pt x="259" y="67"/>
                  </a:lnTo>
                  <a:lnTo>
                    <a:pt x="256" y="66"/>
                  </a:lnTo>
                  <a:lnTo>
                    <a:pt x="247" y="61"/>
                  </a:lnTo>
                  <a:lnTo>
                    <a:pt x="247" y="61"/>
                  </a:lnTo>
                  <a:lnTo>
                    <a:pt x="243" y="60"/>
                  </a:lnTo>
                  <a:lnTo>
                    <a:pt x="243" y="60"/>
                  </a:lnTo>
                  <a:lnTo>
                    <a:pt x="241" y="58"/>
                  </a:lnTo>
                  <a:lnTo>
                    <a:pt x="241" y="58"/>
                  </a:lnTo>
                  <a:lnTo>
                    <a:pt x="246" y="60"/>
                  </a:lnTo>
                  <a:lnTo>
                    <a:pt x="246" y="60"/>
                  </a:lnTo>
                  <a:lnTo>
                    <a:pt x="254" y="58"/>
                  </a:lnTo>
                  <a:lnTo>
                    <a:pt x="263" y="56"/>
                  </a:lnTo>
                  <a:lnTo>
                    <a:pt x="270" y="50"/>
                  </a:lnTo>
                  <a:lnTo>
                    <a:pt x="271" y="47"/>
                  </a:lnTo>
                  <a:lnTo>
                    <a:pt x="273" y="46"/>
                  </a:lnTo>
                  <a:lnTo>
                    <a:pt x="273" y="46"/>
                  </a:lnTo>
                  <a:lnTo>
                    <a:pt x="273" y="43"/>
                  </a:lnTo>
                  <a:lnTo>
                    <a:pt x="273" y="41"/>
                  </a:lnTo>
                  <a:lnTo>
                    <a:pt x="273" y="41"/>
                  </a:lnTo>
                  <a:lnTo>
                    <a:pt x="269" y="38"/>
                  </a:lnTo>
                  <a:lnTo>
                    <a:pt x="264" y="38"/>
                  </a:lnTo>
                  <a:lnTo>
                    <a:pt x="260" y="38"/>
                  </a:lnTo>
                  <a:lnTo>
                    <a:pt x="260" y="38"/>
                  </a:lnTo>
                  <a:lnTo>
                    <a:pt x="257" y="38"/>
                  </a:lnTo>
                  <a:lnTo>
                    <a:pt x="257" y="38"/>
                  </a:lnTo>
                  <a:lnTo>
                    <a:pt x="253" y="37"/>
                  </a:lnTo>
                  <a:lnTo>
                    <a:pt x="251" y="36"/>
                  </a:lnTo>
                  <a:lnTo>
                    <a:pt x="251" y="36"/>
                  </a:lnTo>
                  <a:lnTo>
                    <a:pt x="248" y="33"/>
                  </a:lnTo>
                  <a:lnTo>
                    <a:pt x="244" y="31"/>
                  </a:lnTo>
                  <a:lnTo>
                    <a:pt x="244" y="31"/>
                  </a:lnTo>
                  <a:lnTo>
                    <a:pt x="243" y="31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1" y="26"/>
                  </a:lnTo>
                  <a:lnTo>
                    <a:pt x="238" y="24"/>
                  </a:lnTo>
                  <a:lnTo>
                    <a:pt x="238" y="24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3" y="24"/>
                  </a:lnTo>
                  <a:lnTo>
                    <a:pt x="231" y="26"/>
                  </a:lnTo>
                  <a:lnTo>
                    <a:pt x="231" y="26"/>
                  </a:lnTo>
                  <a:lnTo>
                    <a:pt x="230" y="27"/>
                  </a:lnTo>
                  <a:lnTo>
                    <a:pt x="230" y="27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27"/>
                  </a:lnTo>
                  <a:lnTo>
                    <a:pt x="228" y="21"/>
                  </a:lnTo>
                  <a:lnTo>
                    <a:pt x="228" y="21"/>
                  </a:lnTo>
                  <a:lnTo>
                    <a:pt x="228" y="14"/>
                  </a:lnTo>
                  <a:lnTo>
                    <a:pt x="227" y="10"/>
                  </a:lnTo>
                  <a:lnTo>
                    <a:pt x="224" y="7"/>
                  </a:lnTo>
                  <a:lnTo>
                    <a:pt x="218" y="6"/>
                  </a:lnTo>
                  <a:lnTo>
                    <a:pt x="218" y="6"/>
                  </a:lnTo>
                  <a:lnTo>
                    <a:pt x="216" y="4"/>
                  </a:lnTo>
                  <a:lnTo>
                    <a:pt x="211" y="4"/>
                  </a:lnTo>
                  <a:lnTo>
                    <a:pt x="211" y="4"/>
                  </a:lnTo>
                  <a:lnTo>
                    <a:pt x="210" y="4"/>
                  </a:lnTo>
                  <a:lnTo>
                    <a:pt x="210" y="4"/>
                  </a:lnTo>
                  <a:lnTo>
                    <a:pt x="208" y="4"/>
                  </a:lnTo>
                  <a:lnTo>
                    <a:pt x="207" y="3"/>
                  </a:lnTo>
                  <a:lnTo>
                    <a:pt x="207" y="3"/>
                  </a:lnTo>
                  <a:lnTo>
                    <a:pt x="204" y="0"/>
                  </a:lnTo>
                  <a:lnTo>
                    <a:pt x="200" y="0"/>
                  </a:lnTo>
                  <a:lnTo>
                    <a:pt x="200" y="0"/>
                  </a:lnTo>
                  <a:lnTo>
                    <a:pt x="198" y="0"/>
                  </a:lnTo>
                  <a:lnTo>
                    <a:pt x="197" y="1"/>
                  </a:lnTo>
                  <a:lnTo>
                    <a:pt x="194" y="4"/>
                  </a:lnTo>
                  <a:lnTo>
                    <a:pt x="193" y="8"/>
                  </a:lnTo>
                  <a:lnTo>
                    <a:pt x="193" y="8"/>
                  </a:lnTo>
                  <a:lnTo>
                    <a:pt x="191" y="11"/>
                  </a:lnTo>
                  <a:lnTo>
                    <a:pt x="190" y="13"/>
                  </a:lnTo>
                  <a:lnTo>
                    <a:pt x="190" y="13"/>
                  </a:lnTo>
                  <a:lnTo>
                    <a:pt x="188" y="16"/>
                  </a:lnTo>
                  <a:lnTo>
                    <a:pt x="186" y="20"/>
                  </a:lnTo>
                  <a:lnTo>
                    <a:pt x="186" y="20"/>
                  </a:lnTo>
                  <a:lnTo>
                    <a:pt x="186" y="24"/>
                  </a:lnTo>
                  <a:lnTo>
                    <a:pt x="186" y="24"/>
                  </a:lnTo>
                  <a:lnTo>
                    <a:pt x="183" y="30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78" y="37"/>
                  </a:lnTo>
                  <a:lnTo>
                    <a:pt x="177" y="37"/>
                  </a:lnTo>
                  <a:lnTo>
                    <a:pt x="177" y="37"/>
                  </a:lnTo>
                  <a:lnTo>
                    <a:pt x="176" y="37"/>
                  </a:lnTo>
                  <a:lnTo>
                    <a:pt x="176" y="37"/>
                  </a:lnTo>
                  <a:lnTo>
                    <a:pt x="171" y="37"/>
                  </a:lnTo>
                  <a:lnTo>
                    <a:pt x="171" y="37"/>
                  </a:lnTo>
                  <a:lnTo>
                    <a:pt x="168" y="37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4" y="41"/>
                  </a:lnTo>
                  <a:lnTo>
                    <a:pt x="163" y="43"/>
                  </a:lnTo>
                  <a:lnTo>
                    <a:pt x="163" y="43"/>
                  </a:lnTo>
                  <a:lnTo>
                    <a:pt x="164" y="46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70" y="53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68" y="58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66" y="64"/>
                  </a:lnTo>
                  <a:lnTo>
                    <a:pt x="164" y="66"/>
                  </a:lnTo>
                  <a:lnTo>
                    <a:pt x="161" y="66"/>
                  </a:lnTo>
                  <a:lnTo>
                    <a:pt x="161" y="66"/>
                  </a:lnTo>
                  <a:lnTo>
                    <a:pt x="161" y="66"/>
                  </a:lnTo>
                  <a:lnTo>
                    <a:pt x="161" y="66"/>
                  </a:lnTo>
                  <a:lnTo>
                    <a:pt x="161" y="66"/>
                  </a:lnTo>
                  <a:lnTo>
                    <a:pt x="157" y="67"/>
                  </a:lnTo>
                  <a:lnTo>
                    <a:pt x="154" y="68"/>
                  </a:lnTo>
                  <a:lnTo>
                    <a:pt x="153" y="71"/>
                  </a:lnTo>
                  <a:lnTo>
                    <a:pt x="153" y="76"/>
                  </a:lnTo>
                  <a:lnTo>
                    <a:pt x="153" y="76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47" y="76"/>
                  </a:lnTo>
                  <a:lnTo>
                    <a:pt x="147" y="76"/>
                  </a:lnTo>
                  <a:lnTo>
                    <a:pt x="143" y="68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4" y="61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28" y="66"/>
                  </a:lnTo>
                  <a:lnTo>
                    <a:pt x="128" y="68"/>
                  </a:lnTo>
                  <a:lnTo>
                    <a:pt x="128" y="77"/>
                  </a:lnTo>
                  <a:lnTo>
                    <a:pt x="128" y="77"/>
                  </a:lnTo>
                  <a:lnTo>
                    <a:pt x="128" y="77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8" y="84"/>
                  </a:lnTo>
                  <a:lnTo>
                    <a:pt x="127" y="86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18" y="90"/>
                  </a:lnTo>
                  <a:lnTo>
                    <a:pt x="114" y="94"/>
                  </a:lnTo>
                  <a:lnTo>
                    <a:pt x="114" y="94"/>
                  </a:lnTo>
                  <a:lnTo>
                    <a:pt x="111" y="100"/>
                  </a:lnTo>
                  <a:lnTo>
                    <a:pt x="110" y="104"/>
                  </a:lnTo>
                  <a:lnTo>
                    <a:pt x="110" y="104"/>
                  </a:lnTo>
                  <a:lnTo>
                    <a:pt x="108" y="107"/>
                  </a:lnTo>
                  <a:lnTo>
                    <a:pt x="108" y="107"/>
                  </a:lnTo>
                  <a:lnTo>
                    <a:pt x="107" y="107"/>
                  </a:lnTo>
                  <a:lnTo>
                    <a:pt x="107" y="107"/>
                  </a:lnTo>
                  <a:lnTo>
                    <a:pt x="103" y="106"/>
                  </a:lnTo>
                  <a:lnTo>
                    <a:pt x="103" y="106"/>
                  </a:lnTo>
                  <a:lnTo>
                    <a:pt x="98" y="107"/>
                  </a:lnTo>
                  <a:lnTo>
                    <a:pt x="94" y="111"/>
                  </a:lnTo>
                  <a:lnTo>
                    <a:pt x="94" y="111"/>
                  </a:lnTo>
                  <a:lnTo>
                    <a:pt x="93" y="113"/>
                  </a:lnTo>
                  <a:lnTo>
                    <a:pt x="88" y="114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68" y="117"/>
                  </a:lnTo>
                  <a:lnTo>
                    <a:pt x="64" y="120"/>
                  </a:lnTo>
                  <a:lnTo>
                    <a:pt x="61" y="124"/>
                  </a:lnTo>
                  <a:lnTo>
                    <a:pt x="61" y="124"/>
                  </a:lnTo>
                  <a:lnTo>
                    <a:pt x="60" y="131"/>
                  </a:lnTo>
                  <a:lnTo>
                    <a:pt x="60" y="137"/>
                  </a:lnTo>
                  <a:lnTo>
                    <a:pt x="60" y="137"/>
                  </a:lnTo>
                  <a:lnTo>
                    <a:pt x="58" y="144"/>
                  </a:lnTo>
                  <a:lnTo>
                    <a:pt x="57" y="150"/>
                  </a:lnTo>
                  <a:lnTo>
                    <a:pt x="57" y="150"/>
                  </a:lnTo>
                  <a:lnTo>
                    <a:pt x="56" y="154"/>
                  </a:lnTo>
                  <a:lnTo>
                    <a:pt x="56" y="154"/>
                  </a:lnTo>
                  <a:lnTo>
                    <a:pt x="51" y="151"/>
                  </a:lnTo>
                  <a:lnTo>
                    <a:pt x="51" y="151"/>
                  </a:lnTo>
                  <a:lnTo>
                    <a:pt x="46" y="149"/>
                  </a:lnTo>
                  <a:lnTo>
                    <a:pt x="46" y="149"/>
                  </a:lnTo>
                  <a:lnTo>
                    <a:pt x="41" y="147"/>
                  </a:lnTo>
                  <a:lnTo>
                    <a:pt x="41" y="147"/>
                  </a:lnTo>
                  <a:lnTo>
                    <a:pt x="40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6" y="146"/>
                  </a:lnTo>
                  <a:lnTo>
                    <a:pt x="33" y="149"/>
                  </a:lnTo>
                  <a:lnTo>
                    <a:pt x="33" y="149"/>
                  </a:lnTo>
                  <a:lnTo>
                    <a:pt x="30" y="149"/>
                  </a:lnTo>
                  <a:lnTo>
                    <a:pt x="30" y="149"/>
                  </a:lnTo>
                  <a:lnTo>
                    <a:pt x="27" y="147"/>
                  </a:lnTo>
                  <a:lnTo>
                    <a:pt x="24" y="144"/>
                  </a:lnTo>
                  <a:lnTo>
                    <a:pt x="24" y="144"/>
                  </a:lnTo>
                  <a:lnTo>
                    <a:pt x="21" y="141"/>
                  </a:lnTo>
                  <a:lnTo>
                    <a:pt x="16" y="131"/>
                  </a:lnTo>
                  <a:lnTo>
                    <a:pt x="17" y="140"/>
                  </a:lnTo>
                  <a:lnTo>
                    <a:pt x="17" y="140"/>
                  </a:lnTo>
                  <a:lnTo>
                    <a:pt x="16" y="143"/>
                  </a:lnTo>
                  <a:lnTo>
                    <a:pt x="14" y="144"/>
                  </a:lnTo>
                  <a:lnTo>
                    <a:pt x="14" y="144"/>
                  </a:lnTo>
                  <a:lnTo>
                    <a:pt x="13" y="149"/>
                  </a:lnTo>
                  <a:lnTo>
                    <a:pt x="10" y="151"/>
                  </a:lnTo>
                  <a:lnTo>
                    <a:pt x="10" y="151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7" y="160"/>
                  </a:lnTo>
                  <a:lnTo>
                    <a:pt x="7" y="160"/>
                  </a:lnTo>
                  <a:lnTo>
                    <a:pt x="7" y="163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1" y="171"/>
                  </a:lnTo>
                  <a:lnTo>
                    <a:pt x="0" y="177"/>
                  </a:lnTo>
                  <a:lnTo>
                    <a:pt x="1" y="184"/>
                  </a:lnTo>
                  <a:lnTo>
                    <a:pt x="1" y="184"/>
                  </a:lnTo>
                  <a:lnTo>
                    <a:pt x="1" y="191"/>
                  </a:lnTo>
                  <a:lnTo>
                    <a:pt x="1" y="191"/>
                  </a:lnTo>
                  <a:lnTo>
                    <a:pt x="1" y="196"/>
                  </a:lnTo>
                  <a:lnTo>
                    <a:pt x="4" y="199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11" y="203"/>
                  </a:lnTo>
                  <a:lnTo>
                    <a:pt x="11" y="203"/>
                  </a:lnTo>
                  <a:lnTo>
                    <a:pt x="8" y="206"/>
                  </a:lnTo>
                  <a:lnTo>
                    <a:pt x="7" y="209"/>
                  </a:lnTo>
                  <a:lnTo>
                    <a:pt x="7" y="213"/>
                  </a:lnTo>
                  <a:lnTo>
                    <a:pt x="7" y="213"/>
                  </a:lnTo>
                  <a:lnTo>
                    <a:pt x="10" y="220"/>
                  </a:lnTo>
                  <a:lnTo>
                    <a:pt x="14" y="227"/>
                  </a:lnTo>
                  <a:lnTo>
                    <a:pt x="20" y="234"/>
                  </a:lnTo>
                  <a:lnTo>
                    <a:pt x="23" y="236"/>
                  </a:lnTo>
                  <a:lnTo>
                    <a:pt x="26" y="236"/>
                  </a:lnTo>
                  <a:lnTo>
                    <a:pt x="27" y="236"/>
                  </a:lnTo>
                  <a:lnTo>
                    <a:pt x="27" y="236"/>
                  </a:lnTo>
                  <a:lnTo>
                    <a:pt x="28" y="237"/>
                  </a:lnTo>
                  <a:lnTo>
                    <a:pt x="28" y="237"/>
                  </a:lnTo>
                  <a:lnTo>
                    <a:pt x="30" y="240"/>
                  </a:lnTo>
                  <a:lnTo>
                    <a:pt x="28" y="244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4" y="253"/>
                  </a:lnTo>
                  <a:lnTo>
                    <a:pt x="24" y="253"/>
                  </a:lnTo>
                  <a:lnTo>
                    <a:pt x="23" y="256"/>
                  </a:lnTo>
                  <a:lnTo>
                    <a:pt x="24" y="257"/>
                  </a:lnTo>
                  <a:lnTo>
                    <a:pt x="24" y="259"/>
                  </a:lnTo>
                  <a:lnTo>
                    <a:pt x="26" y="259"/>
                  </a:lnTo>
                  <a:lnTo>
                    <a:pt x="26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59"/>
                  </a:lnTo>
                  <a:lnTo>
                    <a:pt x="33" y="261"/>
                  </a:lnTo>
                  <a:lnTo>
                    <a:pt x="33" y="267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1" y="289"/>
                  </a:lnTo>
                  <a:lnTo>
                    <a:pt x="33" y="292"/>
                  </a:lnTo>
                  <a:lnTo>
                    <a:pt x="33" y="292"/>
                  </a:lnTo>
                  <a:lnTo>
                    <a:pt x="34" y="293"/>
                  </a:lnTo>
                  <a:lnTo>
                    <a:pt x="36" y="294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43" y="292"/>
                  </a:lnTo>
                  <a:lnTo>
                    <a:pt x="43" y="292"/>
                  </a:lnTo>
                  <a:lnTo>
                    <a:pt x="47" y="293"/>
                  </a:lnTo>
                  <a:lnTo>
                    <a:pt x="50" y="294"/>
                  </a:lnTo>
                  <a:lnTo>
                    <a:pt x="50" y="294"/>
                  </a:lnTo>
                  <a:lnTo>
                    <a:pt x="53" y="297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60" y="297"/>
                  </a:lnTo>
                  <a:lnTo>
                    <a:pt x="60" y="297"/>
                  </a:lnTo>
                  <a:lnTo>
                    <a:pt x="61" y="296"/>
                  </a:lnTo>
                  <a:lnTo>
                    <a:pt x="61" y="296"/>
                  </a:lnTo>
                  <a:lnTo>
                    <a:pt x="64" y="294"/>
                  </a:lnTo>
                  <a:lnTo>
                    <a:pt x="66" y="293"/>
                  </a:lnTo>
                  <a:lnTo>
                    <a:pt x="66" y="293"/>
                  </a:lnTo>
                  <a:lnTo>
                    <a:pt x="68" y="292"/>
                  </a:lnTo>
                  <a:lnTo>
                    <a:pt x="68" y="292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4" y="294"/>
                  </a:lnTo>
                  <a:lnTo>
                    <a:pt x="76" y="296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4" y="306"/>
                  </a:lnTo>
                  <a:lnTo>
                    <a:pt x="76" y="309"/>
                  </a:lnTo>
                  <a:lnTo>
                    <a:pt x="76" y="309"/>
                  </a:lnTo>
                  <a:lnTo>
                    <a:pt x="78" y="310"/>
                  </a:lnTo>
                  <a:lnTo>
                    <a:pt x="78" y="310"/>
                  </a:lnTo>
                  <a:lnTo>
                    <a:pt x="80" y="309"/>
                  </a:lnTo>
                  <a:lnTo>
                    <a:pt x="81" y="309"/>
                  </a:lnTo>
                  <a:lnTo>
                    <a:pt x="83" y="306"/>
                  </a:lnTo>
                  <a:lnTo>
                    <a:pt x="83" y="306"/>
                  </a:lnTo>
                  <a:lnTo>
                    <a:pt x="84" y="303"/>
                  </a:lnTo>
                  <a:lnTo>
                    <a:pt x="84" y="303"/>
                  </a:lnTo>
                  <a:lnTo>
                    <a:pt x="88" y="303"/>
                  </a:lnTo>
                  <a:lnTo>
                    <a:pt x="93" y="303"/>
                  </a:lnTo>
                  <a:lnTo>
                    <a:pt x="93" y="303"/>
                  </a:lnTo>
                  <a:lnTo>
                    <a:pt x="100" y="302"/>
                  </a:lnTo>
                  <a:lnTo>
                    <a:pt x="103" y="300"/>
                  </a:lnTo>
                  <a:lnTo>
                    <a:pt x="104" y="296"/>
                  </a:lnTo>
                  <a:lnTo>
                    <a:pt x="104" y="296"/>
                  </a:lnTo>
                  <a:lnTo>
                    <a:pt x="106" y="294"/>
                  </a:lnTo>
                  <a:lnTo>
                    <a:pt x="107" y="293"/>
                  </a:lnTo>
                  <a:lnTo>
                    <a:pt x="107" y="293"/>
                  </a:lnTo>
                  <a:lnTo>
                    <a:pt x="108" y="293"/>
                  </a:lnTo>
                  <a:lnTo>
                    <a:pt x="108" y="294"/>
                  </a:lnTo>
                  <a:lnTo>
                    <a:pt x="108" y="294"/>
                  </a:lnTo>
                  <a:lnTo>
                    <a:pt x="110" y="299"/>
                  </a:lnTo>
                  <a:lnTo>
                    <a:pt x="116" y="300"/>
                  </a:lnTo>
                  <a:lnTo>
                    <a:pt x="116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8" y="300"/>
                  </a:lnTo>
                  <a:lnTo>
                    <a:pt x="118" y="300"/>
                  </a:lnTo>
                  <a:lnTo>
                    <a:pt x="120" y="302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4" y="306"/>
                  </a:lnTo>
                  <a:lnTo>
                    <a:pt x="127" y="307"/>
                  </a:lnTo>
                  <a:lnTo>
                    <a:pt x="131" y="306"/>
                  </a:lnTo>
                  <a:lnTo>
                    <a:pt x="134" y="304"/>
                  </a:lnTo>
                  <a:lnTo>
                    <a:pt x="134" y="304"/>
                  </a:lnTo>
                  <a:lnTo>
                    <a:pt x="136" y="303"/>
                  </a:lnTo>
                  <a:lnTo>
                    <a:pt x="138" y="303"/>
                  </a:lnTo>
                  <a:lnTo>
                    <a:pt x="141" y="306"/>
                  </a:lnTo>
                  <a:lnTo>
                    <a:pt x="146" y="309"/>
                  </a:lnTo>
                  <a:lnTo>
                    <a:pt x="146" y="309"/>
                  </a:lnTo>
                  <a:lnTo>
                    <a:pt x="147" y="312"/>
                  </a:lnTo>
                  <a:lnTo>
                    <a:pt x="147" y="313"/>
                  </a:lnTo>
                  <a:lnTo>
                    <a:pt x="147" y="319"/>
                  </a:lnTo>
                  <a:lnTo>
                    <a:pt x="147" y="319"/>
                  </a:lnTo>
                  <a:lnTo>
                    <a:pt x="146" y="323"/>
                  </a:lnTo>
                  <a:lnTo>
                    <a:pt x="146" y="3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04" name="Freeform 195"/>
            <p:cNvSpPr>
              <a:spLocks/>
            </p:cNvSpPr>
            <p:nvPr/>
          </p:nvSpPr>
          <p:spPr bwMode="auto">
            <a:xfrm>
              <a:off x="6145213" y="3484563"/>
              <a:ext cx="139700" cy="177800"/>
            </a:xfrm>
            <a:custGeom>
              <a:avLst/>
              <a:gdLst>
                <a:gd name="T0" fmla="*/ 110 w 177"/>
                <a:gd name="T1" fmla="*/ 211 h 223"/>
                <a:gd name="T2" fmla="*/ 117 w 177"/>
                <a:gd name="T3" fmla="*/ 211 h 223"/>
                <a:gd name="T4" fmla="*/ 115 w 177"/>
                <a:gd name="T5" fmla="*/ 193 h 223"/>
                <a:gd name="T6" fmla="*/ 119 w 177"/>
                <a:gd name="T7" fmla="*/ 189 h 223"/>
                <a:gd name="T8" fmla="*/ 117 w 177"/>
                <a:gd name="T9" fmla="*/ 179 h 223"/>
                <a:gd name="T10" fmla="*/ 119 w 177"/>
                <a:gd name="T11" fmla="*/ 164 h 223"/>
                <a:gd name="T12" fmla="*/ 106 w 177"/>
                <a:gd name="T13" fmla="*/ 166 h 223"/>
                <a:gd name="T14" fmla="*/ 99 w 177"/>
                <a:gd name="T15" fmla="*/ 156 h 223"/>
                <a:gd name="T16" fmla="*/ 93 w 177"/>
                <a:gd name="T17" fmla="*/ 127 h 223"/>
                <a:gd name="T18" fmla="*/ 83 w 177"/>
                <a:gd name="T19" fmla="*/ 113 h 223"/>
                <a:gd name="T20" fmla="*/ 80 w 177"/>
                <a:gd name="T21" fmla="*/ 107 h 223"/>
                <a:gd name="T22" fmla="*/ 93 w 177"/>
                <a:gd name="T23" fmla="*/ 100 h 223"/>
                <a:gd name="T24" fmla="*/ 112 w 177"/>
                <a:gd name="T25" fmla="*/ 83 h 223"/>
                <a:gd name="T26" fmla="*/ 122 w 177"/>
                <a:gd name="T27" fmla="*/ 83 h 223"/>
                <a:gd name="T28" fmla="*/ 129 w 177"/>
                <a:gd name="T29" fmla="*/ 71 h 223"/>
                <a:gd name="T30" fmla="*/ 109 w 177"/>
                <a:gd name="T31" fmla="*/ 68 h 223"/>
                <a:gd name="T32" fmla="*/ 96 w 177"/>
                <a:gd name="T33" fmla="*/ 70 h 223"/>
                <a:gd name="T34" fmla="*/ 83 w 177"/>
                <a:gd name="T35" fmla="*/ 74 h 223"/>
                <a:gd name="T36" fmla="*/ 77 w 177"/>
                <a:gd name="T37" fmla="*/ 71 h 223"/>
                <a:gd name="T38" fmla="*/ 57 w 177"/>
                <a:gd name="T39" fmla="*/ 91 h 223"/>
                <a:gd name="T40" fmla="*/ 47 w 177"/>
                <a:gd name="T41" fmla="*/ 77 h 223"/>
                <a:gd name="T42" fmla="*/ 43 w 177"/>
                <a:gd name="T43" fmla="*/ 47 h 223"/>
                <a:gd name="T44" fmla="*/ 67 w 177"/>
                <a:gd name="T45" fmla="*/ 41 h 223"/>
                <a:gd name="T46" fmla="*/ 77 w 177"/>
                <a:gd name="T47" fmla="*/ 37 h 223"/>
                <a:gd name="T48" fmla="*/ 115 w 177"/>
                <a:gd name="T49" fmla="*/ 37 h 223"/>
                <a:gd name="T50" fmla="*/ 127 w 177"/>
                <a:gd name="T51" fmla="*/ 47 h 223"/>
                <a:gd name="T52" fmla="*/ 157 w 177"/>
                <a:gd name="T53" fmla="*/ 43 h 223"/>
                <a:gd name="T54" fmla="*/ 166 w 177"/>
                <a:gd name="T55" fmla="*/ 21 h 223"/>
                <a:gd name="T56" fmla="*/ 176 w 177"/>
                <a:gd name="T57" fmla="*/ 10 h 223"/>
                <a:gd name="T58" fmla="*/ 159 w 177"/>
                <a:gd name="T59" fmla="*/ 3 h 223"/>
                <a:gd name="T60" fmla="*/ 133 w 177"/>
                <a:gd name="T61" fmla="*/ 23 h 223"/>
                <a:gd name="T62" fmla="*/ 113 w 177"/>
                <a:gd name="T63" fmla="*/ 23 h 223"/>
                <a:gd name="T64" fmla="*/ 90 w 177"/>
                <a:gd name="T65" fmla="*/ 16 h 223"/>
                <a:gd name="T66" fmla="*/ 77 w 177"/>
                <a:gd name="T67" fmla="*/ 16 h 223"/>
                <a:gd name="T68" fmla="*/ 59 w 177"/>
                <a:gd name="T69" fmla="*/ 7 h 223"/>
                <a:gd name="T70" fmla="*/ 49 w 177"/>
                <a:gd name="T71" fmla="*/ 26 h 223"/>
                <a:gd name="T72" fmla="*/ 42 w 177"/>
                <a:gd name="T73" fmla="*/ 24 h 223"/>
                <a:gd name="T74" fmla="*/ 30 w 177"/>
                <a:gd name="T75" fmla="*/ 41 h 223"/>
                <a:gd name="T76" fmla="*/ 30 w 177"/>
                <a:gd name="T77" fmla="*/ 63 h 223"/>
                <a:gd name="T78" fmla="*/ 19 w 177"/>
                <a:gd name="T79" fmla="*/ 83 h 223"/>
                <a:gd name="T80" fmla="*/ 16 w 177"/>
                <a:gd name="T81" fmla="*/ 106 h 223"/>
                <a:gd name="T82" fmla="*/ 3 w 177"/>
                <a:gd name="T83" fmla="*/ 130 h 223"/>
                <a:gd name="T84" fmla="*/ 5 w 177"/>
                <a:gd name="T85" fmla="*/ 157 h 223"/>
                <a:gd name="T86" fmla="*/ 19 w 177"/>
                <a:gd name="T87" fmla="*/ 156 h 223"/>
                <a:gd name="T88" fmla="*/ 20 w 177"/>
                <a:gd name="T89" fmla="*/ 173 h 223"/>
                <a:gd name="T90" fmla="*/ 16 w 177"/>
                <a:gd name="T91" fmla="*/ 199 h 223"/>
                <a:gd name="T92" fmla="*/ 20 w 177"/>
                <a:gd name="T93" fmla="*/ 220 h 223"/>
                <a:gd name="T94" fmla="*/ 33 w 177"/>
                <a:gd name="T95" fmla="*/ 219 h 223"/>
                <a:gd name="T96" fmla="*/ 43 w 177"/>
                <a:gd name="T97" fmla="*/ 207 h 223"/>
                <a:gd name="T98" fmla="*/ 46 w 177"/>
                <a:gd name="T99" fmla="*/ 174 h 223"/>
                <a:gd name="T100" fmla="*/ 47 w 177"/>
                <a:gd name="T101" fmla="*/ 144 h 223"/>
                <a:gd name="T102" fmla="*/ 59 w 177"/>
                <a:gd name="T103" fmla="*/ 129 h 223"/>
                <a:gd name="T104" fmla="*/ 56 w 177"/>
                <a:gd name="T105" fmla="*/ 150 h 223"/>
                <a:gd name="T106" fmla="*/ 72 w 177"/>
                <a:gd name="T107" fmla="*/ 171 h 223"/>
                <a:gd name="T108" fmla="*/ 69 w 177"/>
                <a:gd name="T109" fmla="*/ 193 h 223"/>
                <a:gd name="T110" fmla="*/ 87 w 177"/>
                <a:gd name="T111" fmla="*/ 193 h 223"/>
                <a:gd name="T112" fmla="*/ 97 w 177"/>
                <a:gd name="T113" fmla="*/ 181 h 223"/>
                <a:gd name="T114" fmla="*/ 95 w 177"/>
                <a:gd name="T115" fmla="*/ 187 h 223"/>
                <a:gd name="T116" fmla="*/ 90 w 177"/>
                <a:gd name="T117" fmla="*/ 197 h 223"/>
                <a:gd name="T118" fmla="*/ 87 w 177"/>
                <a:gd name="T119" fmla="*/ 209 h 223"/>
                <a:gd name="T120" fmla="*/ 102 w 177"/>
                <a:gd name="T121" fmla="*/ 21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" h="223">
                  <a:moveTo>
                    <a:pt x="102" y="219"/>
                  </a:moveTo>
                  <a:lnTo>
                    <a:pt x="102" y="219"/>
                  </a:lnTo>
                  <a:lnTo>
                    <a:pt x="105" y="217"/>
                  </a:lnTo>
                  <a:lnTo>
                    <a:pt x="109" y="213"/>
                  </a:lnTo>
                  <a:lnTo>
                    <a:pt x="109" y="213"/>
                  </a:lnTo>
                  <a:lnTo>
                    <a:pt x="110" y="213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3" y="213"/>
                  </a:lnTo>
                  <a:lnTo>
                    <a:pt x="113" y="213"/>
                  </a:lnTo>
                  <a:lnTo>
                    <a:pt x="115" y="213"/>
                  </a:lnTo>
                  <a:lnTo>
                    <a:pt x="115" y="213"/>
                  </a:lnTo>
                  <a:lnTo>
                    <a:pt x="115" y="213"/>
                  </a:lnTo>
                  <a:lnTo>
                    <a:pt x="116" y="213"/>
                  </a:lnTo>
                  <a:lnTo>
                    <a:pt x="117" y="211"/>
                  </a:lnTo>
                  <a:lnTo>
                    <a:pt x="117" y="211"/>
                  </a:lnTo>
                  <a:lnTo>
                    <a:pt x="117" y="210"/>
                  </a:lnTo>
                  <a:lnTo>
                    <a:pt x="116" y="207"/>
                  </a:lnTo>
                  <a:lnTo>
                    <a:pt x="116" y="207"/>
                  </a:lnTo>
                  <a:lnTo>
                    <a:pt x="116" y="203"/>
                  </a:lnTo>
                  <a:lnTo>
                    <a:pt x="115" y="200"/>
                  </a:lnTo>
                  <a:lnTo>
                    <a:pt x="115" y="200"/>
                  </a:lnTo>
                  <a:lnTo>
                    <a:pt x="115" y="197"/>
                  </a:lnTo>
                  <a:lnTo>
                    <a:pt x="115" y="193"/>
                  </a:lnTo>
                  <a:lnTo>
                    <a:pt x="115" y="193"/>
                  </a:lnTo>
                  <a:lnTo>
                    <a:pt x="113" y="191"/>
                  </a:lnTo>
                  <a:lnTo>
                    <a:pt x="113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6" y="190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7" y="186"/>
                  </a:lnTo>
                  <a:lnTo>
                    <a:pt x="117" y="183"/>
                  </a:lnTo>
                  <a:lnTo>
                    <a:pt x="117" y="183"/>
                  </a:lnTo>
                  <a:lnTo>
                    <a:pt x="115" y="180"/>
                  </a:lnTo>
                  <a:lnTo>
                    <a:pt x="115" y="180"/>
                  </a:lnTo>
                  <a:lnTo>
                    <a:pt x="115" y="179"/>
                  </a:lnTo>
                  <a:lnTo>
                    <a:pt x="115" y="179"/>
                  </a:lnTo>
                  <a:lnTo>
                    <a:pt x="117" y="179"/>
                  </a:lnTo>
                  <a:lnTo>
                    <a:pt x="119" y="176"/>
                  </a:lnTo>
                  <a:lnTo>
                    <a:pt x="119" y="176"/>
                  </a:lnTo>
                  <a:lnTo>
                    <a:pt x="120" y="174"/>
                  </a:lnTo>
                  <a:lnTo>
                    <a:pt x="120" y="171"/>
                  </a:lnTo>
                  <a:lnTo>
                    <a:pt x="120" y="171"/>
                  </a:lnTo>
                  <a:lnTo>
                    <a:pt x="119" y="169"/>
                  </a:lnTo>
                  <a:lnTo>
                    <a:pt x="119" y="169"/>
                  </a:lnTo>
                  <a:lnTo>
                    <a:pt x="119" y="164"/>
                  </a:lnTo>
                  <a:lnTo>
                    <a:pt x="117" y="163"/>
                  </a:lnTo>
                  <a:lnTo>
                    <a:pt x="115" y="163"/>
                  </a:lnTo>
                  <a:lnTo>
                    <a:pt x="115" y="163"/>
                  </a:lnTo>
                  <a:lnTo>
                    <a:pt x="112" y="163"/>
                  </a:lnTo>
                  <a:lnTo>
                    <a:pt x="109" y="164"/>
                  </a:lnTo>
                  <a:lnTo>
                    <a:pt x="109" y="164"/>
                  </a:lnTo>
                  <a:lnTo>
                    <a:pt x="106" y="166"/>
                  </a:lnTo>
                  <a:lnTo>
                    <a:pt x="106" y="166"/>
                  </a:lnTo>
                  <a:lnTo>
                    <a:pt x="106" y="166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3" y="161"/>
                  </a:lnTo>
                  <a:lnTo>
                    <a:pt x="103" y="161"/>
                  </a:lnTo>
                  <a:lnTo>
                    <a:pt x="102" y="160"/>
                  </a:lnTo>
                  <a:lnTo>
                    <a:pt x="102" y="160"/>
                  </a:lnTo>
                  <a:lnTo>
                    <a:pt x="99" y="156"/>
                  </a:lnTo>
                  <a:lnTo>
                    <a:pt x="99" y="154"/>
                  </a:lnTo>
                  <a:lnTo>
                    <a:pt x="99" y="151"/>
                  </a:lnTo>
                  <a:lnTo>
                    <a:pt x="99" y="151"/>
                  </a:lnTo>
                  <a:lnTo>
                    <a:pt x="100" y="146"/>
                  </a:lnTo>
                  <a:lnTo>
                    <a:pt x="100" y="140"/>
                  </a:lnTo>
                  <a:lnTo>
                    <a:pt x="99" y="133"/>
                  </a:lnTo>
                  <a:lnTo>
                    <a:pt x="96" y="130"/>
                  </a:lnTo>
                  <a:lnTo>
                    <a:pt x="93" y="127"/>
                  </a:lnTo>
                  <a:lnTo>
                    <a:pt x="93" y="127"/>
                  </a:lnTo>
                  <a:lnTo>
                    <a:pt x="90" y="124"/>
                  </a:lnTo>
                  <a:lnTo>
                    <a:pt x="89" y="121"/>
                  </a:lnTo>
                  <a:lnTo>
                    <a:pt x="89" y="121"/>
                  </a:lnTo>
                  <a:lnTo>
                    <a:pt x="87" y="117"/>
                  </a:lnTo>
                  <a:lnTo>
                    <a:pt x="86" y="114"/>
                  </a:lnTo>
                  <a:lnTo>
                    <a:pt x="83" y="113"/>
                  </a:lnTo>
                  <a:lnTo>
                    <a:pt x="83" y="113"/>
                  </a:lnTo>
                  <a:lnTo>
                    <a:pt x="80" y="111"/>
                  </a:lnTo>
                  <a:lnTo>
                    <a:pt x="80" y="111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08"/>
                  </a:lnTo>
                  <a:lnTo>
                    <a:pt x="77" y="108"/>
                  </a:lnTo>
                  <a:lnTo>
                    <a:pt x="79" y="107"/>
                  </a:lnTo>
                  <a:lnTo>
                    <a:pt x="80" y="107"/>
                  </a:lnTo>
                  <a:lnTo>
                    <a:pt x="82" y="107"/>
                  </a:lnTo>
                  <a:lnTo>
                    <a:pt x="82" y="107"/>
                  </a:lnTo>
                  <a:lnTo>
                    <a:pt x="85" y="107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89" y="101"/>
                  </a:lnTo>
                  <a:lnTo>
                    <a:pt x="93" y="100"/>
                  </a:lnTo>
                  <a:lnTo>
                    <a:pt x="93" y="100"/>
                  </a:lnTo>
                  <a:lnTo>
                    <a:pt x="97" y="100"/>
                  </a:lnTo>
                  <a:lnTo>
                    <a:pt x="97" y="100"/>
                  </a:lnTo>
                  <a:lnTo>
                    <a:pt x="100" y="98"/>
                  </a:lnTo>
                  <a:lnTo>
                    <a:pt x="103" y="96"/>
                  </a:lnTo>
                  <a:lnTo>
                    <a:pt x="107" y="88"/>
                  </a:lnTo>
                  <a:lnTo>
                    <a:pt x="107" y="88"/>
                  </a:lnTo>
                  <a:lnTo>
                    <a:pt x="112" y="83"/>
                  </a:lnTo>
                  <a:lnTo>
                    <a:pt x="112" y="83"/>
                  </a:lnTo>
                  <a:lnTo>
                    <a:pt x="113" y="81"/>
                  </a:lnTo>
                  <a:lnTo>
                    <a:pt x="116" y="80"/>
                  </a:lnTo>
                  <a:lnTo>
                    <a:pt x="116" y="80"/>
                  </a:lnTo>
                  <a:lnTo>
                    <a:pt x="117" y="81"/>
                  </a:lnTo>
                  <a:lnTo>
                    <a:pt x="120" y="83"/>
                  </a:lnTo>
                  <a:lnTo>
                    <a:pt x="120" y="83"/>
                  </a:lnTo>
                  <a:lnTo>
                    <a:pt x="122" y="83"/>
                  </a:lnTo>
                  <a:lnTo>
                    <a:pt x="122" y="83"/>
                  </a:lnTo>
                  <a:lnTo>
                    <a:pt x="125" y="84"/>
                  </a:lnTo>
                  <a:lnTo>
                    <a:pt x="125" y="84"/>
                  </a:lnTo>
                  <a:lnTo>
                    <a:pt x="126" y="83"/>
                  </a:lnTo>
                  <a:lnTo>
                    <a:pt x="127" y="81"/>
                  </a:lnTo>
                  <a:lnTo>
                    <a:pt x="127" y="81"/>
                  </a:lnTo>
                  <a:lnTo>
                    <a:pt x="129" y="78"/>
                  </a:lnTo>
                  <a:lnTo>
                    <a:pt x="129" y="76"/>
                  </a:lnTo>
                  <a:lnTo>
                    <a:pt x="129" y="71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5" y="67"/>
                  </a:lnTo>
                  <a:lnTo>
                    <a:pt x="123" y="66"/>
                  </a:lnTo>
                  <a:lnTo>
                    <a:pt x="117" y="64"/>
                  </a:lnTo>
                  <a:lnTo>
                    <a:pt x="117" y="64"/>
                  </a:lnTo>
                  <a:lnTo>
                    <a:pt x="112" y="66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7" y="70"/>
                  </a:lnTo>
                  <a:lnTo>
                    <a:pt x="102" y="70"/>
                  </a:lnTo>
                  <a:lnTo>
                    <a:pt x="102" y="70"/>
                  </a:lnTo>
                  <a:lnTo>
                    <a:pt x="100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3" y="70"/>
                  </a:lnTo>
                  <a:lnTo>
                    <a:pt x="90" y="71"/>
                  </a:lnTo>
                  <a:lnTo>
                    <a:pt x="90" y="71"/>
                  </a:lnTo>
                  <a:lnTo>
                    <a:pt x="90" y="71"/>
                  </a:lnTo>
                  <a:lnTo>
                    <a:pt x="87" y="73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2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77" y="71"/>
                  </a:lnTo>
                  <a:lnTo>
                    <a:pt x="77" y="71"/>
                  </a:lnTo>
                  <a:lnTo>
                    <a:pt x="75" y="74"/>
                  </a:lnTo>
                  <a:lnTo>
                    <a:pt x="70" y="77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2" y="9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7" y="91"/>
                  </a:lnTo>
                  <a:lnTo>
                    <a:pt x="55" y="90"/>
                  </a:lnTo>
                  <a:lnTo>
                    <a:pt x="53" y="87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0"/>
                  </a:lnTo>
                  <a:lnTo>
                    <a:pt x="52" y="77"/>
                  </a:lnTo>
                  <a:lnTo>
                    <a:pt x="49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6" y="76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0" y="63"/>
                  </a:lnTo>
                  <a:lnTo>
                    <a:pt x="40" y="57"/>
                  </a:lnTo>
                  <a:lnTo>
                    <a:pt x="42" y="51"/>
                  </a:lnTo>
                  <a:lnTo>
                    <a:pt x="43" y="47"/>
                  </a:lnTo>
                  <a:lnTo>
                    <a:pt x="49" y="40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5" y="37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5" y="38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80" y="38"/>
                  </a:lnTo>
                  <a:lnTo>
                    <a:pt x="85" y="40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105" y="40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5" y="37"/>
                  </a:lnTo>
                  <a:lnTo>
                    <a:pt x="116" y="37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20" y="44"/>
                  </a:lnTo>
                  <a:lnTo>
                    <a:pt x="120" y="44"/>
                  </a:lnTo>
                  <a:lnTo>
                    <a:pt x="123" y="46"/>
                  </a:lnTo>
                  <a:lnTo>
                    <a:pt x="125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35" y="47"/>
                  </a:lnTo>
                  <a:lnTo>
                    <a:pt x="135" y="47"/>
                  </a:lnTo>
                  <a:lnTo>
                    <a:pt x="142" y="46"/>
                  </a:lnTo>
                  <a:lnTo>
                    <a:pt x="147" y="46"/>
                  </a:lnTo>
                  <a:lnTo>
                    <a:pt x="147" y="46"/>
                  </a:lnTo>
                  <a:lnTo>
                    <a:pt x="155" y="44"/>
                  </a:lnTo>
                  <a:lnTo>
                    <a:pt x="157" y="43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9" y="36"/>
                  </a:lnTo>
                  <a:lnTo>
                    <a:pt x="160" y="33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5" y="24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9" y="20"/>
                  </a:lnTo>
                  <a:lnTo>
                    <a:pt x="169" y="16"/>
                  </a:lnTo>
                  <a:lnTo>
                    <a:pt x="169" y="16"/>
                  </a:lnTo>
                  <a:lnTo>
                    <a:pt x="170" y="14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6" y="10"/>
                  </a:lnTo>
                  <a:lnTo>
                    <a:pt x="177" y="6"/>
                  </a:lnTo>
                  <a:lnTo>
                    <a:pt x="177" y="6"/>
                  </a:lnTo>
                  <a:lnTo>
                    <a:pt x="176" y="4"/>
                  </a:lnTo>
                  <a:lnTo>
                    <a:pt x="175" y="3"/>
                  </a:lnTo>
                  <a:lnTo>
                    <a:pt x="175" y="3"/>
                  </a:lnTo>
                  <a:lnTo>
                    <a:pt x="169" y="0"/>
                  </a:lnTo>
                  <a:lnTo>
                    <a:pt x="163" y="0"/>
                  </a:lnTo>
                  <a:lnTo>
                    <a:pt x="159" y="3"/>
                  </a:lnTo>
                  <a:lnTo>
                    <a:pt x="155" y="8"/>
                  </a:lnTo>
                  <a:lnTo>
                    <a:pt x="155" y="8"/>
                  </a:lnTo>
                  <a:lnTo>
                    <a:pt x="150" y="14"/>
                  </a:lnTo>
                  <a:lnTo>
                    <a:pt x="146" y="17"/>
                  </a:lnTo>
                  <a:lnTo>
                    <a:pt x="136" y="21"/>
                  </a:lnTo>
                  <a:lnTo>
                    <a:pt x="136" y="21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29" y="23"/>
                  </a:lnTo>
                  <a:lnTo>
                    <a:pt x="126" y="21"/>
                  </a:lnTo>
                  <a:lnTo>
                    <a:pt x="126" y="21"/>
                  </a:lnTo>
                  <a:lnTo>
                    <a:pt x="122" y="20"/>
                  </a:lnTo>
                  <a:lnTo>
                    <a:pt x="117" y="21"/>
                  </a:lnTo>
                  <a:lnTo>
                    <a:pt x="117" y="21"/>
                  </a:lnTo>
                  <a:lnTo>
                    <a:pt x="113" y="23"/>
                  </a:lnTo>
                  <a:lnTo>
                    <a:pt x="113" y="23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97" y="17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7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6" y="13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2" y="7"/>
                  </a:lnTo>
                  <a:lnTo>
                    <a:pt x="59" y="7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11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7"/>
                  </a:lnTo>
                  <a:lnTo>
                    <a:pt x="55" y="20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6" y="23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3" y="23"/>
                  </a:lnTo>
                  <a:lnTo>
                    <a:pt x="42" y="24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0" y="30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3" y="36"/>
                  </a:lnTo>
                  <a:lnTo>
                    <a:pt x="32" y="38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7" y="48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30" y="58"/>
                  </a:lnTo>
                  <a:lnTo>
                    <a:pt x="30" y="63"/>
                  </a:lnTo>
                  <a:lnTo>
                    <a:pt x="29" y="68"/>
                  </a:lnTo>
                  <a:lnTo>
                    <a:pt x="29" y="68"/>
                  </a:lnTo>
                  <a:lnTo>
                    <a:pt x="27" y="73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2" y="80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8"/>
                  </a:lnTo>
                  <a:lnTo>
                    <a:pt x="19" y="94"/>
                  </a:lnTo>
                  <a:lnTo>
                    <a:pt x="19" y="94"/>
                  </a:lnTo>
                  <a:lnTo>
                    <a:pt x="19" y="98"/>
                  </a:lnTo>
                  <a:lnTo>
                    <a:pt x="19" y="103"/>
                  </a:lnTo>
                  <a:lnTo>
                    <a:pt x="19" y="103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3" y="110"/>
                  </a:lnTo>
                  <a:lnTo>
                    <a:pt x="12" y="118"/>
                  </a:lnTo>
                  <a:lnTo>
                    <a:pt x="12" y="118"/>
                  </a:lnTo>
                  <a:lnTo>
                    <a:pt x="10" y="124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6" y="127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2" y="134"/>
                  </a:lnTo>
                  <a:lnTo>
                    <a:pt x="0" y="141"/>
                  </a:lnTo>
                  <a:lnTo>
                    <a:pt x="0" y="150"/>
                  </a:lnTo>
                  <a:lnTo>
                    <a:pt x="2" y="154"/>
                  </a:lnTo>
                  <a:lnTo>
                    <a:pt x="2" y="154"/>
                  </a:lnTo>
                  <a:lnTo>
                    <a:pt x="3" y="157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9" y="157"/>
                  </a:lnTo>
                  <a:lnTo>
                    <a:pt x="13" y="156"/>
                  </a:lnTo>
                  <a:lnTo>
                    <a:pt x="13" y="156"/>
                  </a:lnTo>
                  <a:lnTo>
                    <a:pt x="19" y="154"/>
                  </a:lnTo>
                  <a:lnTo>
                    <a:pt x="19" y="154"/>
                  </a:lnTo>
                  <a:lnTo>
                    <a:pt x="19" y="156"/>
                  </a:lnTo>
                  <a:lnTo>
                    <a:pt x="19" y="156"/>
                  </a:lnTo>
                  <a:lnTo>
                    <a:pt x="19" y="160"/>
                  </a:lnTo>
                  <a:lnTo>
                    <a:pt x="19" y="161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0" y="169"/>
                  </a:lnTo>
                  <a:lnTo>
                    <a:pt x="20" y="169"/>
                  </a:lnTo>
                  <a:lnTo>
                    <a:pt x="20" y="173"/>
                  </a:lnTo>
                  <a:lnTo>
                    <a:pt x="20" y="173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19" y="189"/>
                  </a:lnTo>
                  <a:lnTo>
                    <a:pt x="19" y="189"/>
                  </a:lnTo>
                  <a:lnTo>
                    <a:pt x="17" y="194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3" y="206"/>
                  </a:lnTo>
                  <a:lnTo>
                    <a:pt x="13" y="206"/>
                  </a:lnTo>
                  <a:lnTo>
                    <a:pt x="13" y="211"/>
                  </a:lnTo>
                  <a:lnTo>
                    <a:pt x="13" y="214"/>
                  </a:lnTo>
                  <a:lnTo>
                    <a:pt x="17" y="219"/>
                  </a:lnTo>
                  <a:lnTo>
                    <a:pt x="17" y="219"/>
                  </a:lnTo>
                  <a:lnTo>
                    <a:pt x="20" y="220"/>
                  </a:lnTo>
                  <a:lnTo>
                    <a:pt x="20" y="220"/>
                  </a:lnTo>
                  <a:lnTo>
                    <a:pt x="22" y="221"/>
                  </a:lnTo>
                  <a:lnTo>
                    <a:pt x="23" y="223"/>
                  </a:lnTo>
                  <a:lnTo>
                    <a:pt x="23" y="223"/>
                  </a:lnTo>
                  <a:lnTo>
                    <a:pt x="26" y="221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33" y="219"/>
                  </a:lnTo>
                  <a:lnTo>
                    <a:pt x="33" y="219"/>
                  </a:lnTo>
                  <a:lnTo>
                    <a:pt x="36" y="219"/>
                  </a:lnTo>
                  <a:lnTo>
                    <a:pt x="39" y="219"/>
                  </a:lnTo>
                  <a:lnTo>
                    <a:pt x="42" y="217"/>
                  </a:lnTo>
                  <a:lnTo>
                    <a:pt x="43" y="214"/>
                  </a:lnTo>
                  <a:lnTo>
                    <a:pt x="43" y="214"/>
                  </a:lnTo>
                  <a:lnTo>
                    <a:pt x="45" y="211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1"/>
                  </a:lnTo>
                  <a:lnTo>
                    <a:pt x="45" y="196"/>
                  </a:lnTo>
                  <a:lnTo>
                    <a:pt x="45" y="196"/>
                  </a:lnTo>
                  <a:lnTo>
                    <a:pt x="45" y="193"/>
                  </a:lnTo>
                  <a:lnTo>
                    <a:pt x="45" y="193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46" y="174"/>
                  </a:lnTo>
                  <a:lnTo>
                    <a:pt x="49" y="164"/>
                  </a:lnTo>
                  <a:lnTo>
                    <a:pt x="49" y="164"/>
                  </a:lnTo>
                  <a:lnTo>
                    <a:pt x="50" y="157"/>
                  </a:lnTo>
                  <a:lnTo>
                    <a:pt x="50" y="153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6" y="140"/>
                  </a:lnTo>
                  <a:lnTo>
                    <a:pt x="46" y="136"/>
                  </a:lnTo>
                  <a:lnTo>
                    <a:pt x="46" y="136"/>
                  </a:lnTo>
                  <a:lnTo>
                    <a:pt x="47" y="133"/>
                  </a:lnTo>
                  <a:lnTo>
                    <a:pt x="47" y="133"/>
                  </a:lnTo>
                  <a:lnTo>
                    <a:pt x="50" y="131"/>
                  </a:lnTo>
                  <a:lnTo>
                    <a:pt x="53" y="130"/>
                  </a:lnTo>
                  <a:lnTo>
                    <a:pt x="59" y="129"/>
                  </a:lnTo>
                  <a:lnTo>
                    <a:pt x="59" y="129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2" y="136"/>
                  </a:lnTo>
                  <a:lnTo>
                    <a:pt x="62" y="139"/>
                  </a:lnTo>
                  <a:lnTo>
                    <a:pt x="59" y="143"/>
                  </a:lnTo>
                  <a:lnTo>
                    <a:pt x="59" y="143"/>
                  </a:lnTo>
                  <a:lnTo>
                    <a:pt x="56" y="150"/>
                  </a:lnTo>
                  <a:lnTo>
                    <a:pt x="57" y="156"/>
                  </a:lnTo>
                  <a:lnTo>
                    <a:pt x="59" y="160"/>
                  </a:lnTo>
                  <a:lnTo>
                    <a:pt x="63" y="163"/>
                  </a:lnTo>
                  <a:lnTo>
                    <a:pt x="63" y="163"/>
                  </a:lnTo>
                  <a:lnTo>
                    <a:pt x="67" y="166"/>
                  </a:lnTo>
                  <a:lnTo>
                    <a:pt x="67" y="166"/>
                  </a:lnTo>
                  <a:lnTo>
                    <a:pt x="70" y="169"/>
                  </a:lnTo>
                  <a:lnTo>
                    <a:pt x="72" y="171"/>
                  </a:lnTo>
                  <a:lnTo>
                    <a:pt x="72" y="171"/>
                  </a:lnTo>
                  <a:lnTo>
                    <a:pt x="72" y="176"/>
                  </a:lnTo>
                  <a:lnTo>
                    <a:pt x="70" y="179"/>
                  </a:lnTo>
                  <a:lnTo>
                    <a:pt x="70" y="179"/>
                  </a:lnTo>
                  <a:lnTo>
                    <a:pt x="67" y="187"/>
                  </a:lnTo>
                  <a:lnTo>
                    <a:pt x="67" y="187"/>
                  </a:lnTo>
                  <a:lnTo>
                    <a:pt x="67" y="190"/>
                  </a:lnTo>
                  <a:lnTo>
                    <a:pt x="69" y="193"/>
                  </a:lnTo>
                  <a:lnTo>
                    <a:pt x="69" y="193"/>
                  </a:lnTo>
                  <a:lnTo>
                    <a:pt x="70" y="194"/>
                  </a:lnTo>
                  <a:lnTo>
                    <a:pt x="73" y="196"/>
                  </a:lnTo>
                  <a:lnTo>
                    <a:pt x="79" y="197"/>
                  </a:lnTo>
                  <a:lnTo>
                    <a:pt x="79" y="197"/>
                  </a:lnTo>
                  <a:lnTo>
                    <a:pt x="83" y="196"/>
                  </a:lnTo>
                  <a:lnTo>
                    <a:pt x="86" y="196"/>
                  </a:lnTo>
                  <a:lnTo>
                    <a:pt x="87" y="193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90" y="187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3" y="183"/>
                  </a:lnTo>
                  <a:lnTo>
                    <a:pt x="93" y="183"/>
                  </a:lnTo>
                  <a:lnTo>
                    <a:pt x="97" y="181"/>
                  </a:lnTo>
                  <a:lnTo>
                    <a:pt x="97" y="181"/>
                  </a:lnTo>
                  <a:lnTo>
                    <a:pt x="102" y="183"/>
                  </a:lnTo>
                  <a:lnTo>
                    <a:pt x="103" y="183"/>
                  </a:lnTo>
                  <a:lnTo>
                    <a:pt x="103" y="183"/>
                  </a:lnTo>
                  <a:lnTo>
                    <a:pt x="103" y="184"/>
                  </a:lnTo>
                  <a:lnTo>
                    <a:pt x="103" y="184"/>
                  </a:lnTo>
                  <a:lnTo>
                    <a:pt x="100" y="186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3" y="187"/>
                  </a:lnTo>
                  <a:lnTo>
                    <a:pt x="92" y="189"/>
                  </a:lnTo>
                  <a:lnTo>
                    <a:pt x="92" y="189"/>
                  </a:lnTo>
                  <a:lnTo>
                    <a:pt x="90" y="190"/>
                  </a:lnTo>
                  <a:lnTo>
                    <a:pt x="90" y="193"/>
                  </a:lnTo>
                  <a:lnTo>
                    <a:pt x="90" y="193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89" y="201"/>
                  </a:lnTo>
                  <a:lnTo>
                    <a:pt x="89" y="201"/>
                  </a:lnTo>
                  <a:lnTo>
                    <a:pt x="89" y="204"/>
                  </a:lnTo>
                  <a:lnTo>
                    <a:pt x="89" y="204"/>
                  </a:lnTo>
                  <a:lnTo>
                    <a:pt x="87" y="207"/>
                  </a:lnTo>
                  <a:lnTo>
                    <a:pt x="87" y="209"/>
                  </a:lnTo>
                  <a:lnTo>
                    <a:pt x="87" y="209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2" y="211"/>
                  </a:lnTo>
                  <a:lnTo>
                    <a:pt x="93" y="213"/>
                  </a:lnTo>
                  <a:lnTo>
                    <a:pt x="93" y="213"/>
                  </a:lnTo>
                  <a:lnTo>
                    <a:pt x="97" y="217"/>
                  </a:lnTo>
                  <a:lnTo>
                    <a:pt x="102" y="219"/>
                  </a:lnTo>
                  <a:lnTo>
                    <a:pt x="102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05" name="Freeform 196"/>
            <p:cNvSpPr>
              <a:spLocks/>
            </p:cNvSpPr>
            <p:nvPr/>
          </p:nvSpPr>
          <p:spPr bwMode="auto">
            <a:xfrm>
              <a:off x="6137275" y="3740150"/>
              <a:ext cx="42863" cy="28575"/>
            </a:xfrm>
            <a:custGeom>
              <a:avLst/>
              <a:gdLst>
                <a:gd name="T0" fmla="*/ 47 w 53"/>
                <a:gd name="T1" fmla="*/ 13 h 37"/>
                <a:gd name="T2" fmla="*/ 47 w 53"/>
                <a:gd name="T3" fmla="*/ 13 h 37"/>
                <a:gd name="T4" fmla="*/ 44 w 53"/>
                <a:gd name="T5" fmla="*/ 12 h 37"/>
                <a:gd name="T6" fmla="*/ 41 w 53"/>
                <a:gd name="T7" fmla="*/ 9 h 37"/>
                <a:gd name="T8" fmla="*/ 34 w 53"/>
                <a:gd name="T9" fmla="*/ 7 h 37"/>
                <a:gd name="T10" fmla="*/ 34 w 53"/>
                <a:gd name="T11" fmla="*/ 7 h 37"/>
                <a:gd name="T12" fmla="*/ 28 w 53"/>
                <a:gd name="T13" fmla="*/ 4 h 37"/>
                <a:gd name="T14" fmla="*/ 28 w 53"/>
                <a:gd name="T15" fmla="*/ 4 h 37"/>
                <a:gd name="T16" fmla="*/ 27 w 53"/>
                <a:gd name="T17" fmla="*/ 3 h 37"/>
                <a:gd name="T18" fmla="*/ 25 w 53"/>
                <a:gd name="T19" fmla="*/ 2 h 37"/>
                <a:gd name="T20" fmla="*/ 18 w 53"/>
                <a:gd name="T21" fmla="*/ 0 h 37"/>
                <a:gd name="T22" fmla="*/ 18 w 53"/>
                <a:gd name="T23" fmla="*/ 0 h 37"/>
                <a:gd name="T24" fmla="*/ 11 w 53"/>
                <a:gd name="T25" fmla="*/ 2 h 37"/>
                <a:gd name="T26" fmla="*/ 8 w 53"/>
                <a:gd name="T27" fmla="*/ 2 h 37"/>
                <a:gd name="T28" fmla="*/ 5 w 53"/>
                <a:gd name="T29" fmla="*/ 3 h 37"/>
                <a:gd name="T30" fmla="*/ 5 w 53"/>
                <a:gd name="T31" fmla="*/ 3 h 37"/>
                <a:gd name="T32" fmla="*/ 4 w 53"/>
                <a:gd name="T33" fmla="*/ 4 h 37"/>
                <a:gd name="T34" fmla="*/ 4 w 53"/>
                <a:gd name="T35" fmla="*/ 4 h 37"/>
                <a:gd name="T36" fmla="*/ 1 w 53"/>
                <a:gd name="T37" fmla="*/ 7 h 37"/>
                <a:gd name="T38" fmla="*/ 1 w 53"/>
                <a:gd name="T39" fmla="*/ 9 h 37"/>
                <a:gd name="T40" fmla="*/ 0 w 53"/>
                <a:gd name="T41" fmla="*/ 10 h 37"/>
                <a:gd name="T42" fmla="*/ 0 w 53"/>
                <a:gd name="T43" fmla="*/ 10 h 37"/>
                <a:gd name="T44" fmla="*/ 1 w 53"/>
                <a:gd name="T45" fmla="*/ 13 h 37"/>
                <a:gd name="T46" fmla="*/ 4 w 53"/>
                <a:gd name="T47" fmla="*/ 16 h 37"/>
                <a:gd name="T48" fmla="*/ 11 w 53"/>
                <a:gd name="T49" fmla="*/ 19 h 37"/>
                <a:gd name="T50" fmla="*/ 24 w 53"/>
                <a:gd name="T51" fmla="*/ 23 h 37"/>
                <a:gd name="T52" fmla="*/ 25 w 53"/>
                <a:gd name="T53" fmla="*/ 23 h 37"/>
                <a:gd name="T54" fmla="*/ 25 w 53"/>
                <a:gd name="T55" fmla="*/ 23 h 37"/>
                <a:gd name="T56" fmla="*/ 27 w 53"/>
                <a:gd name="T57" fmla="*/ 24 h 37"/>
                <a:gd name="T58" fmla="*/ 30 w 53"/>
                <a:gd name="T59" fmla="*/ 27 h 37"/>
                <a:gd name="T60" fmla="*/ 30 w 53"/>
                <a:gd name="T61" fmla="*/ 27 h 37"/>
                <a:gd name="T62" fmla="*/ 31 w 53"/>
                <a:gd name="T63" fmla="*/ 30 h 37"/>
                <a:gd name="T64" fmla="*/ 31 w 53"/>
                <a:gd name="T65" fmla="*/ 30 h 37"/>
                <a:gd name="T66" fmla="*/ 37 w 53"/>
                <a:gd name="T67" fmla="*/ 36 h 37"/>
                <a:gd name="T68" fmla="*/ 40 w 53"/>
                <a:gd name="T69" fmla="*/ 37 h 37"/>
                <a:gd name="T70" fmla="*/ 43 w 53"/>
                <a:gd name="T71" fmla="*/ 37 h 37"/>
                <a:gd name="T72" fmla="*/ 43 w 53"/>
                <a:gd name="T73" fmla="*/ 37 h 37"/>
                <a:gd name="T74" fmla="*/ 45 w 53"/>
                <a:gd name="T75" fmla="*/ 37 h 37"/>
                <a:gd name="T76" fmla="*/ 48 w 53"/>
                <a:gd name="T77" fmla="*/ 36 h 37"/>
                <a:gd name="T78" fmla="*/ 51 w 53"/>
                <a:gd name="T79" fmla="*/ 33 h 37"/>
                <a:gd name="T80" fmla="*/ 53 w 53"/>
                <a:gd name="T81" fmla="*/ 30 h 37"/>
                <a:gd name="T82" fmla="*/ 53 w 53"/>
                <a:gd name="T83" fmla="*/ 30 h 37"/>
                <a:gd name="T84" fmla="*/ 53 w 53"/>
                <a:gd name="T85" fmla="*/ 26 h 37"/>
                <a:gd name="T86" fmla="*/ 53 w 53"/>
                <a:gd name="T87" fmla="*/ 22 h 37"/>
                <a:gd name="T88" fmla="*/ 50 w 53"/>
                <a:gd name="T89" fmla="*/ 17 h 37"/>
                <a:gd name="T90" fmla="*/ 50 w 53"/>
                <a:gd name="T91" fmla="*/ 17 h 37"/>
                <a:gd name="T92" fmla="*/ 47 w 53"/>
                <a:gd name="T93" fmla="*/ 13 h 37"/>
                <a:gd name="T94" fmla="*/ 47 w 53"/>
                <a:gd name="T95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3" h="37">
                  <a:moveTo>
                    <a:pt x="47" y="13"/>
                  </a:moveTo>
                  <a:lnTo>
                    <a:pt x="47" y="13"/>
                  </a:lnTo>
                  <a:lnTo>
                    <a:pt x="44" y="12"/>
                  </a:lnTo>
                  <a:lnTo>
                    <a:pt x="41" y="9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7" y="3"/>
                  </a:lnTo>
                  <a:lnTo>
                    <a:pt x="25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8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1" y="7"/>
                  </a:lnTo>
                  <a:lnTo>
                    <a:pt x="1" y="9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13"/>
                  </a:lnTo>
                  <a:lnTo>
                    <a:pt x="4" y="16"/>
                  </a:lnTo>
                  <a:lnTo>
                    <a:pt x="11" y="19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7" y="24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7" y="36"/>
                  </a:lnTo>
                  <a:lnTo>
                    <a:pt x="40" y="37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5" y="37"/>
                  </a:lnTo>
                  <a:lnTo>
                    <a:pt x="48" y="36"/>
                  </a:lnTo>
                  <a:lnTo>
                    <a:pt x="51" y="33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26"/>
                  </a:lnTo>
                  <a:lnTo>
                    <a:pt x="53" y="22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47" y="13"/>
                  </a:lnTo>
                  <a:lnTo>
                    <a:pt x="4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06" name="Freeform 197"/>
            <p:cNvSpPr>
              <a:spLocks noEditPoints="1"/>
            </p:cNvSpPr>
            <p:nvPr/>
          </p:nvSpPr>
          <p:spPr bwMode="auto">
            <a:xfrm>
              <a:off x="6076950" y="3711575"/>
              <a:ext cx="141288" cy="30162"/>
            </a:xfrm>
            <a:custGeom>
              <a:avLst/>
              <a:gdLst>
                <a:gd name="T0" fmla="*/ 141 w 177"/>
                <a:gd name="T1" fmla="*/ 32 h 39"/>
                <a:gd name="T2" fmla="*/ 149 w 177"/>
                <a:gd name="T3" fmla="*/ 29 h 39"/>
                <a:gd name="T4" fmla="*/ 159 w 177"/>
                <a:gd name="T5" fmla="*/ 29 h 39"/>
                <a:gd name="T6" fmla="*/ 171 w 177"/>
                <a:gd name="T7" fmla="*/ 28 h 39"/>
                <a:gd name="T8" fmla="*/ 177 w 177"/>
                <a:gd name="T9" fmla="*/ 23 h 39"/>
                <a:gd name="T10" fmla="*/ 174 w 177"/>
                <a:gd name="T11" fmla="*/ 16 h 39"/>
                <a:gd name="T12" fmla="*/ 166 w 177"/>
                <a:gd name="T13" fmla="*/ 15 h 39"/>
                <a:gd name="T14" fmla="*/ 154 w 177"/>
                <a:gd name="T15" fmla="*/ 12 h 39"/>
                <a:gd name="T16" fmla="*/ 149 w 177"/>
                <a:gd name="T17" fmla="*/ 16 h 39"/>
                <a:gd name="T18" fmla="*/ 143 w 177"/>
                <a:gd name="T19" fmla="*/ 15 h 39"/>
                <a:gd name="T20" fmla="*/ 124 w 177"/>
                <a:gd name="T21" fmla="*/ 5 h 39"/>
                <a:gd name="T22" fmla="*/ 111 w 177"/>
                <a:gd name="T23" fmla="*/ 10 h 39"/>
                <a:gd name="T24" fmla="*/ 109 w 177"/>
                <a:gd name="T25" fmla="*/ 13 h 39"/>
                <a:gd name="T26" fmla="*/ 99 w 177"/>
                <a:gd name="T27" fmla="*/ 12 h 39"/>
                <a:gd name="T28" fmla="*/ 91 w 177"/>
                <a:gd name="T29" fmla="*/ 12 h 39"/>
                <a:gd name="T30" fmla="*/ 90 w 177"/>
                <a:gd name="T31" fmla="*/ 13 h 39"/>
                <a:gd name="T32" fmla="*/ 87 w 177"/>
                <a:gd name="T33" fmla="*/ 8 h 39"/>
                <a:gd name="T34" fmla="*/ 76 w 177"/>
                <a:gd name="T35" fmla="*/ 6 h 39"/>
                <a:gd name="T36" fmla="*/ 68 w 177"/>
                <a:gd name="T37" fmla="*/ 6 h 39"/>
                <a:gd name="T38" fmla="*/ 51 w 177"/>
                <a:gd name="T39" fmla="*/ 0 h 39"/>
                <a:gd name="T40" fmla="*/ 46 w 177"/>
                <a:gd name="T41" fmla="*/ 2 h 39"/>
                <a:gd name="T42" fmla="*/ 41 w 177"/>
                <a:gd name="T43" fmla="*/ 8 h 39"/>
                <a:gd name="T44" fmla="*/ 34 w 177"/>
                <a:gd name="T45" fmla="*/ 12 h 39"/>
                <a:gd name="T46" fmla="*/ 27 w 177"/>
                <a:gd name="T47" fmla="*/ 18 h 39"/>
                <a:gd name="T48" fmla="*/ 24 w 177"/>
                <a:gd name="T49" fmla="*/ 12 h 39"/>
                <a:gd name="T50" fmla="*/ 16 w 177"/>
                <a:gd name="T51" fmla="*/ 5 h 39"/>
                <a:gd name="T52" fmla="*/ 8 w 177"/>
                <a:gd name="T53" fmla="*/ 8 h 39"/>
                <a:gd name="T54" fmla="*/ 7 w 177"/>
                <a:gd name="T55" fmla="*/ 18 h 39"/>
                <a:gd name="T56" fmla="*/ 4 w 177"/>
                <a:gd name="T57" fmla="*/ 19 h 39"/>
                <a:gd name="T58" fmla="*/ 1 w 177"/>
                <a:gd name="T59" fmla="*/ 23 h 39"/>
                <a:gd name="T60" fmla="*/ 11 w 177"/>
                <a:gd name="T61" fmla="*/ 32 h 39"/>
                <a:gd name="T62" fmla="*/ 18 w 177"/>
                <a:gd name="T63" fmla="*/ 26 h 39"/>
                <a:gd name="T64" fmla="*/ 21 w 177"/>
                <a:gd name="T65" fmla="*/ 25 h 39"/>
                <a:gd name="T66" fmla="*/ 24 w 177"/>
                <a:gd name="T67" fmla="*/ 33 h 39"/>
                <a:gd name="T68" fmla="*/ 31 w 177"/>
                <a:gd name="T69" fmla="*/ 39 h 39"/>
                <a:gd name="T70" fmla="*/ 44 w 177"/>
                <a:gd name="T71" fmla="*/ 35 h 39"/>
                <a:gd name="T72" fmla="*/ 64 w 177"/>
                <a:gd name="T73" fmla="*/ 30 h 39"/>
                <a:gd name="T74" fmla="*/ 67 w 177"/>
                <a:gd name="T75" fmla="*/ 29 h 39"/>
                <a:gd name="T76" fmla="*/ 78 w 177"/>
                <a:gd name="T77" fmla="*/ 28 h 39"/>
                <a:gd name="T78" fmla="*/ 90 w 177"/>
                <a:gd name="T79" fmla="*/ 25 h 39"/>
                <a:gd name="T80" fmla="*/ 93 w 177"/>
                <a:gd name="T81" fmla="*/ 19 h 39"/>
                <a:gd name="T82" fmla="*/ 94 w 177"/>
                <a:gd name="T83" fmla="*/ 26 h 39"/>
                <a:gd name="T84" fmla="*/ 109 w 177"/>
                <a:gd name="T85" fmla="*/ 30 h 39"/>
                <a:gd name="T86" fmla="*/ 129 w 177"/>
                <a:gd name="T87" fmla="*/ 29 h 39"/>
                <a:gd name="T88" fmla="*/ 133 w 177"/>
                <a:gd name="T89" fmla="*/ 30 h 39"/>
                <a:gd name="T90" fmla="*/ 57 w 177"/>
                <a:gd name="T91" fmla="*/ 20 h 39"/>
                <a:gd name="T92" fmla="*/ 51 w 177"/>
                <a:gd name="T93" fmla="*/ 16 h 39"/>
                <a:gd name="T94" fmla="*/ 51 w 177"/>
                <a:gd name="T95" fmla="*/ 12 h 39"/>
                <a:gd name="T96" fmla="*/ 60 w 177"/>
                <a:gd name="T97" fmla="*/ 15 h 39"/>
                <a:gd name="T98" fmla="*/ 57 w 177"/>
                <a:gd name="T99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7" h="39">
                  <a:moveTo>
                    <a:pt x="140" y="32"/>
                  </a:moveTo>
                  <a:lnTo>
                    <a:pt x="140" y="32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4" y="32"/>
                  </a:lnTo>
                  <a:lnTo>
                    <a:pt x="147" y="30"/>
                  </a:lnTo>
                  <a:lnTo>
                    <a:pt x="147" y="30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53" y="28"/>
                  </a:lnTo>
                  <a:lnTo>
                    <a:pt x="159" y="29"/>
                  </a:lnTo>
                  <a:lnTo>
                    <a:pt x="159" y="29"/>
                  </a:lnTo>
                  <a:lnTo>
                    <a:pt x="159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71" y="28"/>
                  </a:lnTo>
                  <a:lnTo>
                    <a:pt x="176" y="26"/>
                  </a:lnTo>
                  <a:lnTo>
                    <a:pt x="177" y="25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7" y="22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4" y="16"/>
                  </a:lnTo>
                  <a:lnTo>
                    <a:pt x="171" y="16"/>
                  </a:lnTo>
                  <a:lnTo>
                    <a:pt x="171" y="16"/>
                  </a:lnTo>
                  <a:lnTo>
                    <a:pt x="166" y="15"/>
                  </a:lnTo>
                  <a:lnTo>
                    <a:pt x="166" y="15"/>
                  </a:lnTo>
                  <a:lnTo>
                    <a:pt x="166" y="15"/>
                  </a:lnTo>
                  <a:lnTo>
                    <a:pt x="157" y="12"/>
                  </a:lnTo>
                  <a:lnTo>
                    <a:pt x="157" y="12"/>
                  </a:lnTo>
                  <a:lnTo>
                    <a:pt x="154" y="12"/>
                  </a:lnTo>
                  <a:lnTo>
                    <a:pt x="153" y="13"/>
                  </a:lnTo>
                  <a:lnTo>
                    <a:pt x="150" y="15"/>
                  </a:lnTo>
                  <a:lnTo>
                    <a:pt x="150" y="15"/>
                  </a:lnTo>
                  <a:lnTo>
                    <a:pt x="149" y="16"/>
                  </a:lnTo>
                  <a:lnTo>
                    <a:pt x="149" y="16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3" y="15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29" y="8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19" y="5"/>
                  </a:lnTo>
                  <a:lnTo>
                    <a:pt x="116" y="6"/>
                  </a:lnTo>
                  <a:lnTo>
                    <a:pt x="111" y="10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6" y="15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99" y="12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0" y="13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7" y="8"/>
                  </a:lnTo>
                  <a:lnTo>
                    <a:pt x="84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4" y="3"/>
                  </a:lnTo>
                  <a:lnTo>
                    <a:pt x="61" y="2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3" y="6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38" y="9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1" y="8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8" y="8"/>
                  </a:lnTo>
                  <a:lnTo>
                    <a:pt x="7" y="10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8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1" y="19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" y="23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7" y="30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4" y="30"/>
                  </a:lnTo>
                  <a:lnTo>
                    <a:pt x="16" y="29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21" y="25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9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8" y="38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6" y="38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44" y="35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61" y="32"/>
                  </a:lnTo>
                  <a:lnTo>
                    <a:pt x="64" y="30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74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86" y="28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1" y="22"/>
                  </a:lnTo>
                  <a:lnTo>
                    <a:pt x="91" y="19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3" y="20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4" y="26"/>
                  </a:lnTo>
                  <a:lnTo>
                    <a:pt x="96" y="28"/>
                  </a:lnTo>
                  <a:lnTo>
                    <a:pt x="100" y="29"/>
                  </a:lnTo>
                  <a:lnTo>
                    <a:pt x="109" y="30"/>
                  </a:lnTo>
                  <a:lnTo>
                    <a:pt x="109" y="30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9" y="29"/>
                  </a:lnTo>
                  <a:lnTo>
                    <a:pt x="129" y="29"/>
                  </a:lnTo>
                  <a:lnTo>
                    <a:pt x="129" y="29"/>
                  </a:lnTo>
                  <a:lnTo>
                    <a:pt x="129" y="29"/>
                  </a:lnTo>
                  <a:lnTo>
                    <a:pt x="133" y="30"/>
                  </a:lnTo>
                  <a:lnTo>
                    <a:pt x="133" y="30"/>
                  </a:lnTo>
                  <a:lnTo>
                    <a:pt x="136" y="32"/>
                  </a:lnTo>
                  <a:lnTo>
                    <a:pt x="140" y="32"/>
                  </a:lnTo>
                  <a:lnTo>
                    <a:pt x="140" y="32"/>
                  </a:lnTo>
                  <a:close/>
                  <a:moveTo>
                    <a:pt x="57" y="20"/>
                  </a:moveTo>
                  <a:lnTo>
                    <a:pt x="57" y="20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1" y="1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0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7" y="13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8"/>
                  </a:lnTo>
                  <a:lnTo>
                    <a:pt x="57" y="20"/>
                  </a:lnTo>
                  <a:lnTo>
                    <a:pt x="5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07" name="Freeform 198"/>
            <p:cNvSpPr>
              <a:spLocks/>
            </p:cNvSpPr>
            <p:nvPr/>
          </p:nvSpPr>
          <p:spPr bwMode="auto">
            <a:xfrm>
              <a:off x="6227763" y="3717925"/>
              <a:ext cx="84138" cy="52387"/>
            </a:xfrm>
            <a:custGeom>
              <a:avLst/>
              <a:gdLst>
                <a:gd name="T0" fmla="*/ 7 w 104"/>
                <a:gd name="T1" fmla="*/ 66 h 66"/>
                <a:gd name="T2" fmla="*/ 13 w 104"/>
                <a:gd name="T3" fmla="*/ 64 h 66"/>
                <a:gd name="T4" fmla="*/ 19 w 104"/>
                <a:gd name="T5" fmla="*/ 59 h 66"/>
                <a:gd name="T6" fmla="*/ 20 w 104"/>
                <a:gd name="T7" fmla="*/ 57 h 66"/>
                <a:gd name="T8" fmla="*/ 24 w 104"/>
                <a:gd name="T9" fmla="*/ 57 h 66"/>
                <a:gd name="T10" fmla="*/ 34 w 104"/>
                <a:gd name="T11" fmla="*/ 54 h 66"/>
                <a:gd name="T12" fmla="*/ 43 w 104"/>
                <a:gd name="T13" fmla="*/ 46 h 66"/>
                <a:gd name="T14" fmla="*/ 47 w 104"/>
                <a:gd name="T15" fmla="*/ 40 h 66"/>
                <a:gd name="T16" fmla="*/ 51 w 104"/>
                <a:gd name="T17" fmla="*/ 34 h 66"/>
                <a:gd name="T18" fmla="*/ 57 w 104"/>
                <a:gd name="T19" fmla="*/ 33 h 66"/>
                <a:gd name="T20" fmla="*/ 67 w 104"/>
                <a:gd name="T21" fmla="*/ 30 h 66"/>
                <a:gd name="T22" fmla="*/ 94 w 104"/>
                <a:gd name="T23" fmla="*/ 17 h 66"/>
                <a:gd name="T24" fmla="*/ 103 w 104"/>
                <a:gd name="T25" fmla="*/ 11 h 66"/>
                <a:gd name="T26" fmla="*/ 104 w 104"/>
                <a:gd name="T27" fmla="*/ 3 h 66"/>
                <a:gd name="T28" fmla="*/ 101 w 104"/>
                <a:gd name="T29" fmla="*/ 1 h 66"/>
                <a:gd name="T30" fmla="*/ 94 w 104"/>
                <a:gd name="T31" fmla="*/ 1 h 66"/>
                <a:gd name="T32" fmla="*/ 90 w 104"/>
                <a:gd name="T33" fmla="*/ 4 h 66"/>
                <a:gd name="T34" fmla="*/ 83 w 104"/>
                <a:gd name="T35" fmla="*/ 7 h 66"/>
                <a:gd name="T36" fmla="*/ 77 w 104"/>
                <a:gd name="T37" fmla="*/ 6 h 66"/>
                <a:gd name="T38" fmla="*/ 73 w 104"/>
                <a:gd name="T39" fmla="*/ 4 h 66"/>
                <a:gd name="T40" fmla="*/ 69 w 104"/>
                <a:gd name="T41" fmla="*/ 4 h 66"/>
                <a:gd name="T42" fmla="*/ 67 w 104"/>
                <a:gd name="T43" fmla="*/ 4 h 66"/>
                <a:gd name="T44" fmla="*/ 61 w 104"/>
                <a:gd name="T45" fmla="*/ 7 h 66"/>
                <a:gd name="T46" fmla="*/ 59 w 104"/>
                <a:gd name="T47" fmla="*/ 10 h 66"/>
                <a:gd name="T48" fmla="*/ 56 w 104"/>
                <a:gd name="T49" fmla="*/ 13 h 66"/>
                <a:gd name="T50" fmla="*/ 53 w 104"/>
                <a:gd name="T51" fmla="*/ 13 h 66"/>
                <a:gd name="T52" fmla="*/ 49 w 104"/>
                <a:gd name="T53" fmla="*/ 13 h 66"/>
                <a:gd name="T54" fmla="*/ 46 w 104"/>
                <a:gd name="T55" fmla="*/ 14 h 66"/>
                <a:gd name="T56" fmla="*/ 46 w 104"/>
                <a:gd name="T57" fmla="*/ 19 h 66"/>
                <a:gd name="T58" fmla="*/ 46 w 104"/>
                <a:gd name="T59" fmla="*/ 20 h 66"/>
                <a:gd name="T60" fmla="*/ 40 w 104"/>
                <a:gd name="T61" fmla="*/ 24 h 66"/>
                <a:gd name="T62" fmla="*/ 34 w 104"/>
                <a:gd name="T63" fmla="*/ 26 h 66"/>
                <a:gd name="T64" fmla="*/ 33 w 104"/>
                <a:gd name="T65" fmla="*/ 26 h 66"/>
                <a:gd name="T66" fmla="*/ 30 w 104"/>
                <a:gd name="T67" fmla="*/ 26 h 66"/>
                <a:gd name="T68" fmla="*/ 30 w 104"/>
                <a:gd name="T69" fmla="*/ 29 h 66"/>
                <a:gd name="T70" fmla="*/ 26 w 104"/>
                <a:gd name="T71" fmla="*/ 31 h 66"/>
                <a:gd name="T72" fmla="*/ 20 w 104"/>
                <a:gd name="T73" fmla="*/ 33 h 66"/>
                <a:gd name="T74" fmla="*/ 16 w 104"/>
                <a:gd name="T75" fmla="*/ 34 h 66"/>
                <a:gd name="T76" fmla="*/ 11 w 104"/>
                <a:gd name="T77" fmla="*/ 40 h 66"/>
                <a:gd name="T78" fmla="*/ 9 w 104"/>
                <a:gd name="T79" fmla="*/ 49 h 66"/>
                <a:gd name="T80" fmla="*/ 7 w 104"/>
                <a:gd name="T81" fmla="*/ 54 h 66"/>
                <a:gd name="T82" fmla="*/ 3 w 104"/>
                <a:gd name="T83" fmla="*/ 54 h 66"/>
                <a:gd name="T84" fmla="*/ 1 w 104"/>
                <a:gd name="T85" fmla="*/ 57 h 66"/>
                <a:gd name="T86" fmla="*/ 3 w 104"/>
                <a:gd name="T87" fmla="*/ 63 h 66"/>
                <a:gd name="T88" fmla="*/ 7 w 104"/>
                <a:gd name="T8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4" h="66">
                  <a:moveTo>
                    <a:pt x="7" y="66"/>
                  </a:moveTo>
                  <a:lnTo>
                    <a:pt x="7" y="66"/>
                  </a:lnTo>
                  <a:lnTo>
                    <a:pt x="10" y="66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20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30" y="57"/>
                  </a:lnTo>
                  <a:lnTo>
                    <a:pt x="34" y="54"/>
                  </a:lnTo>
                  <a:lnTo>
                    <a:pt x="39" y="51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51" y="34"/>
                  </a:lnTo>
                  <a:lnTo>
                    <a:pt x="53" y="34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67" y="30"/>
                  </a:lnTo>
                  <a:lnTo>
                    <a:pt x="81" y="24"/>
                  </a:lnTo>
                  <a:lnTo>
                    <a:pt x="94" y="17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7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1" y="1"/>
                  </a:lnTo>
                  <a:lnTo>
                    <a:pt x="99" y="0"/>
                  </a:lnTo>
                  <a:lnTo>
                    <a:pt x="94" y="1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86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3" y="4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3" y="4"/>
                  </a:lnTo>
                  <a:lnTo>
                    <a:pt x="61" y="7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7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49" y="13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4" y="16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0" y="24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0" y="26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29" y="29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6" y="34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0" y="44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7" y="54"/>
                  </a:lnTo>
                  <a:lnTo>
                    <a:pt x="6" y="54"/>
                  </a:lnTo>
                  <a:lnTo>
                    <a:pt x="3" y="54"/>
                  </a:lnTo>
                  <a:lnTo>
                    <a:pt x="0" y="54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3" y="63"/>
                  </a:lnTo>
                  <a:lnTo>
                    <a:pt x="4" y="66"/>
                  </a:lnTo>
                  <a:lnTo>
                    <a:pt x="7" y="66"/>
                  </a:lnTo>
                  <a:lnTo>
                    <a:pt x="7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08" name="Freeform 199"/>
            <p:cNvSpPr>
              <a:spLocks/>
            </p:cNvSpPr>
            <p:nvPr/>
          </p:nvSpPr>
          <p:spPr bwMode="auto">
            <a:xfrm>
              <a:off x="6292850" y="3595688"/>
              <a:ext cx="28575" cy="23812"/>
            </a:xfrm>
            <a:custGeom>
              <a:avLst/>
              <a:gdLst>
                <a:gd name="T0" fmla="*/ 27 w 37"/>
                <a:gd name="T1" fmla="*/ 28 h 31"/>
                <a:gd name="T2" fmla="*/ 27 w 37"/>
                <a:gd name="T3" fmla="*/ 28 h 31"/>
                <a:gd name="T4" fmla="*/ 31 w 37"/>
                <a:gd name="T5" fmla="*/ 28 h 31"/>
                <a:gd name="T6" fmla="*/ 31 w 37"/>
                <a:gd name="T7" fmla="*/ 28 h 31"/>
                <a:gd name="T8" fmla="*/ 34 w 37"/>
                <a:gd name="T9" fmla="*/ 25 h 31"/>
                <a:gd name="T10" fmla="*/ 36 w 37"/>
                <a:gd name="T11" fmla="*/ 22 h 31"/>
                <a:gd name="T12" fmla="*/ 37 w 37"/>
                <a:gd name="T13" fmla="*/ 20 h 31"/>
                <a:gd name="T14" fmla="*/ 37 w 37"/>
                <a:gd name="T15" fmla="*/ 15 h 31"/>
                <a:gd name="T16" fmla="*/ 37 w 37"/>
                <a:gd name="T17" fmla="*/ 15 h 31"/>
                <a:gd name="T18" fmla="*/ 34 w 37"/>
                <a:gd name="T19" fmla="*/ 10 h 31"/>
                <a:gd name="T20" fmla="*/ 30 w 37"/>
                <a:gd name="T21" fmla="*/ 5 h 31"/>
                <a:gd name="T22" fmla="*/ 23 w 37"/>
                <a:gd name="T23" fmla="*/ 2 h 31"/>
                <a:gd name="T24" fmla="*/ 19 w 37"/>
                <a:gd name="T25" fmla="*/ 0 h 31"/>
                <a:gd name="T26" fmla="*/ 19 w 37"/>
                <a:gd name="T27" fmla="*/ 0 h 31"/>
                <a:gd name="T28" fmla="*/ 16 w 37"/>
                <a:gd name="T29" fmla="*/ 0 h 31"/>
                <a:gd name="T30" fmla="*/ 16 w 37"/>
                <a:gd name="T31" fmla="*/ 0 h 31"/>
                <a:gd name="T32" fmla="*/ 11 w 37"/>
                <a:gd name="T33" fmla="*/ 1 h 31"/>
                <a:gd name="T34" fmla="*/ 7 w 37"/>
                <a:gd name="T35" fmla="*/ 2 h 31"/>
                <a:gd name="T36" fmla="*/ 4 w 37"/>
                <a:gd name="T37" fmla="*/ 4 h 31"/>
                <a:gd name="T38" fmla="*/ 1 w 37"/>
                <a:gd name="T39" fmla="*/ 8 h 31"/>
                <a:gd name="T40" fmla="*/ 1 w 37"/>
                <a:gd name="T41" fmla="*/ 8 h 31"/>
                <a:gd name="T42" fmla="*/ 0 w 37"/>
                <a:gd name="T43" fmla="*/ 11 h 31"/>
                <a:gd name="T44" fmla="*/ 1 w 37"/>
                <a:gd name="T45" fmla="*/ 15 h 31"/>
                <a:gd name="T46" fmla="*/ 1 w 37"/>
                <a:gd name="T47" fmla="*/ 15 h 31"/>
                <a:gd name="T48" fmla="*/ 4 w 37"/>
                <a:gd name="T49" fmla="*/ 18 h 31"/>
                <a:gd name="T50" fmla="*/ 4 w 37"/>
                <a:gd name="T51" fmla="*/ 18 h 31"/>
                <a:gd name="T52" fmla="*/ 10 w 37"/>
                <a:gd name="T53" fmla="*/ 27 h 31"/>
                <a:gd name="T54" fmla="*/ 14 w 37"/>
                <a:gd name="T55" fmla="*/ 30 h 31"/>
                <a:gd name="T56" fmla="*/ 19 w 37"/>
                <a:gd name="T57" fmla="*/ 31 h 31"/>
                <a:gd name="T58" fmla="*/ 19 w 37"/>
                <a:gd name="T59" fmla="*/ 31 h 31"/>
                <a:gd name="T60" fmla="*/ 21 w 37"/>
                <a:gd name="T61" fmla="*/ 31 h 31"/>
                <a:gd name="T62" fmla="*/ 21 w 37"/>
                <a:gd name="T63" fmla="*/ 31 h 31"/>
                <a:gd name="T64" fmla="*/ 24 w 37"/>
                <a:gd name="T65" fmla="*/ 30 h 31"/>
                <a:gd name="T66" fmla="*/ 24 w 37"/>
                <a:gd name="T67" fmla="*/ 30 h 31"/>
                <a:gd name="T68" fmla="*/ 26 w 37"/>
                <a:gd name="T69" fmla="*/ 28 h 31"/>
                <a:gd name="T70" fmla="*/ 26 w 37"/>
                <a:gd name="T71" fmla="*/ 28 h 31"/>
                <a:gd name="T72" fmla="*/ 27 w 37"/>
                <a:gd name="T73" fmla="*/ 28 h 31"/>
                <a:gd name="T74" fmla="*/ 27 w 37"/>
                <a:gd name="T75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" h="31">
                  <a:moveTo>
                    <a:pt x="27" y="28"/>
                  </a:move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4" y="25"/>
                  </a:lnTo>
                  <a:lnTo>
                    <a:pt x="36" y="22"/>
                  </a:lnTo>
                  <a:lnTo>
                    <a:pt x="37" y="20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4" y="10"/>
                  </a:lnTo>
                  <a:lnTo>
                    <a:pt x="30" y="5"/>
                  </a:lnTo>
                  <a:lnTo>
                    <a:pt x="23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1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11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10" y="27"/>
                  </a:lnTo>
                  <a:lnTo>
                    <a:pt x="14" y="30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09" name="Freeform 200"/>
            <p:cNvSpPr>
              <a:spLocks/>
            </p:cNvSpPr>
            <p:nvPr/>
          </p:nvSpPr>
          <p:spPr bwMode="auto">
            <a:xfrm>
              <a:off x="6332538" y="3587750"/>
              <a:ext cx="63500" cy="28575"/>
            </a:xfrm>
            <a:custGeom>
              <a:avLst/>
              <a:gdLst>
                <a:gd name="T0" fmla="*/ 9 w 80"/>
                <a:gd name="T1" fmla="*/ 23 h 36"/>
                <a:gd name="T2" fmla="*/ 6 w 80"/>
                <a:gd name="T3" fmla="*/ 26 h 36"/>
                <a:gd name="T4" fmla="*/ 3 w 80"/>
                <a:gd name="T5" fmla="*/ 29 h 36"/>
                <a:gd name="T6" fmla="*/ 2 w 80"/>
                <a:gd name="T7" fmla="*/ 34 h 36"/>
                <a:gd name="T8" fmla="*/ 5 w 80"/>
                <a:gd name="T9" fmla="*/ 34 h 36"/>
                <a:gd name="T10" fmla="*/ 12 w 80"/>
                <a:gd name="T11" fmla="*/ 34 h 36"/>
                <a:gd name="T12" fmla="*/ 23 w 80"/>
                <a:gd name="T13" fmla="*/ 33 h 36"/>
                <a:gd name="T14" fmla="*/ 26 w 80"/>
                <a:gd name="T15" fmla="*/ 30 h 36"/>
                <a:gd name="T16" fmla="*/ 28 w 80"/>
                <a:gd name="T17" fmla="*/ 26 h 36"/>
                <a:gd name="T18" fmla="*/ 29 w 80"/>
                <a:gd name="T19" fmla="*/ 23 h 36"/>
                <a:gd name="T20" fmla="*/ 32 w 80"/>
                <a:gd name="T21" fmla="*/ 24 h 36"/>
                <a:gd name="T22" fmla="*/ 42 w 80"/>
                <a:gd name="T23" fmla="*/ 26 h 36"/>
                <a:gd name="T24" fmla="*/ 50 w 80"/>
                <a:gd name="T25" fmla="*/ 24 h 36"/>
                <a:gd name="T26" fmla="*/ 55 w 80"/>
                <a:gd name="T27" fmla="*/ 24 h 36"/>
                <a:gd name="T28" fmla="*/ 58 w 80"/>
                <a:gd name="T29" fmla="*/ 24 h 36"/>
                <a:gd name="T30" fmla="*/ 60 w 80"/>
                <a:gd name="T31" fmla="*/ 27 h 36"/>
                <a:gd name="T32" fmla="*/ 62 w 80"/>
                <a:gd name="T33" fmla="*/ 30 h 36"/>
                <a:gd name="T34" fmla="*/ 70 w 80"/>
                <a:gd name="T35" fmla="*/ 36 h 36"/>
                <a:gd name="T36" fmla="*/ 73 w 80"/>
                <a:gd name="T37" fmla="*/ 36 h 36"/>
                <a:gd name="T38" fmla="*/ 79 w 80"/>
                <a:gd name="T39" fmla="*/ 33 h 36"/>
                <a:gd name="T40" fmla="*/ 80 w 80"/>
                <a:gd name="T41" fmla="*/ 30 h 36"/>
                <a:gd name="T42" fmla="*/ 79 w 80"/>
                <a:gd name="T43" fmla="*/ 23 h 36"/>
                <a:gd name="T44" fmla="*/ 78 w 80"/>
                <a:gd name="T45" fmla="*/ 20 h 36"/>
                <a:gd name="T46" fmla="*/ 78 w 80"/>
                <a:gd name="T47" fmla="*/ 20 h 36"/>
                <a:gd name="T48" fmla="*/ 78 w 80"/>
                <a:gd name="T49" fmla="*/ 19 h 36"/>
                <a:gd name="T50" fmla="*/ 76 w 80"/>
                <a:gd name="T51" fmla="*/ 14 h 36"/>
                <a:gd name="T52" fmla="*/ 75 w 80"/>
                <a:gd name="T53" fmla="*/ 11 h 36"/>
                <a:gd name="T54" fmla="*/ 63 w 80"/>
                <a:gd name="T55" fmla="*/ 7 h 36"/>
                <a:gd name="T56" fmla="*/ 60 w 80"/>
                <a:gd name="T57" fmla="*/ 7 h 36"/>
                <a:gd name="T58" fmla="*/ 58 w 80"/>
                <a:gd name="T59" fmla="*/ 6 h 36"/>
                <a:gd name="T60" fmla="*/ 55 w 80"/>
                <a:gd name="T61" fmla="*/ 4 h 36"/>
                <a:gd name="T62" fmla="*/ 52 w 80"/>
                <a:gd name="T63" fmla="*/ 1 h 36"/>
                <a:gd name="T64" fmla="*/ 46 w 80"/>
                <a:gd name="T65" fmla="*/ 0 h 36"/>
                <a:gd name="T66" fmla="*/ 40 w 80"/>
                <a:gd name="T67" fmla="*/ 1 h 36"/>
                <a:gd name="T68" fmla="*/ 40 w 80"/>
                <a:gd name="T69" fmla="*/ 1 h 36"/>
                <a:gd name="T70" fmla="*/ 38 w 80"/>
                <a:gd name="T71" fmla="*/ 3 h 36"/>
                <a:gd name="T72" fmla="*/ 35 w 80"/>
                <a:gd name="T73" fmla="*/ 6 h 36"/>
                <a:gd name="T74" fmla="*/ 30 w 80"/>
                <a:gd name="T75" fmla="*/ 6 h 36"/>
                <a:gd name="T76" fmla="*/ 30 w 80"/>
                <a:gd name="T77" fmla="*/ 6 h 36"/>
                <a:gd name="T78" fmla="*/ 28 w 80"/>
                <a:gd name="T79" fmla="*/ 4 h 36"/>
                <a:gd name="T80" fmla="*/ 23 w 80"/>
                <a:gd name="T81" fmla="*/ 0 h 36"/>
                <a:gd name="T82" fmla="*/ 18 w 80"/>
                <a:gd name="T83" fmla="*/ 0 h 36"/>
                <a:gd name="T84" fmla="*/ 12 w 80"/>
                <a:gd name="T85" fmla="*/ 0 h 36"/>
                <a:gd name="T86" fmla="*/ 5 w 80"/>
                <a:gd name="T87" fmla="*/ 4 h 36"/>
                <a:gd name="T88" fmla="*/ 3 w 80"/>
                <a:gd name="T89" fmla="*/ 7 h 36"/>
                <a:gd name="T90" fmla="*/ 2 w 80"/>
                <a:gd name="T91" fmla="*/ 9 h 36"/>
                <a:gd name="T92" fmla="*/ 0 w 80"/>
                <a:gd name="T93" fmla="*/ 11 h 36"/>
                <a:gd name="T94" fmla="*/ 2 w 80"/>
                <a:gd name="T95" fmla="*/ 16 h 36"/>
                <a:gd name="T96" fmla="*/ 3 w 80"/>
                <a:gd name="T97" fmla="*/ 16 h 36"/>
                <a:gd name="T98" fmla="*/ 6 w 80"/>
                <a:gd name="T99" fmla="*/ 17 h 36"/>
                <a:gd name="T100" fmla="*/ 8 w 80"/>
                <a:gd name="T101" fmla="*/ 17 h 36"/>
                <a:gd name="T102" fmla="*/ 9 w 80"/>
                <a:gd name="T103" fmla="*/ 21 h 36"/>
                <a:gd name="T104" fmla="*/ 9 w 80"/>
                <a:gd name="T105" fmla="*/ 2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" h="36">
                  <a:moveTo>
                    <a:pt x="9" y="23"/>
                  </a:moveTo>
                  <a:lnTo>
                    <a:pt x="9" y="23"/>
                  </a:lnTo>
                  <a:lnTo>
                    <a:pt x="6" y="24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9" y="34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6" y="30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4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42" y="26"/>
                  </a:lnTo>
                  <a:lnTo>
                    <a:pt x="46" y="26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8" y="24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8" y="34"/>
                  </a:lnTo>
                  <a:lnTo>
                    <a:pt x="70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8" y="36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80" y="30"/>
                  </a:lnTo>
                  <a:lnTo>
                    <a:pt x="80" y="26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5" y="11"/>
                  </a:lnTo>
                  <a:lnTo>
                    <a:pt x="70" y="10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58" y="6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3" y="0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5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6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5" y="4"/>
                  </a:lnTo>
                  <a:lnTo>
                    <a:pt x="5" y="4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11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10" name="Freeform 201"/>
            <p:cNvSpPr>
              <a:spLocks/>
            </p:cNvSpPr>
            <p:nvPr/>
          </p:nvSpPr>
          <p:spPr bwMode="auto">
            <a:xfrm>
              <a:off x="6324600" y="3551238"/>
              <a:ext cx="17463" cy="19050"/>
            </a:xfrm>
            <a:custGeom>
              <a:avLst/>
              <a:gdLst>
                <a:gd name="T0" fmla="*/ 19 w 23"/>
                <a:gd name="T1" fmla="*/ 24 h 24"/>
                <a:gd name="T2" fmla="*/ 19 w 23"/>
                <a:gd name="T3" fmla="*/ 24 h 24"/>
                <a:gd name="T4" fmla="*/ 20 w 23"/>
                <a:gd name="T5" fmla="*/ 24 h 24"/>
                <a:gd name="T6" fmla="*/ 23 w 23"/>
                <a:gd name="T7" fmla="*/ 24 h 24"/>
                <a:gd name="T8" fmla="*/ 23 w 23"/>
                <a:gd name="T9" fmla="*/ 20 h 24"/>
                <a:gd name="T10" fmla="*/ 23 w 23"/>
                <a:gd name="T11" fmla="*/ 20 h 24"/>
                <a:gd name="T12" fmla="*/ 23 w 23"/>
                <a:gd name="T13" fmla="*/ 15 h 24"/>
                <a:gd name="T14" fmla="*/ 21 w 23"/>
                <a:gd name="T15" fmla="*/ 11 h 24"/>
                <a:gd name="T16" fmla="*/ 21 w 23"/>
                <a:gd name="T17" fmla="*/ 11 h 24"/>
                <a:gd name="T18" fmla="*/ 17 w 23"/>
                <a:gd name="T19" fmla="*/ 8 h 24"/>
                <a:gd name="T20" fmla="*/ 17 w 23"/>
                <a:gd name="T21" fmla="*/ 8 h 24"/>
                <a:gd name="T22" fmla="*/ 14 w 23"/>
                <a:gd name="T23" fmla="*/ 7 h 24"/>
                <a:gd name="T24" fmla="*/ 14 w 23"/>
                <a:gd name="T25" fmla="*/ 7 h 24"/>
                <a:gd name="T26" fmla="*/ 14 w 23"/>
                <a:gd name="T27" fmla="*/ 5 h 24"/>
                <a:gd name="T28" fmla="*/ 14 w 23"/>
                <a:gd name="T29" fmla="*/ 5 h 24"/>
                <a:gd name="T30" fmla="*/ 13 w 23"/>
                <a:gd name="T31" fmla="*/ 3 h 24"/>
                <a:gd name="T32" fmla="*/ 13 w 23"/>
                <a:gd name="T33" fmla="*/ 1 h 24"/>
                <a:gd name="T34" fmla="*/ 10 w 23"/>
                <a:gd name="T35" fmla="*/ 1 h 24"/>
                <a:gd name="T36" fmla="*/ 9 w 23"/>
                <a:gd name="T37" fmla="*/ 0 h 24"/>
                <a:gd name="T38" fmla="*/ 7 w 23"/>
                <a:gd name="T39" fmla="*/ 3 h 24"/>
                <a:gd name="T40" fmla="*/ 7 w 23"/>
                <a:gd name="T41" fmla="*/ 3 h 24"/>
                <a:gd name="T42" fmla="*/ 4 w 23"/>
                <a:gd name="T43" fmla="*/ 5 h 24"/>
                <a:gd name="T44" fmla="*/ 1 w 23"/>
                <a:gd name="T45" fmla="*/ 10 h 24"/>
                <a:gd name="T46" fmla="*/ 0 w 23"/>
                <a:gd name="T47" fmla="*/ 14 h 24"/>
                <a:gd name="T48" fmla="*/ 1 w 23"/>
                <a:gd name="T49" fmla="*/ 17 h 24"/>
                <a:gd name="T50" fmla="*/ 3 w 23"/>
                <a:gd name="T51" fmla="*/ 20 h 24"/>
                <a:gd name="T52" fmla="*/ 3 w 23"/>
                <a:gd name="T53" fmla="*/ 20 h 24"/>
                <a:gd name="T54" fmla="*/ 6 w 23"/>
                <a:gd name="T55" fmla="*/ 21 h 24"/>
                <a:gd name="T56" fmla="*/ 10 w 23"/>
                <a:gd name="T57" fmla="*/ 23 h 24"/>
                <a:gd name="T58" fmla="*/ 19 w 23"/>
                <a:gd name="T59" fmla="*/ 24 h 24"/>
                <a:gd name="T60" fmla="*/ 19 w 23"/>
                <a:gd name="T61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" h="24">
                  <a:moveTo>
                    <a:pt x="19" y="24"/>
                  </a:moveTo>
                  <a:lnTo>
                    <a:pt x="19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5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3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9" y="0"/>
                  </a:lnTo>
                  <a:lnTo>
                    <a:pt x="7" y="3"/>
                  </a:lnTo>
                  <a:lnTo>
                    <a:pt x="7" y="3"/>
                  </a:lnTo>
                  <a:lnTo>
                    <a:pt x="4" y="5"/>
                  </a:lnTo>
                  <a:lnTo>
                    <a:pt x="1" y="10"/>
                  </a:lnTo>
                  <a:lnTo>
                    <a:pt x="0" y="14"/>
                  </a:lnTo>
                  <a:lnTo>
                    <a:pt x="1" y="17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6" y="21"/>
                  </a:lnTo>
                  <a:lnTo>
                    <a:pt x="10" y="23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11" name="Freeform 202"/>
            <p:cNvSpPr>
              <a:spLocks/>
            </p:cNvSpPr>
            <p:nvPr/>
          </p:nvSpPr>
          <p:spPr bwMode="auto">
            <a:xfrm>
              <a:off x="6372225" y="3565525"/>
              <a:ext cx="19050" cy="12700"/>
            </a:xfrm>
            <a:custGeom>
              <a:avLst/>
              <a:gdLst>
                <a:gd name="T0" fmla="*/ 3 w 23"/>
                <a:gd name="T1" fmla="*/ 0 h 16"/>
                <a:gd name="T2" fmla="*/ 3 w 23"/>
                <a:gd name="T3" fmla="*/ 0 h 16"/>
                <a:gd name="T4" fmla="*/ 2 w 23"/>
                <a:gd name="T5" fmla="*/ 2 h 16"/>
                <a:gd name="T6" fmla="*/ 2 w 23"/>
                <a:gd name="T7" fmla="*/ 2 h 16"/>
                <a:gd name="T8" fmla="*/ 0 w 23"/>
                <a:gd name="T9" fmla="*/ 5 h 16"/>
                <a:gd name="T10" fmla="*/ 0 w 23"/>
                <a:gd name="T11" fmla="*/ 9 h 16"/>
                <a:gd name="T12" fmla="*/ 0 w 23"/>
                <a:gd name="T13" fmla="*/ 9 h 16"/>
                <a:gd name="T14" fmla="*/ 2 w 23"/>
                <a:gd name="T15" fmla="*/ 12 h 16"/>
                <a:gd name="T16" fmla="*/ 5 w 23"/>
                <a:gd name="T17" fmla="*/ 15 h 16"/>
                <a:gd name="T18" fmla="*/ 8 w 23"/>
                <a:gd name="T19" fmla="*/ 16 h 16"/>
                <a:gd name="T20" fmla="*/ 12 w 23"/>
                <a:gd name="T21" fmla="*/ 16 h 16"/>
                <a:gd name="T22" fmla="*/ 12 w 23"/>
                <a:gd name="T23" fmla="*/ 16 h 16"/>
                <a:gd name="T24" fmla="*/ 18 w 23"/>
                <a:gd name="T25" fmla="*/ 15 h 16"/>
                <a:gd name="T26" fmla="*/ 22 w 23"/>
                <a:gd name="T27" fmla="*/ 12 h 16"/>
                <a:gd name="T28" fmla="*/ 22 w 23"/>
                <a:gd name="T29" fmla="*/ 12 h 16"/>
                <a:gd name="T30" fmla="*/ 23 w 23"/>
                <a:gd name="T31" fmla="*/ 7 h 16"/>
                <a:gd name="T32" fmla="*/ 23 w 23"/>
                <a:gd name="T33" fmla="*/ 3 h 16"/>
                <a:gd name="T34" fmla="*/ 23 w 23"/>
                <a:gd name="T35" fmla="*/ 3 h 16"/>
                <a:gd name="T36" fmla="*/ 19 w 23"/>
                <a:gd name="T37" fmla="*/ 0 h 16"/>
                <a:gd name="T38" fmla="*/ 13 w 23"/>
                <a:gd name="T39" fmla="*/ 0 h 16"/>
                <a:gd name="T40" fmla="*/ 13 w 23"/>
                <a:gd name="T41" fmla="*/ 0 h 16"/>
                <a:gd name="T42" fmla="*/ 5 w 23"/>
                <a:gd name="T43" fmla="*/ 0 h 16"/>
                <a:gd name="T44" fmla="*/ 5 w 23"/>
                <a:gd name="T45" fmla="*/ 0 h 16"/>
                <a:gd name="T46" fmla="*/ 3 w 23"/>
                <a:gd name="T47" fmla="*/ 0 h 16"/>
                <a:gd name="T48" fmla="*/ 3 w 23"/>
                <a:gd name="T4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" h="16">
                  <a:moveTo>
                    <a:pt x="3" y="0"/>
                  </a:moveTo>
                  <a:lnTo>
                    <a:pt x="3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2"/>
                  </a:lnTo>
                  <a:lnTo>
                    <a:pt x="5" y="15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8" y="15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3" y="7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12" name="Freeform 203"/>
            <p:cNvSpPr>
              <a:spLocks/>
            </p:cNvSpPr>
            <p:nvPr/>
          </p:nvSpPr>
          <p:spPr bwMode="auto">
            <a:xfrm>
              <a:off x="6383338" y="3522663"/>
              <a:ext cx="23813" cy="19050"/>
            </a:xfrm>
            <a:custGeom>
              <a:avLst/>
              <a:gdLst>
                <a:gd name="T0" fmla="*/ 13 w 32"/>
                <a:gd name="T1" fmla="*/ 23 h 24"/>
                <a:gd name="T2" fmla="*/ 13 w 32"/>
                <a:gd name="T3" fmla="*/ 23 h 24"/>
                <a:gd name="T4" fmla="*/ 15 w 32"/>
                <a:gd name="T5" fmla="*/ 24 h 24"/>
                <a:gd name="T6" fmla="*/ 15 w 32"/>
                <a:gd name="T7" fmla="*/ 24 h 24"/>
                <a:gd name="T8" fmla="*/ 20 w 32"/>
                <a:gd name="T9" fmla="*/ 23 h 24"/>
                <a:gd name="T10" fmla="*/ 23 w 32"/>
                <a:gd name="T11" fmla="*/ 20 h 24"/>
                <a:gd name="T12" fmla="*/ 23 w 32"/>
                <a:gd name="T13" fmla="*/ 20 h 24"/>
                <a:gd name="T14" fmla="*/ 26 w 32"/>
                <a:gd name="T15" fmla="*/ 19 h 24"/>
                <a:gd name="T16" fmla="*/ 29 w 32"/>
                <a:gd name="T17" fmla="*/ 17 h 24"/>
                <a:gd name="T18" fmla="*/ 30 w 32"/>
                <a:gd name="T19" fmla="*/ 17 h 24"/>
                <a:gd name="T20" fmla="*/ 32 w 32"/>
                <a:gd name="T21" fmla="*/ 16 h 24"/>
                <a:gd name="T22" fmla="*/ 32 w 32"/>
                <a:gd name="T23" fmla="*/ 16 h 24"/>
                <a:gd name="T24" fmla="*/ 32 w 32"/>
                <a:gd name="T25" fmla="*/ 11 h 24"/>
                <a:gd name="T26" fmla="*/ 30 w 32"/>
                <a:gd name="T27" fmla="*/ 7 h 24"/>
                <a:gd name="T28" fmla="*/ 30 w 32"/>
                <a:gd name="T29" fmla="*/ 7 h 24"/>
                <a:gd name="T30" fmla="*/ 27 w 32"/>
                <a:gd name="T31" fmla="*/ 4 h 24"/>
                <a:gd name="T32" fmla="*/ 23 w 32"/>
                <a:gd name="T33" fmla="*/ 1 h 24"/>
                <a:gd name="T34" fmla="*/ 17 w 32"/>
                <a:gd name="T35" fmla="*/ 0 h 24"/>
                <a:gd name="T36" fmla="*/ 12 w 32"/>
                <a:gd name="T37" fmla="*/ 0 h 24"/>
                <a:gd name="T38" fmla="*/ 12 w 32"/>
                <a:gd name="T39" fmla="*/ 0 h 24"/>
                <a:gd name="T40" fmla="*/ 6 w 32"/>
                <a:gd name="T41" fmla="*/ 0 h 24"/>
                <a:gd name="T42" fmla="*/ 0 w 32"/>
                <a:gd name="T43" fmla="*/ 3 h 24"/>
                <a:gd name="T44" fmla="*/ 0 w 32"/>
                <a:gd name="T45" fmla="*/ 3 h 24"/>
                <a:gd name="T46" fmla="*/ 0 w 32"/>
                <a:gd name="T47" fmla="*/ 6 h 24"/>
                <a:gd name="T48" fmla="*/ 0 w 32"/>
                <a:gd name="T49" fmla="*/ 9 h 24"/>
                <a:gd name="T50" fmla="*/ 0 w 32"/>
                <a:gd name="T51" fmla="*/ 9 h 24"/>
                <a:gd name="T52" fmla="*/ 2 w 32"/>
                <a:gd name="T53" fmla="*/ 14 h 24"/>
                <a:gd name="T54" fmla="*/ 5 w 32"/>
                <a:gd name="T55" fmla="*/ 19 h 24"/>
                <a:gd name="T56" fmla="*/ 9 w 32"/>
                <a:gd name="T57" fmla="*/ 21 h 24"/>
                <a:gd name="T58" fmla="*/ 13 w 32"/>
                <a:gd name="T59" fmla="*/ 23 h 24"/>
                <a:gd name="T60" fmla="*/ 13 w 32"/>
                <a:gd name="T6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" h="24">
                  <a:moveTo>
                    <a:pt x="13" y="23"/>
                  </a:moveTo>
                  <a:lnTo>
                    <a:pt x="13" y="23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20" y="23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6" y="19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1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7" y="4"/>
                  </a:lnTo>
                  <a:lnTo>
                    <a:pt x="23" y="1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14"/>
                  </a:lnTo>
                  <a:lnTo>
                    <a:pt x="5" y="19"/>
                  </a:lnTo>
                  <a:lnTo>
                    <a:pt x="9" y="21"/>
                  </a:lnTo>
                  <a:lnTo>
                    <a:pt x="13" y="23"/>
                  </a:lnTo>
                  <a:lnTo>
                    <a:pt x="1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13" name="Freeform 204"/>
            <p:cNvSpPr>
              <a:spLocks/>
            </p:cNvSpPr>
            <p:nvPr/>
          </p:nvSpPr>
          <p:spPr bwMode="auto">
            <a:xfrm>
              <a:off x="6316663" y="3463925"/>
              <a:ext cx="41275" cy="84137"/>
            </a:xfrm>
            <a:custGeom>
              <a:avLst/>
              <a:gdLst>
                <a:gd name="T0" fmla="*/ 23 w 53"/>
                <a:gd name="T1" fmla="*/ 104 h 107"/>
                <a:gd name="T2" fmla="*/ 23 w 53"/>
                <a:gd name="T3" fmla="*/ 101 h 107"/>
                <a:gd name="T4" fmla="*/ 23 w 53"/>
                <a:gd name="T5" fmla="*/ 97 h 107"/>
                <a:gd name="T6" fmla="*/ 27 w 53"/>
                <a:gd name="T7" fmla="*/ 100 h 107"/>
                <a:gd name="T8" fmla="*/ 36 w 53"/>
                <a:gd name="T9" fmla="*/ 105 h 107"/>
                <a:gd name="T10" fmla="*/ 40 w 53"/>
                <a:gd name="T11" fmla="*/ 104 h 107"/>
                <a:gd name="T12" fmla="*/ 39 w 53"/>
                <a:gd name="T13" fmla="*/ 97 h 107"/>
                <a:gd name="T14" fmla="*/ 34 w 53"/>
                <a:gd name="T15" fmla="*/ 88 h 107"/>
                <a:gd name="T16" fmla="*/ 29 w 53"/>
                <a:gd name="T17" fmla="*/ 73 h 107"/>
                <a:gd name="T18" fmla="*/ 30 w 53"/>
                <a:gd name="T19" fmla="*/ 70 h 107"/>
                <a:gd name="T20" fmla="*/ 31 w 53"/>
                <a:gd name="T21" fmla="*/ 70 h 107"/>
                <a:gd name="T22" fmla="*/ 41 w 53"/>
                <a:gd name="T23" fmla="*/ 74 h 107"/>
                <a:gd name="T24" fmla="*/ 53 w 53"/>
                <a:gd name="T25" fmla="*/ 73 h 107"/>
                <a:gd name="T26" fmla="*/ 50 w 53"/>
                <a:gd name="T27" fmla="*/ 67 h 107"/>
                <a:gd name="T28" fmla="*/ 41 w 53"/>
                <a:gd name="T29" fmla="*/ 60 h 107"/>
                <a:gd name="T30" fmla="*/ 40 w 53"/>
                <a:gd name="T31" fmla="*/ 54 h 107"/>
                <a:gd name="T32" fmla="*/ 46 w 53"/>
                <a:gd name="T33" fmla="*/ 45 h 107"/>
                <a:gd name="T34" fmla="*/ 46 w 53"/>
                <a:gd name="T35" fmla="*/ 35 h 107"/>
                <a:gd name="T36" fmla="*/ 43 w 53"/>
                <a:gd name="T37" fmla="*/ 30 h 107"/>
                <a:gd name="T38" fmla="*/ 37 w 53"/>
                <a:gd name="T39" fmla="*/ 30 h 107"/>
                <a:gd name="T40" fmla="*/ 33 w 53"/>
                <a:gd name="T41" fmla="*/ 33 h 107"/>
                <a:gd name="T42" fmla="*/ 30 w 53"/>
                <a:gd name="T43" fmla="*/ 33 h 107"/>
                <a:gd name="T44" fmla="*/ 30 w 53"/>
                <a:gd name="T45" fmla="*/ 24 h 107"/>
                <a:gd name="T46" fmla="*/ 29 w 53"/>
                <a:gd name="T47" fmla="*/ 20 h 107"/>
                <a:gd name="T48" fmla="*/ 30 w 53"/>
                <a:gd name="T49" fmla="*/ 18 h 107"/>
                <a:gd name="T50" fmla="*/ 33 w 53"/>
                <a:gd name="T51" fmla="*/ 18 h 107"/>
                <a:gd name="T52" fmla="*/ 36 w 53"/>
                <a:gd name="T53" fmla="*/ 23 h 107"/>
                <a:gd name="T54" fmla="*/ 41 w 53"/>
                <a:gd name="T55" fmla="*/ 21 h 107"/>
                <a:gd name="T56" fmla="*/ 49 w 53"/>
                <a:gd name="T57" fmla="*/ 11 h 107"/>
                <a:gd name="T58" fmla="*/ 47 w 53"/>
                <a:gd name="T59" fmla="*/ 3 h 107"/>
                <a:gd name="T60" fmla="*/ 43 w 53"/>
                <a:gd name="T61" fmla="*/ 0 h 107"/>
                <a:gd name="T62" fmla="*/ 36 w 53"/>
                <a:gd name="T63" fmla="*/ 3 h 107"/>
                <a:gd name="T64" fmla="*/ 31 w 53"/>
                <a:gd name="T65" fmla="*/ 11 h 107"/>
                <a:gd name="T66" fmla="*/ 31 w 53"/>
                <a:gd name="T67" fmla="*/ 11 h 107"/>
                <a:gd name="T68" fmla="*/ 24 w 53"/>
                <a:gd name="T69" fmla="*/ 11 h 107"/>
                <a:gd name="T70" fmla="*/ 14 w 53"/>
                <a:gd name="T71" fmla="*/ 23 h 107"/>
                <a:gd name="T72" fmla="*/ 13 w 53"/>
                <a:gd name="T73" fmla="*/ 35 h 107"/>
                <a:gd name="T74" fmla="*/ 13 w 53"/>
                <a:gd name="T75" fmla="*/ 40 h 107"/>
                <a:gd name="T76" fmla="*/ 13 w 53"/>
                <a:gd name="T77" fmla="*/ 51 h 107"/>
                <a:gd name="T78" fmla="*/ 19 w 53"/>
                <a:gd name="T79" fmla="*/ 51 h 107"/>
                <a:gd name="T80" fmla="*/ 21 w 53"/>
                <a:gd name="T81" fmla="*/ 48 h 107"/>
                <a:gd name="T82" fmla="*/ 21 w 53"/>
                <a:gd name="T83" fmla="*/ 50 h 107"/>
                <a:gd name="T84" fmla="*/ 17 w 53"/>
                <a:gd name="T85" fmla="*/ 55 h 107"/>
                <a:gd name="T86" fmla="*/ 14 w 53"/>
                <a:gd name="T87" fmla="*/ 68 h 107"/>
                <a:gd name="T88" fmla="*/ 14 w 53"/>
                <a:gd name="T89" fmla="*/ 75 h 107"/>
                <a:gd name="T90" fmla="*/ 11 w 53"/>
                <a:gd name="T91" fmla="*/ 87 h 107"/>
                <a:gd name="T92" fmla="*/ 7 w 53"/>
                <a:gd name="T93" fmla="*/ 88 h 107"/>
                <a:gd name="T94" fmla="*/ 1 w 53"/>
                <a:gd name="T95" fmla="*/ 88 h 107"/>
                <a:gd name="T96" fmla="*/ 0 w 53"/>
                <a:gd name="T97" fmla="*/ 93 h 107"/>
                <a:gd name="T98" fmla="*/ 4 w 53"/>
                <a:gd name="T99" fmla="*/ 98 h 107"/>
                <a:gd name="T100" fmla="*/ 19 w 53"/>
                <a:gd name="T101" fmla="*/ 107 h 107"/>
                <a:gd name="T102" fmla="*/ 21 w 53"/>
                <a:gd name="T103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3" h="107">
                  <a:moveTo>
                    <a:pt x="21" y="107"/>
                  </a:moveTo>
                  <a:lnTo>
                    <a:pt x="23" y="105"/>
                  </a:lnTo>
                  <a:lnTo>
                    <a:pt x="23" y="104"/>
                  </a:lnTo>
                  <a:lnTo>
                    <a:pt x="23" y="104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30" y="104"/>
                  </a:lnTo>
                  <a:lnTo>
                    <a:pt x="33" y="104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7" y="105"/>
                  </a:lnTo>
                  <a:lnTo>
                    <a:pt x="40" y="104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39" y="97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1" y="81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41" y="74"/>
                  </a:lnTo>
                  <a:lnTo>
                    <a:pt x="50" y="75"/>
                  </a:lnTo>
                  <a:lnTo>
                    <a:pt x="53" y="75"/>
                  </a:lnTo>
                  <a:lnTo>
                    <a:pt x="53" y="73"/>
                  </a:lnTo>
                  <a:lnTo>
                    <a:pt x="53" y="73"/>
                  </a:lnTo>
                  <a:lnTo>
                    <a:pt x="51" y="70"/>
                  </a:lnTo>
                  <a:lnTo>
                    <a:pt x="50" y="67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1" y="60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40" y="54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6" y="45"/>
                  </a:lnTo>
                  <a:lnTo>
                    <a:pt x="46" y="45"/>
                  </a:lnTo>
                  <a:lnTo>
                    <a:pt x="47" y="38"/>
                  </a:lnTo>
                  <a:lnTo>
                    <a:pt x="46" y="35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3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7" y="30"/>
                  </a:lnTo>
                  <a:lnTo>
                    <a:pt x="36" y="30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3" y="18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6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1" y="21"/>
                  </a:lnTo>
                  <a:lnTo>
                    <a:pt x="44" y="20"/>
                  </a:lnTo>
                  <a:lnTo>
                    <a:pt x="47" y="17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5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6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1"/>
                  </a:lnTo>
                  <a:lnTo>
                    <a:pt x="36" y="3"/>
                  </a:lnTo>
                  <a:lnTo>
                    <a:pt x="33" y="7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4" y="11"/>
                  </a:lnTo>
                  <a:lnTo>
                    <a:pt x="21" y="13"/>
                  </a:lnTo>
                  <a:lnTo>
                    <a:pt x="17" y="17"/>
                  </a:lnTo>
                  <a:lnTo>
                    <a:pt x="14" y="23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44"/>
                  </a:lnTo>
                  <a:lnTo>
                    <a:pt x="13" y="50"/>
                  </a:lnTo>
                  <a:lnTo>
                    <a:pt x="13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9" y="51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17" y="55"/>
                  </a:lnTo>
                  <a:lnTo>
                    <a:pt x="16" y="60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74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3" y="81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0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1" y="88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5"/>
                  </a:lnTo>
                  <a:lnTo>
                    <a:pt x="1" y="95"/>
                  </a:lnTo>
                  <a:lnTo>
                    <a:pt x="4" y="98"/>
                  </a:lnTo>
                  <a:lnTo>
                    <a:pt x="9" y="103"/>
                  </a:lnTo>
                  <a:lnTo>
                    <a:pt x="13" y="105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14" name="Freeform 205"/>
            <p:cNvSpPr>
              <a:spLocks/>
            </p:cNvSpPr>
            <p:nvPr/>
          </p:nvSpPr>
          <p:spPr bwMode="auto">
            <a:xfrm>
              <a:off x="6207125" y="3281363"/>
              <a:ext cx="98425" cy="120650"/>
            </a:xfrm>
            <a:custGeom>
              <a:avLst/>
              <a:gdLst>
                <a:gd name="T0" fmla="*/ 78 w 124"/>
                <a:gd name="T1" fmla="*/ 45 h 153"/>
                <a:gd name="T2" fmla="*/ 71 w 124"/>
                <a:gd name="T3" fmla="*/ 40 h 153"/>
                <a:gd name="T4" fmla="*/ 68 w 124"/>
                <a:gd name="T5" fmla="*/ 48 h 153"/>
                <a:gd name="T6" fmla="*/ 73 w 124"/>
                <a:gd name="T7" fmla="*/ 55 h 153"/>
                <a:gd name="T8" fmla="*/ 63 w 124"/>
                <a:gd name="T9" fmla="*/ 55 h 153"/>
                <a:gd name="T10" fmla="*/ 57 w 124"/>
                <a:gd name="T11" fmla="*/ 62 h 153"/>
                <a:gd name="T12" fmla="*/ 53 w 124"/>
                <a:gd name="T13" fmla="*/ 66 h 153"/>
                <a:gd name="T14" fmla="*/ 47 w 124"/>
                <a:gd name="T15" fmla="*/ 61 h 153"/>
                <a:gd name="T16" fmla="*/ 38 w 124"/>
                <a:gd name="T17" fmla="*/ 52 h 153"/>
                <a:gd name="T18" fmla="*/ 24 w 124"/>
                <a:gd name="T19" fmla="*/ 58 h 153"/>
                <a:gd name="T20" fmla="*/ 23 w 124"/>
                <a:gd name="T21" fmla="*/ 66 h 153"/>
                <a:gd name="T22" fmla="*/ 11 w 124"/>
                <a:gd name="T23" fmla="*/ 69 h 153"/>
                <a:gd name="T24" fmla="*/ 0 w 124"/>
                <a:gd name="T25" fmla="*/ 98 h 153"/>
                <a:gd name="T26" fmla="*/ 4 w 124"/>
                <a:gd name="T27" fmla="*/ 106 h 153"/>
                <a:gd name="T28" fmla="*/ 13 w 124"/>
                <a:gd name="T29" fmla="*/ 93 h 153"/>
                <a:gd name="T30" fmla="*/ 20 w 124"/>
                <a:gd name="T31" fmla="*/ 85 h 153"/>
                <a:gd name="T32" fmla="*/ 21 w 124"/>
                <a:gd name="T33" fmla="*/ 92 h 153"/>
                <a:gd name="T34" fmla="*/ 30 w 124"/>
                <a:gd name="T35" fmla="*/ 92 h 153"/>
                <a:gd name="T36" fmla="*/ 33 w 124"/>
                <a:gd name="T37" fmla="*/ 89 h 153"/>
                <a:gd name="T38" fmla="*/ 34 w 124"/>
                <a:gd name="T39" fmla="*/ 91 h 153"/>
                <a:gd name="T40" fmla="*/ 40 w 124"/>
                <a:gd name="T41" fmla="*/ 89 h 153"/>
                <a:gd name="T42" fmla="*/ 43 w 124"/>
                <a:gd name="T43" fmla="*/ 82 h 153"/>
                <a:gd name="T44" fmla="*/ 47 w 124"/>
                <a:gd name="T45" fmla="*/ 82 h 153"/>
                <a:gd name="T46" fmla="*/ 54 w 124"/>
                <a:gd name="T47" fmla="*/ 102 h 153"/>
                <a:gd name="T48" fmla="*/ 54 w 124"/>
                <a:gd name="T49" fmla="*/ 118 h 153"/>
                <a:gd name="T50" fmla="*/ 61 w 124"/>
                <a:gd name="T51" fmla="*/ 131 h 153"/>
                <a:gd name="T52" fmla="*/ 78 w 124"/>
                <a:gd name="T53" fmla="*/ 138 h 153"/>
                <a:gd name="T54" fmla="*/ 88 w 124"/>
                <a:gd name="T55" fmla="*/ 135 h 153"/>
                <a:gd name="T56" fmla="*/ 91 w 124"/>
                <a:gd name="T57" fmla="*/ 152 h 153"/>
                <a:gd name="T58" fmla="*/ 98 w 124"/>
                <a:gd name="T59" fmla="*/ 146 h 153"/>
                <a:gd name="T60" fmla="*/ 100 w 124"/>
                <a:gd name="T61" fmla="*/ 141 h 153"/>
                <a:gd name="T62" fmla="*/ 101 w 124"/>
                <a:gd name="T63" fmla="*/ 128 h 153"/>
                <a:gd name="T64" fmla="*/ 96 w 124"/>
                <a:gd name="T65" fmla="*/ 112 h 153"/>
                <a:gd name="T66" fmla="*/ 100 w 124"/>
                <a:gd name="T67" fmla="*/ 101 h 153"/>
                <a:gd name="T68" fmla="*/ 104 w 124"/>
                <a:gd name="T69" fmla="*/ 111 h 153"/>
                <a:gd name="T70" fmla="*/ 108 w 124"/>
                <a:gd name="T71" fmla="*/ 126 h 153"/>
                <a:gd name="T72" fmla="*/ 114 w 124"/>
                <a:gd name="T73" fmla="*/ 125 h 153"/>
                <a:gd name="T74" fmla="*/ 123 w 124"/>
                <a:gd name="T75" fmla="*/ 101 h 153"/>
                <a:gd name="T76" fmla="*/ 120 w 124"/>
                <a:gd name="T77" fmla="*/ 79 h 153"/>
                <a:gd name="T78" fmla="*/ 118 w 124"/>
                <a:gd name="T79" fmla="*/ 72 h 153"/>
                <a:gd name="T80" fmla="*/ 113 w 124"/>
                <a:gd name="T81" fmla="*/ 59 h 153"/>
                <a:gd name="T82" fmla="*/ 114 w 124"/>
                <a:gd name="T83" fmla="*/ 52 h 153"/>
                <a:gd name="T84" fmla="*/ 113 w 124"/>
                <a:gd name="T85" fmla="*/ 42 h 153"/>
                <a:gd name="T86" fmla="*/ 107 w 124"/>
                <a:gd name="T87" fmla="*/ 35 h 153"/>
                <a:gd name="T88" fmla="*/ 108 w 124"/>
                <a:gd name="T89" fmla="*/ 28 h 153"/>
                <a:gd name="T90" fmla="*/ 107 w 124"/>
                <a:gd name="T91" fmla="*/ 16 h 153"/>
                <a:gd name="T92" fmla="*/ 98 w 124"/>
                <a:gd name="T93" fmla="*/ 16 h 153"/>
                <a:gd name="T94" fmla="*/ 97 w 124"/>
                <a:gd name="T95" fmla="*/ 25 h 153"/>
                <a:gd name="T96" fmla="*/ 96 w 124"/>
                <a:gd name="T97" fmla="*/ 18 h 153"/>
                <a:gd name="T98" fmla="*/ 91 w 124"/>
                <a:gd name="T99" fmla="*/ 3 h 153"/>
                <a:gd name="T100" fmla="*/ 86 w 124"/>
                <a:gd name="T101" fmla="*/ 6 h 153"/>
                <a:gd name="T102" fmla="*/ 86 w 124"/>
                <a:gd name="T103" fmla="*/ 16 h 153"/>
                <a:gd name="T104" fmla="*/ 83 w 124"/>
                <a:gd name="T105" fmla="*/ 28 h 153"/>
                <a:gd name="T106" fmla="*/ 87 w 124"/>
                <a:gd name="T107" fmla="*/ 4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4" h="153">
                  <a:moveTo>
                    <a:pt x="84" y="42"/>
                  </a:moveTo>
                  <a:lnTo>
                    <a:pt x="84" y="42"/>
                  </a:lnTo>
                  <a:lnTo>
                    <a:pt x="81" y="42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3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8" y="43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1" y="53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3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6" y="66"/>
                  </a:lnTo>
                  <a:lnTo>
                    <a:pt x="53" y="66"/>
                  </a:lnTo>
                  <a:lnTo>
                    <a:pt x="51" y="66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7" y="63"/>
                  </a:lnTo>
                  <a:lnTo>
                    <a:pt x="47" y="61"/>
                  </a:lnTo>
                  <a:lnTo>
                    <a:pt x="47" y="61"/>
                  </a:lnTo>
                  <a:lnTo>
                    <a:pt x="46" y="56"/>
                  </a:lnTo>
                  <a:lnTo>
                    <a:pt x="43" y="53"/>
                  </a:lnTo>
                  <a:lnTo>
                    <a:pt x="43" y="53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4" y="52"/>
                  </a:lnTo>
                  <a:lnTo>
                    <a:pt x="30" y="53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3" y="61"/>
                  </a:lnTo>
                  <a:lnTo>
                    <a:pt x="23" y="62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17" y="68"/>
                  </a:lnTo>
                  <a:lnTo>
                    <a:pt x="11" y="69"/>
                  </a:lnTo>
                  <a:lnTo>
                    <a:pt x="7" y="72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1" y="89"/>
                  </a:lnTo>
                  <a:lnTo>
                    <a:pt x="0" y="98"/>
                  </a:lnTo>
                  <a:lnTo>
                    <a:pt x="0" y="102"/>
                  </a:lnTo>
                  <a:lnTo>
                    <a:pt x="1" y="105"/>
                  </a:lnTo>
                  <a:lnTo>
                    <a:pt x="1" y="105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7" y="105"/>
                  </a:lnTo>
                  <a:lnTo>
                    <a:pt x="10" y="102"/>
                  </a:lnTo>
                  <a:lnTo>
                    <a:pt x="13" y="93"/>
                  </a:lnTo>
                  <a:lnTo>
                    <a:pt x="13" y="93"/>
                  </a:lnTo>
                  <a:lnTo>
                    <a:pt x="16" y="88"/>
                  </a:lnTo>
                  <a:lnTo>
                    <a:pt x="17" y="85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1" y="86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92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6"/>
                  </a:lnTo>
                  <a:lnTo>
                    <a:pt x="26" y="96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1" y="91"/>
                  </a:lnTo>
                  <a:lnTo>
                    <a:pt x="31" y="91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8" y="91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1" y="86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2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7" y="82"/>
                  </a:lnTo>
                  <a:lnTo>
                    <a:pt x="47" y="82"/>
                  </a:lnTo>
                  <a:lnTo>
                    <a:pt x="51" y="86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6" y="96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5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18"/>
                  </a:lnTo>
                  <a:lnTo>
                    <a:pt x="56" y="123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8" y="129"/>
                  </a:lnTo>
                  <a:lnTo>
                    <a:pt x="61" y="131"/>
                  </a:lnTo>
                  <a:lnTo>
                    <a:pt x="68" y="133"/>
                  </a:lnTo>
                  <a:lnTo>
                    <a:pt x="68" y="133"/>
                  </a:lnTo>
                  <a:lnTo>
                    <a:pt x="74" y="136"/>
                  </a:lnTo>
                  <a:lnTo>
                    <a:pt x="74" y="136"/>
                  </a:lnTo>
                  <a:lnTo>
                    <a:pt x="78" y="138"/>
                  </a:lnTo>
                  <a:lnTo>
                    <a:pt x="81" y="139"/>
                  </a:lnTo>
                  <a:lnTo>
                    <a:pt x="81" y="139"/>
                  </a:lnTo>
                  <a:lnTo>
                    <a:pt x="86" y="138"/>
                  </a:lnTo>
                  <a:lnTo>
                    <a:pt x="88" y="135"/>
                  </a:lnTo>
                  <a:lnTo>
                    <a:pt x="88" y="135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91" y="152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6" y="153"/>
                  </a:lnTo>
                  <a:lnTo>
                    <a:pt x="97" y="152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100" y="143"/>
                  </a:lnTo>
                  <a:lnTo>
                    <a:pt x="100" y="143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36"/>
                  </a:lnTo>
                  <a:lnTo>
                    <a:pt x="100" y="136"/>
                  </a:lnTo>
                  <a:lnTo>
                    <a:pt x="100" y="135"/>
                  </a:lnTo>
                  <a:lnTo>
                    <a:pt x="100" y="135"/>
                  </a:lnTo>
                  <a:lnTo>
                    <a:pt x="101" y="128"/>
                  </a:lnTo>
                  <a:lnTo>
                    <a:pt x="100" y="119"/>
                  </a:lnTo>
                  <a:lnTo>
                    <a:pt x="100" y="119"/>
                  </a:lnTo>
                  <a:lnTo>
                    <a:pt x="98" y="116"/>
                  </a:lnTo>
                  <a:lnTo>
                    <a:pt x="98" y="116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8" y="102"/>
                  </a:lnTo>
                  <a:lnTo>
                    <a:pt x="100" y="101"/>
                  </a:lnTo>
                  <a:lnTo>
                    <a:pt x="100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3" y="102"/>
                  </a:lnTo>
                  <a:lnTo>
                    <a:pt x="104" y="111"/>
                  </a:lnTo>
                  <a:lnTo>
                    <a:pt x="106" y="113"/>
                  </a:lnTo>
                  <a:lnTo>
                    <a:pt x="106" y="113"/>
                  </a:lnTo>
                  <a:lnTo>
                    <a:pt x="107" y="123"/>
                  </a:lnTo>
                  <a:lnTo>
                    <a:pt x="107" y="125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13" y="126"/>
                  </a:lnTo>
                  <a:lnTo>
                    <a:pt x="114" y="126"/>
                  </a:lnTo>
                  <a:lnTo>
                    <a:pt x="114" y="125"/>
                  </a:lnTo>
                  <a:lnTo>
                    <a:pt x="114" y="125"/>
                  </a:lnTo>
                  <a:lnTo>
                    <a:pt x="117" y="116"/>
                  </a:lnTo>
                  <a:lnTo>
                    <a:pt x="117" y="116"/>
                  </a:lnTo>
                  <a:lnTo>
                    <a:pt x="118" y="109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4" y="96"/>
                  </a:lnTo>
                  <a:lnTo>
                    <a:pt x="124" y="92"/>
                  </a:lnTo>
                  <a:lnTo>
                    <a:pt x="121" y="82"/>
                  </a:lnTo>
                  <a:lnTo>
                    <a:pt x="121" y="82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18" y="72"/>
                  </a:lnTo>
                  <a:lnTo>
                    <a:pt x="118" y="72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6" y="62"/>
                  </a:lnTo>
                  <a:lnTo>
                    <a:pt x="116" y="62"/>
                  </a:lnTo>
                  <a:lnTo>
                    <a:pt x="113" y="59"/>
                  </a:lnTo>
                  <a:lnTo>
                    <a:pt x="113" y="59"/>
                  </a:lnTo>
                  <a:lnTo>
                    <a:pt x="113" y="55"/>
                  </a:lnTo>
                  <a:lnTo>
                    <a:pt x="113" y="55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50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14" y="43"/>
                  </a:lnTo>
                  <a:lnTo>
                    <a:pt x="113" y="42"/>
                  </a:lnTo>
                  <a:lnTo>
                    <a:pt x="111" y="39"/>
                  </a:lnTo>
                  <a:lnTo>
                    <a:pt x="111" y="39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7" y="35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0"/>
                  </a:lnTo>
                  <a:lnTo>
                    <a:pt x="107" y="30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2"/>
                  </a:lnTo>
                  <a:lnTo>
                    <a:pt x="108" y="19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4" y="15"/>
                  </a:lnTo>
                  <a:lnTo>
                    <a:pt x="101" y="15"/>
                  </a:lnTo>
                  <a:lnTo>
                    <a:pt x="98" y="15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1" y="3"/>
                  </a:lnTo>
                  <a:lnTo>
                    <a:pt x="91" y="0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6" y="3"/>
                  </a:lnTo>
                  <a:lnTo>
                    <a:pt x="86" y="6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6" y="16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3" y="28"/>
                  </a:lnTo>
                  <a:lnTo>
                    <a:pt x="83" y="30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4" y="42"/>
                  </a:lnTo>
                  <a:lnTo>
                    <a:pt x="8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15" name="Freeform 206"/>
            <p:cNvSpPr>
              <a:spLocks noEditPoints="1"/>
            </p:cNvSpPr>
            <p:nvPr/>
          </p:nvSpPr>
          <p:spPr bwMode="auto">
            <a:xfrm>
              <a:off x="6196013" y="3246438"/>
              <a:ext cx="65088" cy="69850"/>
            </a:xfrm>
            <a:custGeom>
              <a:avLst/>
              <a:gdLst>
                <a:gd name="T0" fmla="*/ 34 w 82"/>
                <a:gd name="T1" fmla="*/ 12 h 89"/>
                <a:gd name="T2" fmla="*/ 25 w 82"/>
                <a:gd name="T3" fmla="*/ 10 h 89"/>
                <a:gd name="T4" fmla="*/ 18 w 82"/>
                <a:gd name="T5" fmla="*/ 6 h 89"/>
                <a:gd name="T6" fmla="*/ 8 w 82"/>
                <a:gd name="T7" fmla="*/ 0 h 89"/>
                <a:gd name="T8" fmla="*/ 1 w 82"/>
                <a:gd name="T9" fmla="*/ 0 h 89"/>
                <a:gd name="T10" fmla="*/ 0 w 82"/>
                <a:gd name="T11" fmla="*/ 2 h 89"/>
                <a:gd name="T12" fmla="*/ 4 w 82"/>
                <a:gd name="T13" fmla="*/ 10 h 89"/>
                <a:gd name="T14" fmla="*/ 5 w 82"/>
                <a:gd name="T15" fmla="*/ 14 h 89"/>
                <a:gd name="T16" fmla="*/ 7 w 82"/>
                <a:gd name="T17" fmla="*/ 26 h 89"/>
                <a:gd name="T18" fmla="*/ 7 w 82"/>
                <a:gd name="T19" fmla="*/ 30 h 89"/>
                <a:gd name="T20" fmla="*/ 7 w 82"/>
                <a:gd name="T21" fmla="*/ 42 h 89"/>
                <a:gd name="T22" fmla="*/ 10 w 82"/>
                <a:gd name="T23" fmla="*/ 47 h 89"/>
                <a:gd name="T24" fmla="*/ 15 w 82"/>
                <a:gd name="T25" fmla="*/ 47 h 89"/>
                <a:gd name="T26" fmla="*/ 21 w 82"/>
                <a:gd name="T27" fmla="*/ 42 h 89"/>
                <a:gd name="T28" fmla="*/ 24 w 82"/>
                <a:gd name="T29" fmla="*/ 47 h 89"/>
                <a:gd name="T30" fmla="*/ 25 w 82"/>
                <a:gd name="T31" fmla="*/ 49 h 89"/>
                <a:gd name="T32" fmla="*/ 30 w 82"/>
                <a:gd name="T33" fmla="*/ 46 h 89"/>
                <a:gd name="T34" fmla="*/ 30 w 82"/>
                <a:gd name="T35" fmla="*/ 53 h 89"/>
                <a:gd name="T36" fmla="*/ 27 w 82"/>
                <a:gd name="T37" fmla="*/ 54 h 89"/>
                <a:gd name="T38" fmla="*/ 22 w 82"/>
                <a:gd name="T39" fmla="*/ 57 h 89"/>
                <a:gd name="T40" fmla="*/ 27 w 82"/>
                <a:gd name="T41" fmla="*/ 73 h 89"/>
                <a:gd name="T42" fmla="*/ 30 w 82"/>
                <a:gd name="T43" fmla="*/ 74 h 89"/>
                <a:gd name="T44" fmla="*/ 35 w 82"/>
                <a:gd name="T45" fmla="*/ 84 h 89"/>
                <a:gd name="T46" fmla="*/ 42 w 82"/>
                <a:gd name="T47" fmla="*/ 89 h 89"/>
                <a:gd name="T48" fmla="*/ 47 w 82"/>
                <a:gd name="T49" fmla="*/ 87 h 89"/>
                <a:gd name="T50" fmla="*/ 47 w 82"/>
                <a:gd name="T51" fmla="*/ 77 h 89"/>
                <a:gd name="T52" fmla="*/ 48 w 82"/>
                <a:gd name="T53" fmla="*/ 77 h 89"/>
                <a:gd name="T54" fmla="*/ 57 w 82"/>
                <a:gd name="T55" fmla="*/ 63 h 89"/>
                <a:gd name="T56" fmla="*/ 57 w 82"/>
                <a:gd name="T57" fmla="*/ 62 h 89"/>
                <a:gd name="T58" fmla="*/ 60 w 82"/>
                <a:gd name="T59" fmla="*/ 56 h 89"/>
                <a:gd name="T60" fmla="*/ 61 w 82"/>
                <a:gd name="T61" fmla="*/ 56 h 89"/>
                <a:gd name="T62" fmla="*/ 60 w 82"/>
                <a:gd name="T63" fmla="*/ 60 h 89"/>
                <a:gd name="T64" fmla="*/ 58 w 82"/>
                <a:gd name="T65" fmla="*/ 64 h 89"/>
                <a:gd name="T66" fmla="*/ 58 w 82"/>
                <a:gd name="T67" fmla="*/ 64 h 89"/>
                <a:gd name="T68" fmla="*/ 57 w 82"/>
                <a:gd name="T69" fmla="*/ 69 h 89"/>
                <a:gd name="T70" fmla="*/ 60 w 82"/>
                <a:gd name="T71" fmla="*/ 73 h 89"/>
                <a:gd name="T72" fmla="*/ 65 w 82"/>
                <a:gd name="T73" fmla="*/ 74 h 89"/>
                <a:gd name="T74" fmla="*/ 67 w 82"/>
                <a:gd name="T75" fmla="*/ 74 h 89"/>
                <a:gd name="T76" fmla="*/ 75 w 82"/>
                <a:gd name="T77" fmla="*/ 73 h 89"/>
                <a:gd name="T78" fmla="*/ 81 w 82"/>
                <a:gd name="T79" fmla="*/ 69 h 89"/>
                <a:gd name="T80" fmla="*/ 80 w 82"/>
                <a:gd name="T81" fmla="*/ 57 h 89"/>
                <a:gd name="T82" fmla="*/ 74 w 82"/>
                <a:gd name="T83" fmla="*/ 50 h 89"/>
                <a:gd name="T84" fmla="*/ 67 w 82"/>
                <a:gd name="T85" fmla="*/ 46 h 89"/>
                <a:gd name="T86" fmla="*/ 67 w 82"/>
                <a:gd name="T87" fmla="*/ 37 h 89"/>
                <a:gd name="T88" fmla="*/ 65 w 82"/>
                <a:gd name="T89" fmla="*/ 26 h 89"/>
                <a:gd name="T90" fmla="*/ 61 w 82"/>
                <a:gd name="T91" fmla="*/ 19 h 89"/>
                <a:gd name="T92" fmla="*/ 57 w 82"/>
                <a:gd name="T93" fmla="*/ 17 h 89"/>
                <a:gd name="T94" fmla="*/ 52 w 82"/>
                <a:gd name="T95" fmla="*/ 23 h 89"/>
                <a:gd name="T96" fmla="*/ 52 w 82"/>
                <a:gd name="T97" fmla="*/ 32 h 89"/>
                <a:gd name="T98" fmla="*/ 51 w 82"/>
                <a:gd name="T99" fmla="*/ 33 h 89"/>
                <a:gd name="T100" fmla="*/ 48 w 82"/>
                <a:gd name="T101" fmla="*/ 30 h 89"/>
                <a:gd name="T102" fmla="*/ 44 w 82"/>
                <a:gd name="T103" fmla="*/ 27 h 89"/>
                <a:gd name="T104" fmla="*/ 41 w 82"/>
                <a:gd name="T105" fmla="*/ 22 h 89"/>
                <a:gd name="T106" fmla="*/ 40 w 82"/>
                <a:gd name="T107" fmla="*/ 16 h 89"/>
                <a:gd name="T108" fmla="*/ 45 w 82"/>
                <a:gd name="T109" fmla="*/ 60 h 89"/>
                <a:gd name="T110" fmla="*/ 50 w 82"/>
                <a:gd name="T111" fmla="*/ 49 h 89"/>
                <a:gd name="T112" fmla="*/ 51 w 82"/>
                <a:gd name="T113" fmla="*/ 44 h 89"/>
                <a:gd name="T114" fmla="*/ 52 w 82"/>
                <a:gd name="T115" fmla="*/ 42 h 89"/>
                <a:gd name="T116" fmla="*/ 50 w 82"/>
                <a:gd name="T117" fmla="*/ 49 h 89"/>
                <a:gd name="T118" fmla="*/ 48 w 82"/>
                <a:gd name="T119" fmla="*/ 56 h 89"/>
                <a:gd name="T120" fmla="*/ 47 w 82"/>
                <a:gd name="T121" fmla="*/ 59 h 89"/>
                <a:gd name="T122" fmla="*/ 45 w 82"/>
                <a:gd name="T123" fmla="*/ 6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" h="89">
                  <a:moveTo>
                    <a:pt x="38" y="13"/>
                  </a:moveTo>
                  <a:lnTo>
                    <a:pt x="38" y="13"/>
                  </a:lnTo>
                  <a:lnTo>
                    <a:pt x="34" y="12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1" y="9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8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7" y="20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42"/>
                  </a:lnTo>
                  <a:lnTo>
                    <a:pt x="7" y="46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5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2" y="46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8" y="47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1" y="62"/>
                  </a:lnTo>
                  <a:lnTo>
                    <a:pt x="22" y="64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5" y="84"/>
                  </a:lnTo>
                  <a:lnTo>
                    <a:pt x="38" y="87"/>
                  </a:lnTo>
                  <a:lnTo>
                    <a:pt x="42" y="89"/>
                  </a:lnTo>
                  <a:lnTo>
                    <a:pt x="42" y="89"/>
                  </a:lnTo>
                  <a:lnTo>
                    <a:pt x="44" y="87"/>
                  </a:lnTo>
                  <a:lnTo>
                    <a:pt x="45" y="87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2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51" y="76"/>
                  </a:lnTo>
                  <a:lnTo>
                    <a:pt x="54" y="73"/>
                  </a:lnTo>
                  <a:lnTo>
                    <a:pt x="57" y="63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8" y="57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0" y="60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7" y="66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70"/>
                  </a:lnTo>
                  <a:lnTo>
                    <a:pt x="58" y="73"/>
                  </a:lnTo>
                  <a:lnTo>
                    <a:pt x="60" y="73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5" y="74"/>
                  </a:lnTo>
                  <a:lnTo>
                    <a:pt x="65" y="73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75" y="73"/>
                  </a:lnTo>
                  <a:lnTo>
                    <a:pt x="78" y="70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2" y="64"/>
                  </a:lnTo>
                  <a:lnTo>
                    <a:pt x="81" y="62"/>
                  </a:lnTo>
                  <a:lnTo>
                    <a:pt x="80" y="57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4" y="50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5" y="43"/>
                  </a:lnTo>
                  <a:lnTo>
                    <a:pt x="67" y="37"/>
                  </a:lnTo>
                  <a:lnTo>
                    <a:pt x="67" y="37"/>
                  </a:lnTo>
                  <a:lnTo>
                    <a:pt x="67" y="32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2" y="20"/>
                  </a:lnTo>
                  <a:lnTo>
                    <a:pt x="61" y="19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2" y="23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0" y="17"/>
                  </a:lnTo>
                  <a:lnTo>
                    <a:pt x="40" y="16"/>
                  </a:lnTo>
                  <a:lnTo>
                    <a:pt x="38" y="13"/>
                  </a:lnTo>
                  <a:lnTo>
                    <a:pt x="38" y="13"/>
                  </a:lnTo>
                  <a:close/>
                  <a:moveTo>
                    <a:pt x="45" y="60"/>
                  </a:moveTo>
                  <a:lnTo>
                    <a:pt x="47" y="59"/>
                  </a:lnTo>
                  <a:lnTo>
                    <a:pt x="47" y="59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1" y="46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5" y="60"/>
                  </a:lnTo>
                  <a:lnTo>
                    <a:pt x="45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16" name="Freeform 207"/>
            <p:cNvSpPr>
              <a:spLocks/>
            </p:cNvSpPr>
            <p:nvPr/>
          </p:nvSpPr>
          <p:spPr bwMode="auto">
            <a:xfrm>
              <a:off x="6248400" y="3230563"/>
              <a:ext cx="33338" cy="63500"/>
            </a:xfrm>
            <a:custGeom>
              <a:avLst/>
              <a:gdLst>
                <a:gd name="T0" fmla="*/ 10 w 43"/>
                <a:gd name="T1" fmla="*/ 21 h 78"/>
                <a:gd name="T2" fmla="*/ 16 w 43"/>
                <a:gd name="T3" fmla="*/ 27 h 78"/>
                <a:gd name="T4" fmla="*/ 16 w 43"/>
                <a:gd name="T5" fmla="*/ 28 h 78"/>
                <a:gd name="T6" fmla="*/ 15 w 43"/>
                <a:gd name="T7" fmla="*/ 35 h 78"/>
                <a:gd name="T8" fmla="*/ 15 w 43"/>
                <a:gd name="T9" fmla="*/ 35 h 78"/>
                <a:gd name="T10" fmla="*/ 13 w 43"/>
                <a:gd name="T11" fmla="*/ 35 h 78"/>
                <a:gd name="T12" fmla="*/ 12 w 43"/>
                <a:gd name="T13" fmla="*/ 35 h 78"/>
                <a:gd name="T14" fmla="*/ 10 w 43"/>
                <a:gd name="T15" fmla="*/ 34 h 78"/>
                <a:gd name="T16" fmla="*/ 5 w 43"/>
                <a:gd name="T17" fmla="*/ 30 h 78"/>
                <a:gd name="T18" fmla="*/ 3 w 43"/>
                <a:gd name="T19" fmla="*/ 30 h 78"/>
                <a:gd name="T20" fmla="*/ 2 w 43"/>
                <a:gd name="T21" fmla="*/ 32 h 78"/>
                <a:gd name="T22" fmla="*/ 2 w 43"/>
                <a:gd name="T23" fmla="*/ 35 h 78"/>
                <a:gd name="T24" fmla="*/ 3 w 43"/>
                <a:gd name="T25" fmla="*/ 38 h 78"/>
                <a:gd name="T26" fmla="*/ 3 w 43"/>
                <a:gd name="T27" fmla="*/ 42 h 78"/>
                <a:gd name="T28" fmla="*/ 6 w 43"/>
                <a:gd name="T29" fmla="*/ 52 h 78"/>
                <a:gd name="T30" fmla="*/ 7 w 43"/>
                <a:gd name="T31" fmla="*/ 52 h 78"/>
                <a:gd name="T32" fmla="*/ 12 w 43"/>
                <a:gd name="T33" fmla="*/ 52 h 78"/>
                <a:gd name="T34" fmla="*/ 13 w 43"/>
                <a:gd name="T35" fmla="*/ 52 h 78"/>
                <a:gd name="T36" fmla="*/ 13 w 43"/>
                <a:gd name="T37" fmla="*/ 52 h 78"/>
                <a:gd name="T38" fmla="*/ 15 w 43"/>
                <a:gd name="T39" fmla="*/ 55 h 78"/>
                <a:gd name="T40" fmla="*/ 15 w 43"/>
                <a:gd name="T41" fmla="*/ 58 h 78"/>
                <a:gd name="T42" fmla="*/ 12 w 43"/>
                <a:gd name="T43" fmla="*/ 68 h 78"/>
                <a:gd name="T44" fmla="*/ 13 w 43"/>
                <a:gd name="T45" fmla="*/ 72 h 78"/>
                <a:gd name="T46" fmla="*/ 20 w 43"/>
                <a:gd name="T47" fmla="*/ 77 h 78"/>
                <a:gd name="T48" fmla="*/ 29 w 43"/>
                <a:gd name="T49" fmla="*/ 78 h 78"/>
                <a:gd name="T50" fmla="*/ 32 w 43"/>
                <a:gd name="T51" fmla="*/ 78 h 78"/>
                <a:gd name="T52" fmla="*/ 33 w 43"/>
                <a:gd name="T53" fmla="*/ 75 h 78"/>
                <a:gd name="T54" fmla="*/ 29 w 43"/>
                <a:gd name="T55" fmla="*/ 71 h 78"/>
                <a:gd name="T56" fmla="*/ 27 w 43"/>
                <a:gd name="T57" fmla="*/ 70 h 78"/>
                <a:gd name="T58" fmla="*/ 29 w 43"/>
                <a:gd name="T59" fmla="*/ 67 h 78"/>
                <a:gd name="T60" fmla="*/ 30 w 43"/>
                <a:gd name="T61" fmla="*/ 60 h 78"/>
                <a:gd name="T62" fmla="*/ 26 w 43"/>
                <a:gd name="T63" fmla="*/ 52 h 78"/>
                <a:gd name="T64" fmla="*/ 25 w 43"/>
                <a:gd name="T65" fmla="*/ 51 h 78"/>
                <a:gd name="T66" fmla="*/ 23 w 43"/>
                <a:gd name="T67" fmla="*/ 50 h 78"/>
                <a:gd name="T68" fmla="*/ 23 w 43"/>
                <a:gd name="T69" fmla="*/ 48 h 78"/>
                <a:gd name="T70" fmla="*/ 25 w 43"/>
                <a:gd name="T71" fmla="*/ 45 h 78"/>
                <a:gd name="T72" fmla="*/ 26 w 43"/>
                <a:gd name="T73" fmla="*/ 45 h 78"/>
                <a:gd name="T74" fmla="*/ 29 w 43"/>
                <a:gd name="T75" fmla="*/ 47 h 78"/>
                <a:gd name="T76" fmla="*/ 33 w 43"/>
                <a:gd name="T77" fmla="*/ 50 h 78"/>
                <a:gd name="T78" fmla="*/ 39 w 43"/>
                <a:gd name="T79" fmla="*/ 50 h 78"/>
                <a:gd name="T80" fmla="*/ 42 w 43"/>
                <a:gd name="T81" fmla="*/ 48 h 78"/>
                <a:gd name="T82" fmla="*/ 43 w 43"/>
                <a:gd name="T83" fmla="*/ 47 h 78"/>
                <a:gd name="T84" fmla="*/ 42 w 43"/>
                <a:gd name="T85" fmla="*/ 41 h 78"/>
                <a:gd name="T86" fmla="*/ 37 w 43"/>
                <a:gd name="T87" fmla="*/ 31 h 78"/>
                <a:gd name="T88" fmla="*/ 35 w 43"/>
                <a:gd name="T89" fmla="*/ 28 h 78"/>
                <a:gd name="T90" fmla="*/ 33 w 43"/>
                <a:gd name="T91" fmla="*/ 25 h 78"/>
                <a:gd name="T92" fmla="*/ 33 w 43"/>
                <a:gd name="T93" fmla="*/ 20 h 78"/>
                <a:gd name="T94" fmla="*/ 33 w 43"/>
                <a:gd name="T95" fmla="*/ 15 h 78"/>
                <a:gd name="T96" fmla="*/ 32 w 43"/>
                <a:gd name="T97" fmla="*/ 10 h 78"/>
                <a:gd name="T98" fmla="*/ 23 w 43"/>
                <a:gd name="T99" fmla="*/ 1 h 78"/>
                <a:gd name="T100" fmla="*/ 17 w 43"/>
                <a:gd name="T101" fmla="*/ 0 h 78"/>
                <a:gd name="T102" fmla="*/ 15 w 43"/>
                <a:gd name="T103" fmla="*/ 0 h 78"/>
                <a:gd name="T104" fmla="*/ 12 w 43"/>
                <a:gd name="T105" fmla="*/ 1 h 78"/>
                <a:gd name="T106" fmla="*/ 10 w 43"/>
                <a:gd name="T107" fmla="*/ 1 h 78"/>
                <a:gd name="T108" fmla="*/ 9 w 43"/>
                <a:gd name="T109" fmla="*/ 1 h 78"/>
                <a:gd name="T110" fmla="*/ 6 w 43"/>
                <a:gd name="T111" fmla="*/ 0 h 78"/>
                <a:gd name="T112" fmla="*/ 5 w 43"/>
                <a:gd name="T113" fmla="*/ 1 h 78"/>
                <a:gd name="T114" fmla="*/ 0 w 43"/>
                <a:gd name="T115" fmla="*/ 5 h 78"/>
                <a:gd name="T116" fmla="*/ 0 w 43"/>
                <a:gd name="T117" fmla="*/ 11 h 78"/>
                <a:gd name="T118" fmla="*/ 5 w 43"/>
                <a:gd name="T119" fmla="*/ 17 h 78"/>
                <a:gd name="T120" fmla="*/ 10 w 43"/>
                <a:gd name="T121" fmla="*/ 2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" h="78">
                  <a:moveTo>
                    <a:pt x="10" y="21"/>
                  </a:moveTo>
                  <a:lnTo>
                    <a:pt x="10" y="21"/>
                  </a:lnTo>
                  <a:lnTo>
                    <a:pt x="15" y="25"/>
                  </a:lnTo>
                  <a:lnTo>
                    <a:pt x="16" y="27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5" y="34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2" y="35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9" y="31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3" y="30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5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2" y="65"/>
                  </a:lnTo>
                  <a:lnTo>
                    <a:pt x="12" y="68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6" y="75"/>
                  </a:lnTo>
                  <a:lnTo>
                    <a:pt x="20" y="77"/>
                  </a:lnTo>
                  <a:lnTo>
                    <a:pt x="25" y="78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32" y="78"/>
                  </a:lnTo>
                  <a:lnTo>
                    <a:pt x="35" y="78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27" y="70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30" y="62"/>
                  </a:lnTo>
                  <a:lnTo>
                    <a:pt x="30" y="60"/>
                  </a:lnTo>
                  <a:lnTo>
                    <a:pt x="29" y="55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42" y="48"/>
                  </a:lnTo>
                  <a:lnTo>
                    <a:pt x="43" y="48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2" y="41"/>
                  </a:lnTo>
                  <a:lnTo>
                    <a:pt x="37" y="32"/>
                  </a:lnTo>
                  <a:lnTo>
                    <a:pt x="37" y="31"/>
                  </a:lnTo>
                  <a:lnTo>
                    <a:pt x="37" y="31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2" y="10"/>
                  </a:lnTo>
                  <a:lnTo>
                    <a:pt x="29" y="5"/>
                  </a:lnTo>
                  <a:lnTo>
                    <a:pt x="23" y="1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6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15"/>
                  </a:lnTo>
                  <a:lnTo>
                    <a:pt x="5" y="17"/>
                  </a:lnTo>
                  <a:lnTo>
                    <a:pt x="10" y="21"/>
                  </a:lnTo>
                  <a:lnTo>
                    <a:pt x="1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17" name="Freeform 208"/>
            <p:cNvSpPr>
              <a:spLocks/>
            </p:cNvSpPr>
            <p:nvPr/>
          </p:nvSpPr>
          <p:spPr bwMode="auto">
            <a:xfrm>
              <a:off x="6161088" y="3206750"/>
              <a:ext cx="28575" cy="34925"/>
            </a:xfrm>
            <a:custGeom>
              <a:avLst/>
              <a:gdLst>
                <a:gd name="T0" fmla="*/ 5 w 35"/>
                <a:gd name="T1" fmla="*/ 12 h 42"/>
                <a:gd name="T2" fmla="*/ 5 w 35"/>
                <a:gd name="T3" fmla="*/ 12 h 42"/>
                <a:gd name="T4" fmla="*/ 8 w 35"/>
                <a:gd name="T5" fmla="*/ 14 h 42"/>
                <a:gd name="T6" fmla="*/ 8 w 35"/>
                <a:gd name="T7" fmla="*/ 14 h 42"/>
                <a:gd name="T8" fmla="*/ 13 w 35"/>
                <a:gd name="T9" fmla="*/ 20 h 42"/>
                <a:gd name="T10" fmla="*/ 17 w 35"/>
                <a:gd name="T11" fmla="*/ 28 h 42"/>
                <a:gd name="T12" fmla="*/ 17 w 35"/>
                <a:gd name="T13" fmla="*/ 28 h 42"/>
                <a:gd name="T14" fmla="*/ 18 w 35"/>
                <a:gd name="T15" fmla="*/ 32 h 42"/>
                <a:gd name="T16" fmla="*/ 18 w 35"/>
                <a:gd name="T17" fmla="*/ 32 h 42"/>
                <a:gd name="T18" fmla="*/ 20 w 35"/>
                <a:gd name="T19" fmla="*/ 38 h 42"/>
                <a:gd name="T20" fmla="*/ 21 w 35"/>
                <a:gd name="T21" fmla="*/ 40 h 42"/>
                <a:gd name="T22" fmla="*/ 23 w 35"/>
                <a:gd name="T23" fmla="*/ 41 h 42"/>
                <a:gd name="T24" fmla="*/ 23 w 35"/>
                <a:gd name="T25" fmla="*/ 41 h 42"/>
                <a:gd name="T26" fmla="*/ 27 w 35"/>
                <a:gd name="T27" fmla="*/ 42 h 42"/>
                <a:gd name="T28" fmla="*/ 27 w 35"/>
                <a:gd name="T29" fmla="*/ 42 h 42"/>
                <a:gd name="T30" fmla="*/ 30 w 35"/>
                <a:gd name="T31" fmla="*/ 41 h 42"/>
                <a:gd name="T32" fmla="*/ 33 w 35"/>
                <a:gd name="T33" fmla="*/ 40 h 42"/>
                <a:gd name="T34" fmla="*/ 34 w 35"/>
                <a:gd name="T35" fmla="*/ 37 h 42"/>
                <a:gd name="T36" fmla="*/ 35 w 35"/>
                <a:gd name="T37" fmla="*/ 32 h 42"/>
                <a:gd name="T38" fmla="*/ 35 w 35"/>
                <a:gd name="T39" fmla="*/ 32 h 42"/>
                <a:gd name="T40" fmla="*/ 35 w 35"/>
                <a:gd name="T41" fmla="*/ 32 h 42"/>
                <a:gd name="T42" fmla="*/ 35 w 35"/>
                <a:gd name="T43" fmla="*/ 25 h 42"/>
                <a:gd name="T44" fmla="*/ 35 w 35"/>
                <a:gd name="T45" fmla="*/ 18 h 42"/>
                <a:gd name="T46" fmla="*/ 34 w 35"/>
                <a:gd name="T47" fmla="*/ 12 h 42"/>
                <a:gd name="T48" fmla="*/ 33 w 35"/>
                <a:gd name="T49" fmla="*/ 10 h 42"/>
                <a:gd name="T50" fmla="*/ 30 w 35"/>
                <a:gd name="T51" fmla="*/ 7 h 42"/>
                <a:gd name="T52" fmla="*/ 30 w 35"/>
                <a:gd name="T53" fmla="*/ 7 h 42"/>
                <a:gd name="T54" fmla="*/ 25 w 35"/>
                <a:gd name="T55" fmla="*/ 4 h 42"/>
                <a:gd name="T56" fmla="*/ 20 w 35"/>
                <a:gd name="T57" fmla="*/ 4 h 42"/>
                <a:gd name="T58" fmla="*/ 18 w 35"/>
                <a:gd name="T59" fmla="*/ 4 h 42"/>
                <a:gd name="T60" fmla="*/ 18 w 35"/>
                <a:gd name="T61" fmla="*/ 4 h 42"/>
                <a:gd name="T62" fmla="*/ 17 w 35"/>
                <a:gd name="T63" fmla="*/ 2 h 42"/>
                <a:gd name="T64" fmla="*/ 17 w 35"/>
                <a:gd name="T65" fmla="*/ 2 h 42"/>
                <a:gd name="T66" fmla="*/ 10 w 35"/>
                <a:gd name="T67" fmla="*/ 2 h 42"/>
                <a:gd name="T68" fmla="*/ 10 w 35"/>
                <a:gd name="T69" fmla="*/ 2 h 42"/>
                <a:gd name="T70" fmla="*/ 8 w 35"/>
                <a:gd name="T71" fmla="*/ 1 h 42"/>
                <a:gd name="T72" fmla="*/ 8 w 35"/>
                <a:gd name="T73" fmla="*/ 1 h 42"/>
                <a:gd name="T74" fmla="*/ 4 w 35"/>
                <a:gd name="T75" fmla="*/ 0 h 42"/>
                <a:gd name="T76" fmla="*/ 4 w 35"/>
                <a:gd name="T77" fmla="*/ 0 h 42"/>
                <a:gd name="T78" fmla="*/ 4 w 35"/>
                <a:gd name="T79" fmla="*/ 0 h 42"/>
                <a:gd name="T80" fmla="*/ 4 w 35"/>
                <a:gd name="T81" fmla="*/ 0 h 42"/>
                <a:gd name="T82" fmla="*/ 3 w 35"/>
                <a:gd name="T83" fmla="*/ 0 h 42"/>
                <a:gd name="T84" fmla="*/ 0 w 35"/>
                <a:gd name="T85" fmla="*/ 0 h 42"/>
                <a:gd name="T86" fmla="*/ 0 w 35"/>
                <a:gd name="T87" fmla="*/ 2 h 42"/>
                <a:gd name="T88" fmla="*/ 0 w 35"/>
                <a:gd name="T89" fmla="*/ 2 h 42"/>
                <a:gd name="T90" fmla="*/ 1 w 35"/>
                <a:gd name="T91" fmla="*/ 4 h 42"/>
                <a:gd name="T92" fmla="*/ 1 w 35"/>
                <a:gd name="T93" fmla="*/ 4 h 42"/>
                <a:gd name="T94" fmla="*/ 1 w 35"/>
                <a:gd name="T95" fmla="*/ 4 h 42"/>
                <a:gd name="T96" fmla="*/ 1 w 35"/>
                <a:gd name="T97" fmla="*/ 4 h 42"/>
                <a:gd name="T98" fmla="*/ 1 w 35"/>
                <a:gd name="T99" fmla="*/ 7 h 42"/>
                <a:gd name="T100" fmla="*/ 3 w 35"/>
                <a:gd name="T101" fmla="*/ 10 h 42"/>
                <a:gd name="T102" fmla="*/ 5 w 35"/>
                <a:gd name="T103" fmla="*/ 12 h 42"/>
                <a:gd name="T104" fmla="*/ 5 w 35"/>
                <a:gd name="T105" fmla="*/ 1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" h="42">
                  <a:moveTo>
                    <a:pt x="5" y="12"/>
                  </a:moveTo>
                  <a:lnTo>
                    <a:pt x="5" y="12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20" y="38"/>
                  </a:lnTo>
                  <a:lnTo>
                    <a:pt x="21" y="40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30" y="41"/>
                  </a:lnTo>
                  <a:lnTo>
                    <a:pt x="33" y="40"/>
                  </a:lnTo>
                  <a:lnTo>
                    <a:pt x="34" y="37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25"/>
                  </a:lnTo>
                  <a:lnTo>
                    <a:pt x="35" y="18"/>
                  </a:lnTo>
                  <a:lnTo>
                    <a:pt x="34" y="12"/>
                  </a:lnTo>
                  <a:lnTo>
                    <a:pt x="33" y="10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5" y="4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8" y="1"/>
                  </a:lnTo>
                  <a:lnTo>
                    <a:pt x="8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7"/>
                  </a:lnTo>
                  <a:lnTo>
                    <a:pt x="3" y="10"/>
                  </a:lnTo>
                  <a:lnTo>
                    <a:pt x="5" y="12"/>
                  </a:lnTo>
                  <a:lnTo>
                    <a:pt x="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18" name="Freeform 209"/>
            <p:cNvSpPr>
              <a:spLocks/>
            </p:cNvSpPr>
            <p:nvPr/>
          </p:nvSpPr>
          <p:spPr bwMode="auto">
            <a:xfrm>
              <a:off x="6140450" y="3087688"/>
              <a:ext cx="106363" cy="161925"/>
            </a:xfrm>
            <a:custGeom>
              <a:avLst/>
              <a:gdLst>
                <a:gd name="T0" fmla="*/ 99 w 133"/>
                <a:gd name="T1" fmla="*/ 142 h 205"/>
                <a:gd name="T2" fmla="*/ 94 w 133"/>
                <a:gd name="T3" fmla="*/ 132 h 205"/>
                <a:gd name="T4" fmla="*/ 81 w 133"/>
                <a:gd name="T5" fmla="*/ 129 h 205"/>
                <a:gd name="T6" fmla="*/ 71 w 133"/>
                <a:gd name="T7" fmla="*/ 132 h 205"/>
                <a:gd name="T8" fmla="*/ 63 w 133"/>
                <a:gd name="T9" fmla="*/ 123 h 205"/>
                <a:gd name="T10" fmla="*/ 69 w 133"/>
                <a:gd name="T11" fmla="*/ 119 h 205"/>
                <a:gd name="T12" fmla="*/ 71 w 133"/>
                <a:gd name="T13" fmla="*/ 112 h 205"/>
                <a:gd name="T14" fmla="*/ 60 w 133"/>
                <a:gd name="T15" fmla="*/ 109 h 205"/>
                <a:gd name="T16" fmla="*/ 53 w 133"/>
                <a:gd name="T17" fmla="*/ 99 h 205"/>
                <a:gd name="T18" fmla="*/ 56 w 133"/>
                <a:gd name="T19" fmla="*/ 90 h 205"/>
                <a:gd name="T20" fmla="*/ 57 w 133"/>
                <a:gd name="T21" fmla="*/ 80 h 205"/>
                <a:gd name="T22" fmla="*/ 69 w 133"/>
                <a:gd name="T23" fmla="*/ 73 h 205"/>
                <a:gd name="T24" fmla="*/ 66 w 133"/>
                <a:gd name="T25" fmla="*/ 39 h 205"/>
                <a:gd name="T26" fmla="*/ 61 w 133"/>
                <a:gd name="T27" fmla="*/ 25 h 205"/>
                <a:gd name="T28" fmla="*/ 63 w 133"/>
                <a:gd name="T29" fmla="*/ 10 h 205"/>
                <a:gd name="T30" fmla="*/ 57 w 133"/>
                <a:gd name="T31" fmla="*/ 3 h 205"/>
                <a:gd name="T32" fmla="*/ 50 w 133"/>
                <a:gd name="T33" fmla="*/ 6 h 205"/>
                <a:gd name="T34" fmla="*/ 44 w 133"/>
                <a:gd name="T35" fmla="*/ 10 h 205"/>
                <a:gd name="T36" fmla="*/ 27 w 133"/>
                <a:gd name="T37" fmla="*/ 2 h 205"/>
                <a:gd name="T38" fmla="*/ 19 w 133"/>
                <a:gd name="T39" fmla="*/ 2 h 205"/>
                <a:gd name="T40" fmla="*/ 11 w 133"/>
                <a:gd name="T41" fmla="*/ 28 h 205"/>
                <a:gd name="T42" fmla="*/ 17 w 133"/>
                <a:gd name="T43" fmla="*/ 46 h 205"/>
                <a:gd name="T44" fmla="*/ 16 w 133"/>
                <a:gd name="T45" fmla="*/ 60 h 205"/>
                <a:gd name="T46" fmla="*/ 14 w 133"/>
                <a:gd name="T47" fmla="*/ 78 h 205"/>
                <a:gd name="T48" fmla="*/ 14 w 133"/>
                <a:gd name="T49" fmla="*/ 79 h 205"/>
                <a:gd name="T50" fmla="*/ 4 w 133"/>
                <a:gd name="T51" fmla="*/ 68 h 205"/>
                <a:gd name="T52" fmla="*/ 1 w 133"/>
                <a:gd name="T53" fmla="*/ 82 h 205"/>
                <a:gd name="T54" fmla="*/ 13 w 133"/>
                <a:gd name="T55" fmla="*/ 102 h 205"/>
                <a:gd name="T56" fmla="*/ 13 w 133"/>
                <a:gd name="T57" fmla="*/ 113 h 205"/>
                <a:gd name="T58" fmla="*/ 20 w 133"/>
                <a:gd name="T59" fmla="*/ 120 h 205"/>
                <a:gd name="T60" fmla="*/ 30 w 133"/>
                <a:gd name="T61" fmla="*/ 128 h 205"/>
                <a:gd name="T62" fmla="*/ 34 w 133"/>
                <a:gd name="T63" fmla="*/ 123 h 205"/>
                <a:gd name="T64" fmla="*/ 37 w 133"/>
                <a:gd name="T65" fmla="*/ 122 h 205"/>
                <a:gd name="T66" fmla="*/ 34 w 133"/>
                <a:gd name="T67" fmla="*/ 129 h 205"/>
                <a:gd name="T68" fmla="*/ 31 w 133"/>
                <a:gd name="T69" fmla="*/ 142 h 205"/>
                <a:gd name="T70" fmla="*/ 41 w 133"/>
                <a:gd name="T71" fmla="*/ 146 h 205"/>
                <a:gd name="T72" fmla="*/ 43 w 133"/>
                <a:gd name="T73" fmla="*/ 149 h 205"/>
                <a:gd name="T74" fmla="*/ 56 w 133"/>
                <a:gd name="T75" fmla="*/ 151 h 205"/>
                <a:gd name="T76" fmla="*/ 63 w 133"/>
                <a:gd name="T77" fmla="*/ 149 h 205"/>
                <a:gd name="T78" fmla="*/ 76 w 133"/>
                <a:gd name="T79" fmla="*/ 153 h 205"/>
                <a:gd name="T80" fmla="*/ 84 w 133"/>
                <a:gd name="T81" fmla="*/ 163 h 205"/>
                <a:gd name="T82" fmla="*/ 89 w 133"/>
                <a:gd name="T83" fmla="*/ 158 h 205"/>
                <a:gd name="T84" fmla="*/ 83 w 133"/>
                <a:gd name="T85" fmla="*/ 149 h 205"/>
                <a:gd name="T86" fmla="*/ 87 w 133"/>
                <a:gd name="T87" fmla="*/ 151 h 205"/>
                <a:gd name="T88" fmla="*/ 96 w 133"/>
                <a:gd name="T89" fmla="*/ 156 h 205"/>
                <a:gd name="T90" fmla="*/ 107 w 133"/>
                <a:gd name="T91" fmla="*/ 168 h 205"/>
                <a:gd name="T92" fmla="*/ 117 w 133"/>
                <a:gd name="T93" fmla="*/ 175 h 205"/>
                <a:gd name="T94" fmla="*/ 114 w 133"/>
                <a:gd name="T95" fmla="*/ 179 h 205"/>
                <a:gd name="T96" fmla="*/ 111 w 133"/>
                <a:gd name="T97" fmla="*/ 181 h 205"/>
                <a:gd name="T98" fmla="*/ 104 w 133"/>
                <a:gd name="T99" fmla="*/ 185 h 205"/>
                <a:gd name="T100" fmla="*/ 104 w 133"/>
                <a:gd name="T101" fmla="*/ 202 h 205"/>
                <a:gd name="T102" fmla="*/ 116 w 133"/>
                <a:gd name="T103" fmla="*/ 199 h 205"/>
                <a:gd name="T104" fmla="*/ 124 w 133"/>
                <a:gd name="T105" fmla="*/ 203 h 205"/>
                <a:gd name="T106" fmla="*/ 133 w 133"/>
                <a:gd name="T107" fmla="*/ 202 h 205"/>
                <a:gd name="T108" fmla="*/ 126 w 133"/>
                <a:gd name="T109" fmla="*/ 189 h 205"/>
                <a:gd name="T110" fmla="*/ 130 w 133"/>
                <a:gd name="T111" fmla="*/ 183 h 205"/>
                <a:gd name="T112" fmla="*/ 130 w 133"/>
                <a:gd name="T113" fmla="*/ 169 h 205"/>
                <a:gd name="T114" fmla="*/ 123 w 133"/>
                <a:gd name="T115" fmla="*/ 158 h 205"/>
                <a:gd name="T116" fmla="*/ 114 w 133"/>
                <a:gd name="T117" fmla="*/ 153 h 205"/>
                <a:gd name="T118" fmla="*/ 126 w 133"/>
                <a:gd name="T119" fmla="*/ 151 h 205"/>
                <a:gd name="T120" fmla="*/ 114 w 133"/>
                <a:gd name="T121" fmla="*/ 138 h 205"/>
                <a:gd name="T122" fmla="*/ 103 w 133"/>
                <a:gd name="T123" fmla="*/ 14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" h="205">
                  <a:moveTo>
                    <a:pt x="103" y="141"/>
                  </a:moveTo>
                  <a:lnTo>
                    <a:pt x="103" y="141"/>
                  </a:lnTo>
                  <a:lnTo>
                    <a:pt x="101" y="143"/>
                  </a:lnTo>
                  <a:lnTo>
                    <a:pt x="101" y="143"/>
                  </a:lnTo>
                  <a:lnTo>
                    <a:pt x="99" y="142"/>
                  </a:lnTo>
                  <a:lnTo>
                    <a:pt x="99" y="142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6" y="135"/>
                  </a:lnTo>
                  <a:lnTo>
                    <a:pt x="94" y="132"/>
                  </a:lnTo>
                  <a:lnTo>
                    <a:pt x="94" y="132"/>
                  </a:lnTo>
                  <a:lnTo>
                    <a:pt x="90" y="129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1" y="129"/>
                  </a:lnTo>
                  <a:lnTo>
                    <a:pt x="81" y="129"/>
                  </a:lnTo>
                  <a:lnTo>
                    <a:pt x="81" y="129"/>
                  </a:lnTo>
                  <a:lnTo>
                    <a:pt x="76" y="130"/>
                  </a:lnTo>
                  <a:lnTo>
                    <a:pt x="76" y="130"/>
                  </a:lnTo>
                  <a:lnTo>
                    <a:pt x="71" y="132"/>
                  </a:lnTo>
                  <a:lnTo>
                    <a:pt x="69" y="132"/>
                  </a:lnTo>
                  <a:lnTo>
                    <a:pt x="69" y="132"/>
                  </a:lnTo>
                  <a:lnTo>
                    <a:pt x="67" y="130"/>
                  </a:lnTo>
                  <a:lnTo>
                    <a:pt x="64" y="129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3" y="122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71" y="116"/>
                  </a:lnTo>
                  <a:lnTo>
                    <a:pt x="71" y="115"/>
                  </a:lnTo>
                  <a:lnTo>
                    <a:pt x="71" y="112"/>
                  </a:lnTo>
                  <a:lnTo>
                    <a:pt x="71" y="112"/>
                  </a:lnTo>
                  <a:lnTo>
                    <a:pt x="70" y="110"/>
                  </a:lnTo>
                  <a:lnTo>
                    <a:pt x="69" y="109"/>
                  </a:lnTo>
                  <a:lnTo>
                    <a:pt x="63" y="109"/>
                  </a:lnTo>
                  <a:lnTo>
                    <a:pt x="63" y="109"/>
                  </a:lnTo>
                  <a:lnTo>
                    <a:pt x="60" y="109"/>
                  </a:lnTo>
                  <a:lnTo>
                    <a:pt x="60" y="109"/>
                  </a:lnTo>
                  <a:lnTo>
                    <a:pt x="57" y="108"/>
                  </a:lnTo>
                  <a:lnTo>
                    <a:pt x="54" y="105"/>
                  </a:lnTo>
                  <a:lnTo>
                    <a:pt x="53" y="103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7" y="80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6" y="76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70" y="65"/>
                  </a:lnTo>
                  <a:lnTo>
                    <a:pt x="71" y="56"/>
                  </a:lnTo>
                  <a:lnTo>
                    <a:pt x="70" y="48"/>
                  </a:lnTo>
                  <a:lnTo>
                    <a:pt x="67" y="40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3" y="32"/>
                  </a:lnTo>
                  <a:lnTo>
                    <a:pt x="61" y="29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3" y="16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1" y="6"/>
                  </a:lnTo>
                  <a:lnTo>
                    <a:pt x="60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7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39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1" y="3"/>
                  </a:lnTo>
                  <a:lnTo>
                    <a:pt x="27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6" y="6"/>
                  </a:lnTo>
                  <a:lnTo>
                    <a:pt x="14" y="10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28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7" y="46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7" y="72"/>
                  </a:lnTo>
                  <a:lnTo>
                    <a:pt x="16" y="75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7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3" y="6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10" y="96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1" y="106"/>
                  </a:lnTo>
                  <a:lnTo>
                    <a:pt x="11" y="106"/>
                  </a:lnTo>
                  <a:lnTo>
                    <a:pt x="11" y="109"/>
                  </a:lnTo>
                  <a:lnTo>
                    <a:pt x="13" y="113"/>
                  </a:lnTo>
                  <a:lnTo>
                    <a:pt x="13" y="113"/>
                  </a:lnTo>
                  <a:lnTo>
                    <a:pt x="14" y="115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4" y="126"/>
                  </a:lnTo>
                  <a:lnTo>
                    <a:pt x="27" y="128"/>
                  </a:lnTo>
                  <a:lnTo>
                    <a:pt x="30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6" y="120"/>
                  </a:lnTo>
                  <a:lnTo>
                    <a:pt x="36" y="120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7" y="123"/>
                  </a:lnTo>
                  <a:lnTo>
                    <a:pt x="36" y="128"/>
                  </a:lnTo>
                  <a:lnTo>
                    <a:pt x="36" y="128"/>
                  </a:lnTo>
                  <a:lnTo>
                    <a:pt x="34" y="129"/>
                  </a:lnTo>
                  <a:lnTo>
                    <a:pt x="34" y="129"/>
                  </a:lnTo>
                  <a:lnTo>
                    <a:pt x="31" y="135"/>
                  </a:lnTo>
                  <a:lnTo>
                    <a:pt x="31" y="138"/>
                  </a:lnTo>
                  <a:lnTo>
                    <a:pt x="31" y="142"/>
                  </a:lnTo>
                  <a:lnTo>
                    <a:pt x="31" y="142"/>
                  </a:lnTo>
                  <a:lnTo>
                    <a:pt x="33" y="145"/>
                  </a:lnTo>
                  <a:lnTo>
                    <a:pt x="36" y="146"/>
                  </a:lnTo>
                  <a:lnTo>
                    <a:pt x="39" y="146"/>
                  </a:lnTo>
                  <a:lnTo>
                    <a:pt x="39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6" y="151"/>
                  </a:lnTo>
                  <a:lnTo>
                    <a:pt x="50" y="152"/>
                  </a:lnTo>
                  <a:lnTo>
                    <a:pt x="50" y="152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9" y="149"/>
                  </a:lnTo>
                  <a:lnTo>
                    <a:pt x="59" y="149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9" y="151"/>
                  </a:lnTo>
                  <a:lnTo>
                    <a:pt x="69" y="151"/>
                  </a:lnTo>
                  <a:lnTo>
                    <a:pt x="73" y="152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9" y="158"/>
                  </a:lnTo>
                  <a:lnTo>
                    <a:pt x="79" y="158"/>
                  </a:lnTo>
                  <a:lnTo>
                    <a:pt x="81" y="162"/>
                  </a:lnTo>
                  <a:lnTo>
                    <a:pt x="84" y="163"/>
                  </a:lnTo>
                  <a:lnTo>
                    <a:pt x="89" y="163"/>
                  </a:lnTo>
                  <a:lnTo>
                    <a:pt x="91" y="163"/>
                  </a:lnTo>
                  <a:lnTo>
                    <a:pt x="90" y="161"/>
                  </a:lnTo>
                  <a:lnTo>
                    <a:pt x="90" y="161"/>
                  </a:lnTo>
                  <a:lnTo>
                    <a:pt x="89" y="158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4" y="152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4" y="148"/>
                  </a:lnTo>
                  <a:lnTo>
                    <a:pt x="86" y="149"/>
                  </a:lnTo>
                  <a:lnTo>
                    <a:pt x="87" y="151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91" y="155"/>
                  </a:lnTo>
                  <a:lnTo>
                    <a:pt x="94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9" y="158"/>
                  </a:lnTo>
                  <a:lnTo>
                    <a:pt x="101" y="161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10" y="171"/>
                  </a:lnTo>
                  <a:lnTo>
                    <a:pt x="113" y="173"/>
                  </a:lnTo>
                  <a:lnTo>
                    <a:pt x="113" y="173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6" y="178"/>
                  </a:lnTo>
                  <a:lnTo>
                    <a:pt x="114" y="179"/>
                  </a:lnTo>
                  <a:lnTo>
                    <a:pt x="114" y="179"/>
                  </a:lnTo>
                  <a:lnTo>
                    <a:pt x="114" y="181"/>
                  </a:lnTo>
                  <a:lnTo>
                    <a:pt x="114" y="181"/>
                  </a:lnTo>
                  <a:lnTo>
                    <a:pt x="111" y="181"/>
                  </a:lnTo>
                  <a:lnTo>
                    <a:pt x="111" y="181"/>
                  </a:lnTo>
                  <a:lnTo>
                    <a:pt x="110" y="181"/>
                  </a:lnTo>
                  <a:lnTo>
                    <a:pt x="110" y="181"/>
                  </a:lnTo>
                  <a:lnTo>
                    <a:pt x="107" y="182"/>
                  </a:lnTo>
                  <a:lnTo>
                    <a:pt x="107" y="182"/>
                  </a:lnTo>
                  <a:lnTo>
                    <a:pt x="104" y="185"/>
                  </a:lnTo>
                  <a:lnTo>
                    <a:pt x="103" y="188"/>
                  </a:lnTo>
                  <a:lnTo>
                    <a:pt x="104" y="196"/>
                  </a:lnTo>
                  <a:lnTo>
                    <a:pt x="104" y="196"/>
                  </a:lnTo>
                  <a:lnTo>
                    <a:pt x="104" y="199"/>
                  </a:lnTo>
                  <a:lnTo>
                    <a:pt x="104" y="202"/>
                  </a:lnTo>
                  <a:lnTo>
                    <a:pt x="107" y="202"/>
                  </a:lnTo>
                  <a:lnTo>
                    <a:pt x="107" y="202"/>
                  </a:lnTo>
                  <a:lnTo>
                    <a:pt x="111" y="201"/>
                  </a:lnTo>
                  <a:lnTo>
                    <a:pt x="111" y="201"/>
                  </a:lnTo>
                  <a:lnTo>
                    <a:pt x="116" y="199"/>
                  </a:lnTo>
                  <a:lnTo>
                    <a:pt x="119" y="199"/>
                  </a:lnTo>
                  <a:lnTo>
                    <a:pt x="119" y="199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4" y="203"/>
                  </a:lnTo>
                  <a:lnTo>
                    <a:pt x="129" y="205"/>
                  </a:lnTo>
                  <a:lnTo>
                    <a:pt x="129" y="205"/>
                  </a:lnTo>
                  <a:lnTo>
                    <a:pt x="131" y="205"/>
                  </a:lnTo>
                  <a:lnTo>
                    <a:pt x="133" y="203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1" y="198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6" y="189"/>
                  </a:lnTo>
                  <a:lnTo>
                    <a:pt x="126" y="186"/>
                  </a:lnTo>
                  <a:lnTo>
                    <a:pt x="126" y="186"/>
                  </a:lnTo>
                  <a:lnTo>
                    <a:pt x="127" y="185"/>
                  </a:lnTo>
                  <a:lnTo>
                    <a:pt x="127" y="185"/>
                  </a:lnTo>
                  <a:lnTo>
                    <a:pt x="130" y="183"/>
                  </a:lnTo>
                  <a:lnTo>
                    <a:pt x="131" y="179"/>
                  </a:lnTo>
                  <a:lnTo>
                    <a:pt x="131" y="179"/>
                  </a:lnTo>
                  <a:lnTo>
                    <a:pt x="130" y="172"/>
                  </a:lnTo>
                  <a:lnTo>
                    <a:pt x="130" y="172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3"/>
                  </a:lnTo>
                  <a:lnTo>
                    <a:pt x="129" y="161"/>
                  </a:lnTo>
                  <a:lnTo>
                    <a:pt x="126" y="159"/>
                  </a:lnTo>
                  <a:lnTo>
                    <a:pt x="123" y="158"/>
                  </a:lnTo>
                  <a:lnTo>
                    <a:pt x="123" y="158"/>
                  </a:lnTo>
                  <a:lnTo>
                    <a:pt x="120" y="158"/>
                  </a:lnTo>
                  <a:lnTo>
                    <a:pt x="117" y="155"/>
                  </a:lnTo>
                  <a:lnTo>
                    <a:pt x="117" y="155"/>
                  </a:lnTo>
                  <a:lnTo>
                    <a:pt x="114" y="153"/>
                  </a:lnTo>
                  <a:lnTo>
                    <a:pt x="114" y="153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3" y="152"/>
                  </a:lnTo>
                  <a:lnTo>
                    <a:pt x="126" y="151"/>
                  </a:lnTo>
                  <a:lnTo>
                    <a:pt x="127" y="149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19" y="141"/>
                  </a:lnTo>
                  <a:lnTo>
                    <a:pt x="114" y="138"/>
                  </a:lnTo>
                  <a:lnTo>
                    <a:pt x="109" y="138"/>
                  </a:lnTo>
                  <a:lnTo>
                    <a:pt x="109" y="138"/>
                  </a:lnTo>
                  <a:lnTo>
                    <a:pt x="106" y="138"/>
                  </a:lnTo>
                  <a:lnTo>
                    <a:pt x="103" y="141"/>
                  </a:lnTo>
                  <a:lnTo>
                    <a:pt x="103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19" name="Freeform 210"/>
            <p:cNvSpPr>
              <a:spLocks/>
            </p:cNvSpPr>
            <p:nvPr/>
          </p:nvSpPr>
          <p:spPr bwMode="auto">
            <a:xfrm>
              <a:off x="6108700" y="3260725"/>
              <a:ext cx="52388" cy="73025"/>
            </a:xfrm>
            <a:custGeom>
              <a:avLst/>
              <a:gdLst>
                <a:gd name="T0" fmla="*/ 5 w 68"/>
                <a:gd name="T1" fmla="*/ 74 h 91"/>
                <a:gd name="T2" fmla="*/ 3 w 68"/>
                <a:gd name="T3" fmla="*/ 75 h 91"/>
                <a:gd name="T4" fmla="*/ 0 w 68"/>
                <a:gd name="T5" fmla="*/ 87 h 91"/>
                <a:gd name="T6" fmla="*/ 2 w 68"/>
                <a:gd name="T7" fmla="*/ 90 h 91"/>
                <a:gd name="T8" fmla="*/ 6 w 68"/>
                <a:gd name="T9" fmla="*/ 91 h 91"/>
                <a:gd name="T10" fmla="*/ 8 w 68"/>
                <a:gd name="T11" fmla="*/ 90 h 91"/>
                <a:gd name="T12" fmla="*/ 12 w 68"/>
                <a:gd name="T13" fmla="*/ 86 h 91"/>
                <a:gd name="T14" fmla="*/ 13 w 68"/>
                <a:gd name="T15" fmla="*/ 84 h 91"/>
                <a:gd name="T16" fmla="*/ 15 w 68"/>
                <a:gd name="T17" fmla="*/ 81 h 91"/>
                <a:gd name="T18" fmla="*/ 18 w 68"/>
                <a:gd name="T19" fmla="*/ 80 h 91"/>
                <a:gd name="T20" fmla="*/ 19 w 68"/>
                <a:gd name="T21" fmla="*/ 78 h 91"/>
                <a:gd name="T22" fmla="*/ 25 w 68"/>
                <a:gd name="T23" fmla="*/ 74 h 91"/>
                <a:gd name="T24" fmla="*/ 28 w 68"/>
                <a:gd name="T25" fmla="*/ 67 h 91"/>
                <a:gd name="T26" fmla="*/ 28 w 68"/>
                <a:gd name="T27" fmla="*/ 65 h 91"/>
                <a:gd name="T28" fmla="*/ 33 w 68"/>
                <a:gd name="T29" fmla="*/ 64 h 91"/>
                <a:gd name="T30" fmla="*/ 39 w 68"/>
                <a:gd name="T31" fmla="*/ 57 h 91"/>
                <a:gd name="T32" fmla="*/ 40 w 68"/>
                <a:gd name="T33" fmla="*/ 53 h 91"/>
                <a:gd name="T34" fmla="*/ 46 w 68"/>
                <a:gd name="T35" fmla="*/ 44 h 91"/>
                <a:gd name="T36" fmla="*/ 49 w 68"/>
                <a:gd name="T37" fmla="*/ 43 h 91"/>
                <a:gd name="T38" fmla="*/ 51 w 68"/>
                <a:gd name="T39" fmla="*/ 40 h 91"/>
                <a:gd name="T40" fmla="*/ 52 w 68"/>
                <a:gd name="T41" fmla="*/ 35 h 91"/>
                <a:gd name="T42" fmla="*/ 56 w 68"/>
                <a:gd name="T43" fmla="*/ 31 h 91"/>
                <a:gd name="T44" fmla="*/ 59 w 68"/>
                <a:gd name="T45" fmla="*/ 31 h 91"/>
                <a:gd name="T46" fmla="*/ 66 w 68"/>
                <a:gd name="T47" fmla="*/ 28 h 91"/>
                <a:gd name="T48" fmla="*/ 68 w 68"/>
                <a:gd name="T49" fmla="*/ 27 h 91"/>
                <a:gd name="T50" fmla="*/ 68 w 68"/>
                <a:gd name="T51" fmla="*/ 23 h 91"/>
                <a:gd name="T52" fmla="*/ 63 w 68"/>
                <a:gd name="T53" fmla="*/ 20 h 91"/>
                <a:gd name="T54" fmla="*/ 62 w 68"/>
                <a:gd name="T55" fmla="*/ 20 h 91"/>
                <a:gd name="T56" fmla="*/ 62 w 68"/>
                <a:gd name="T57" fmla="*/ 15 h 91"/>
                <a:gd name="T58" fmla="*/ 61 w 68"/>
                <a:gd name="T59" fmla="*/ 13 h 91"/>
                <a:gd name="T60" fmla="*/ 61 w 68"/>
                <a:gd name="T61" fmla="*/ 10 h 91"/>
                <a:gd name="T62" fmla="*/ 61 w 68"/>
                <a:gd name="T63" fmla="*/ 8 h 91"/>
                <a:gd name="T64" fmla="*/ 59 w 68"/>
                <a:gd name="T65" fmla="*/ 5 h 91"/>
                <a:gd name="T66" fmla="*/ 56 w 68"/>
                <a:gd name="T67" fmla="*/ 0 h 91"/>
                <a:gd name="T68" fmla="*/ 53 w 68"/>
                <a:gd name="T69" fmla="*/ 0 h 91"/>
                <a:gd name="T70" fmla="*/ 49 w 68"/>
                <a:gd name="T71" fmla="*/ 4 h 91"/>
                <a:gd name="T72" fmla="*/ 48 w 68"/>
                <a:gd name="T73" fmla="*/ 8 h 91"/>
                <a:gd name="T74" fmla="*/ 48 w 68"/>
                <a:gd name="T75" fmla="*/ 11 h 91"/>
                <a:gd name="T76" fmla="*/ 48 w 68"/>
                <a:gd name="T77" fmla="*/ 18 h 91"/>
                <a:gd name="T78" fmla="*/ 43 w 68"/>
                <a:gd name="T79" fmla="*/ 24 h 91"/>
                <a:gd name="T80" fmla="*/ 39 w 68"/>
                <a:gd name="T81" fmla="*/ 28 h 91"/>
                <a:gd name="T82" fmla="*/ 38 w 68"/>
                <a:gd name="T83" fmla="*/ 33 h 91"/>
                <a:gd name="T84" fmla="*/ 36 w 68"/>
                <a:gd name="T85" fmla="*/ 37 h 91"/>
                <a:gd name="T86" fmla="*/ 35 w 68"/>
                <a:gd name="T87" fmla="*/ 38 h 91"/>
                <a:gd name="T88" fmla="*/ 32 w 68"/>
                <a:gd name="T89" fmla="*/ 40 h 91"/>
                <a:gd name="T90" fmla="*/ 29 w 68"/>
                <a:gd name="T91" fmla="*/ 44 h 91"/>
                <a:gd name="T92" fmla="*/ 28 w 68"/>
                <a:gd name="T93" fmla="*/ 48 h 91"/>
                <a:gd name="T94" fmla="*/ 26 w 68"/>
                <a:gd name="T95" fmla="*/ 51 h 91"/>
                <a:gd name="T96" fmla="*/ 20 w 68"/>
                <a:gd name="T97" fmla="*/ 55 h 91"/>
                <a:gd name="T98" fmla="*/ 15 w 68"/>
                <a:gd name="T99" fmla="*/ 60 h 91"/>
                <a:gd name="T100" fmla="*/ 8 w 68"/>
                <a:gd name="T101" fmla="*/ 65 h 91"/>
                <a:gd name="T102" fmla="*/ 5 w 68"/>
                <a:gd name="T103" fmla="*/ 7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8" h="91">
                  <a:moveTo>
                    <a:pt x="5" y="74"/>
                  </a:moveTo>
                  <a:lnTo>
                    <a:pt x="5" y="74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2" y="81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90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5" y="81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22" y="77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33" y="64"/>
                  </a:lnTo>
                  <a:lnTo>
                    <a:pt x="36" y="61"/>
                  </a:lnTo>
                  <a:lnTo>
                    <a:pt x="39" y="57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2" y="45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9" y="43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2" y="35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63" y="30"/>
                  </a:lnTo>
                  <a:lnTo>
                    <a:pt x="66" y="28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6" y="21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0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8" y="1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8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5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6" y="37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0" y="41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0" y="55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0" y="63"/>
                  </a:lnTo>
                  <a:lnTo>
                    <a:pt x="8" y="65"/>
                  </a:lnTo>
                  <a:lnTo>
                    <a:pt x="5" y="74"/>
                  </a:lnTo>
                  <a:lnTo>
                    <a:pt x="5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20" name="Freeform 211"/>
            <p:cNvSpPr>
              <a:spLocks/>
            </p:cNvSpPr>
            <p:nvPr/>
          </p:nvSpPr>
          <p:spPr bwMode="auto">
            <a:xfrm>
              <a:off x="5907088" y="3054350"/>
              <a:ext cx="47625" cy="47625"/>
            </a:xfrm>
            <a:custGeom>
              <a:avLst/>
              <a:gdLst>
                <a:gd name="T0" fmla="*/ 53 w 62"/>
                <a:gd name="T1" fmla="*/ 38 h 61"/>
                <a:gd name="T2" fmla="*/ 53 w 62"/>
                <a:gd name="T3" fmla="*/ 33 h 61"/>
                <a:gd name="T4" fmla="*/ 53 w 62"/>
                <a:gd name="T5" fmla="*/ 28 h 61"/>
                <a:gd name="T6" fmla="*/ 56 w 62"/>
                <a:gd name="T7" fmla="*/ 22 h 61"/>
                <a:gd name="T8" fmla="*/ 59 w 62"/>
                <a:gd name="T9" fmla="*/ 19 h 61"/>
                <a:gd name="T10" fmla="*/ 60 w 62"/>
                <a:gd name="T11" fmla="*/ 18 h 61"/>
                <a:gd name="T12" fmla="*/ 60 w 62"/>
                <a:gd name="T13" fmla="*/ 9 h 61"/>
                <a:gd name="T14" fmla="*/ 56 w 62"/>
                <a:gd name="T15" fmla="*/ 3 h 61"/>
                <a:gd name="T16" fmla="*/ 50 w 62"/>
                <a:gd name="T17" fmla="*/ 0 h 61"/>
                <a:gd name="T18" fmla="*/ 44 w 62"/>
                <a:gd name="T19" fmla="*/ 0 h 61"/>
                <a:gd name="T20" fmla="*/ 40 w 62"/>
                <a:gd name="T21" fmla="*/ 3 h 61"/>
                <a:gd name="T22" fmla="*/ 33 w 62"/>
                <a:gd name="T23" fmla="*/ 6 h 61"/>
                <a:gd name="T24" fmla="*/ 30 w 62"/>
                <a:gd name="T25" fmla="*/ 5 h 61"/>
                <a:gd name="T26" fmla="*/ 27 w 62"/>
                <a:gd name="T27" fmla="*/ 3 h 61"/>
                <a:gd name="T28" fmla="*/ 23 w 62"/>
                <a:gd name="T29" fmla="*/ 6 h 61"/>
                <a:gd name="T30" fmla="*/ 20 w 62"/>
                <a:gd name="T31" fmla="*/ 6 h 61"/>
                <a:gd name="T32" fmla="*/ 19 w 62"/>
                <a:gd name="T33" fmla="*/ 6 h 61"/>
                <a:gd name="T34" fmla="*/ 14 w 62"/>
                <a:gd name="T35" fmla="*/ 8 h 61"/>
                <a:gd name="T36" fmla="*/ 12 w 62"/>
                <a:gd name="T37" fmla="*/ 10 h 61"/>
                <a:gd name="T38" fmla="*/ 12 w 62"/>
                <a:gd name="T39" fmla="*/ 13 h 61"/>
                <a:gd name="T40" fmla="*/ 12 w 62"/>
                <a:gd name="T41" fmla="*/ 16 h 61"/>
                <a:gd name="T42" fmla="*/ 9 w 62"/>
                <a:gd name="T43" fmla="*/ 18 h 61"/>
                <a:gd name="T44" fmla="*/ 4 w 62"/>
                <a:gd name="T45" fmla="*/ 19 h 61"/>
                <a:gd name="T46" fmla="*/ 0 w 62"/>
                <a:gd name="T47" fmla="*/ 26 h 61"/>
                <a:gd name="T48" fmla="*/ 0 w 62"/>
                <a:gd name="T49" fmla="*/ 33 h 61"/>
                <a:gd name="T50" fmla="*/ 2 w 62"/>
                <a:gd name="T51" fmla="*/ 41 h 61"/>
                <a:gd name="T52" fmla="*/ 3 w 62"/>
                <a:gd name="T53" fmla="*/ 48 h 61"/>
                <a:gd name="T54" fmla="*/ 9 w 62"/>
                <a:gd name="T55" fmla="*/ 52 h 61"/>
                <a:gd name="T56" fmla="*/ 13 w 62"/>
                <a:gd name="T57" fmla="*/ 53 h 61"/>
                <a:gd name="T58" fmla="*/ 16 w 62"/>
                <a:gd name="T59" fmla="*/ 53 h 61"/>
                <a:gd name="T60" fmla="*/ 22 w 62"/>
                <a:gd name="T61" fmla="*/ 56 h 61"/>
                <a:gd name="T62" fmla="*/ 27 w 62"/>
                <a:gd name="T63" fmla="*/ 61 h 61"/>
                <a:gd name="T64" fmla="*/ 30 w 62"/>
                <a:gd name="T65" fmla="*/ 61 h 61"/>
                <a:gd name="T66" fmla="*/ 33 w 62"/>
                <a:gd name="T67" fmla="*/ 61 h 61"/>
                <a:gd name="T68" fmla="*/ 36 w 62"/>
                <a:gd name="T69" fmla="*/ 58 h 61"/>
                <a:gd name="T70" fmla="*/ 37 w 62"/>
                <a:gd name="T71" fmla="*/ 56 h 61"/>
                <a:gd name="T72" fmla="*/ 39 w 62"/>
                <a:gd name="T73" fmla="*/ 56 h 61"/>
                <a:gd name="T74" fmla="*/ 44 w 62"/>
                <a:gd name="T75" fmla="*/ 53 h 61"/>
                <a:gd name="T76" fmla="*/ 44 w 62"/>
                <a:gd name="T77" fmla="*/ 51 h 61"/>
                <a:gd name="T78" fmla="*/ 44 w 62"/>
                <a:gd name="T79" fmla="*/ 48 h 61"/>
                <a:gd name="T80" fmla="*/ 44 w 62"/>
                <a:gd name="T81" fmla="*/ 48 h 61"/>
                <a:gd name="T82" fmla="*/ 46 w 62"/>
                <a:gd name="T83" fmla="*/ 46 h 61"/>
                <a:gd name="T84" fmla="*/ 52 w 62"/>
                <a:gd name="T85" fmla="*/ 42 h 61"/>
                <a:gd name="T86" fmla="*/ 53 w 62"/>
                <a:gd name="T87" fmla="*/ 3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2" h="61">
                  <a:moveTo>
                    <a:pt x="53" y="38"/>
                  </a:moveTo>
                  <a:lnTo>
                    <a:pt x="53" y="38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3" y="23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0" y="18"/>
                  </a:lnTo>
                  <a:lnTo>
                    <a:pt x="62" y="15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56" y="3"/>
                  </a:lnTo>
                  <a:lnTo>
                    <a:pt x="53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4" y="0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36" y="5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7" y="3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2" y="10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6"/>
                  </a:lnTo>
                  <a:lnTo>
                    <a:pt x="0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2" y="41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6" y="51"/>
                  </a:lnTo>
                  <a:lnTo>
                    <a:pt x="9" y="52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9" y="55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30" y="61"/>
                  </a:lnTo>
                  <a:lnTo>
                    <a:pt x="30" y="61"/>
                  </a:lnTo>
                  <a:lnTo>
                    <a:pt x="33" y="61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43" y="55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50" y="43"/>
                  </a:lnTo>
                  <a:lnTo>
                    <a:pt x="52" y="42"/>
                  </a:lnTo>
                  <a:lnTo>
                    <a:pt x="53" y="38"/>
                  </a:lnTo>
                  <a:lnTo>
                    <a:pt x="53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21" name="Freeform 212"/>
            <p:cNvSpPr>
              <a:spLocks/>
            </p:cNvSpPr>
            <p:nvPr/>
          </p:nvSpPr>
          <p:spPr bwMode="auto">
            <a:xfrm>
              <a:off x="6121400" y="2935288"/>
              <a:ext cx="33338" cy="77787"/>
            </a:xfrm>
            <a:custGeom>
              <a:avLst/>
              <a:gdLst>
                <a:gd name="T0" fmla="*/ 40 w 41"/>
                <a:gd name="T1" fmla="*/ 26 h 99"/>
                <a:gd name="T2" fmla="*/ 41 w 41"/>
                <a:gd name="T3" fmla="*/ 18 h 99"/>
                <a:gd name="T4" fmla="*/ 41 w 41"/>
                <a:gd name="T5" fmla="*/ 13 h 99"/>
                <a:gd name="T6" fmla="*/ 37 w 41"/>
                <a:gd name="T7" fmla="*/ 6 h 99"/>
                <a:gd name="T8" fmla="*/ 33 w 41"/>
                <a:gd name="T9" fmla="*/ 2 h 99"/>
                <a:gd name="T10" fmla="*/ 30 w 41"/>
                <a:gd name="T11" fmla="*/ 0 h 99"/>
                <a:gd name="T12" fmla="*/ 30 w 41"/>
                <a:gd name="T13" fmla="*/ 0 h 99"/>
                <a:gd name="T14" fmla="*/ 21 w 41"/>
                <a:gd name="T15" fmla="*/ 5 h 99"/>
                <a:gd name="T16" fmla="*/ 15 w 41"/>
                <a:gd name="T17" fmla="*/ 12 h 99"/>
                <a:gd name="T18" fmla="*/ 12 w 41"/>
                <a:gd name="T19" fmla="*/ 18 h 99"/>
                <a:gd name="T20" fmla="*/ 11 w 41"/>
                <a:gd name="T21" fmla="*/ 20 h 99"/>
                <a:gd name="T22" fmla="*/ 8 w 41"/>
                <a:gd name="T23" fmla="*/ 25 h 99"/>
                <a:gd name="T24" fmla="*/ 7 w 41"/>
                <a:gd name="T25" fmla="*/ 29 h 99"/>
                <a:gd name="T26" fmla="*/ 5 w 41"/>
                <a:gd name="T27" fmla="*/ 32 h 99"/>
                <a:gd name="T28" fmla="*/ 4 w 41"/>
                <a:gd name="T29" fmla="*/ 35 h 99"/>
                <a:gd name="T30" fmla="*/ 2 w 41"/>
                <a:gd name="T31" fmla="*/ 43 h 99"/>
                <a:gd name="T32" fmla="*/ 1 w 41"/>
                <a:gd name="T33" fmla="*/ 46 h 99"/>
                <a:gd name="T34" fmla="*/ 0 w 41"/>
                <a:gd name="T35" fmla="*/ 55 h 99"/>
                <a:gd name="T36" fmla="*/ 1 w 41"/>
                <a:gd name="T37" fmla="*/ 63 h 99"/>
                <a:gd name="T38" fmla="*/ 4 w 41"/>
                <a:gd name="T39" fmla="*/ 72 h 99"/>
                <a:gd name="T40" fmla="*/ 10 w 41"/>
                <a:gd name="T41" fmla="*/ 79 h 99"/>
                <a:gd name="T42" fmla="*/ 14 w 41"/>
                <a:gd name="T43" fmla="*/ 86 h 99"/>
                <a:gd name="T44" fmla="*/ 15 w 41"/>
                <a:gd name="T45" fmla="*/ 90 h 99"/>
                <a:gd name="T46" fmla="*/ 20 w 41"/>
                <a:gd name="T47" fmla="*/ 95 h 99"/>
                <a:gd name="T48" fmla="*/ 22 w 41"/>
                <a:gd name="T49" fmla="*/ 98 h 99"/>
                <a:gd name="T50" fmla="*/ 25 w 41"/>
                <a:gd name="T51" fmla="*/ 99 h 99"/>
                <a:gd name="T52" fmla="*/ 27 w 41"/>
                <a:gd name="T53" fmla="*/ 99 h 99"/>
                <a:gd name="T54" fmla="*/ 31 w 41"/>
                <a:gd name="T55" fmla="*/ 96 h 99"/>
                <a:gd name="T56" fmla="*/ 31 w 41"/>
                <a:gd name="T57" fmla="*/ 90 h 99"/>
                <a:gd name="T58" fmla="*/ 31 w 41"/>
                <a:gd name="T59" fmla="*/ 88 h 99"/>
                <a:gd name="T60" fmla="*/ 33 w 41"/>
                <a:gd name="T61" fmla="*/ 80 h 99"/>
                <a:gd name="T62" fmla="*/ 33 w 41"/>
                <a:gd name="T63" fmla="*/ 79 h 99"/>
                <a:gd name="T64" fmla="*/ 35 w 41"/>
                <a:gd name="T65" fmla="*/ 73 h 99"/>
                <a:gd name="T66" fmla="*/ 38 w 41"/>
                <a:gd name="T67" fmla="*/ 46 h 99"/>
                <a:gd name="T68" fmla="*/ 38 w 41"/>
                <a:gd name="T69" fmla="*/ 42 h 99"/>
                <a:gd name="T70" fmla="*/ 38 w 41"/>
                <a:gd name="T71" fmla="*/ 39 h 99"/>
                <a:gd name="T72" fmla="*/ 38 w 41"/>
                <a:gd name="T73" fmla="*/ 28 h 99"/>
                <a:gd name="T74" fmla="*/ 40 w 41"/>
                <a:gd name="T75" fmla="*/ 2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1" h="99">
                  <a:moveTo>
                    <a:pt x="40" y="26"/>
                  </a:moveTo>
                  <a:lnTo>
                    <a:pt x="40" y="26"/>
                  </a:lnTo>
                  <a:lnTo>
                    <a:pt x="41" y="20"/>
                  </a:lnTo>
                  <a:lnTo>
                    <a:pt x="41" y="18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4" y="2"/>
                  </a:lnTo>
                  <a:lnTo>
                    <a:pt x="33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5" y="2"/>
                  </a:lnTo>
                  <a:lnTo>
                    <a:pt x="21" y="5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8" y="25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2" y="42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0" y="55"/>
                  </a:lnTo>
                  <a:lnTo>
                    <a:pt x="0" y="59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4" y="72"/>
                  </a:lnTo>
                  <a:lnTo>
                    <a:pt x="8" y="78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5" y="90"/>
                  </a:lnTo>
                  <a:lnTo>
                    <a:pt x="18" y="93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2" y="98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30" y="98"/>
                  </a:lnTo>
                  <a:lnTo>
                    <a:pt x="31" y="96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1" y="88"/>
                  </a:lnTo>
                  <a:lnTo>
                    <a:pt x="31" y="85"/>
                  </a:lnTo>
                  <a:lnTo>
                    <a:pt x="33" y="80"/>
                  </a:lnTo>
                  <a:lnTo>
                    <a:pt x="33" y="79"/>
                  </a:lnTo>
                  <a:lnTo>
                    <a:pt x="33" y="79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8" y="60"/>
                  </a:lnTo>
                  <a:lnTo>
                    <a:pt x="38" y="46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8" y="33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0" y="26"/>
                  </a:lnTo>
                  <a:lnTo>
                    <a:pt x="4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22" name="Freeform 213"/>
            <p:cNvSpPr>
              <a:spLocks noEditPoints="1"/>
            </p:cNvSpPr>
            <p:nvPr/>
          </p:nvSpPr>
          <p:spPr bwMode="auto">
            <a:xfrm>
              <a:off x="6248400" y="2560638"/>
              <a:ext cx="198438" cy="244475"/>
            </a:xfrm>
            <a:custGeom>
              <a:avLst/>
              <a:gdLst>
                <a:gd name="T0" fmla="*/ 19 w 250"/>
                <a:gd name="T1" fmla="*/ 256 h 307"/>
                <a:gd name="T2" fmla="*/ 32 w 250"/>
                <a:gd name="T3" fmla="*/ 256 h 307"/>
                <a:gd name="T4" fmla="*/ 35 w 250"/>
                <a:gd name="T5" fmla="*/ 283 h 307"/>
                <a:gd name="T6" fmla="*/ 42 w 250"/>
                <a:gd name="T7" fmla="*/ 302 h 307"/>
                <a:gd name="T8" fmla="*/ 56 w 250"/>
                <a:gd name="T9" fmla="*/ 307 h 307"/>
                <a:gd name="T10" fmla="*/ 66 w 250"/>
                <a:gd name="T11" fmla="*/ 296 h 307"/>
                <a:gd name="T12" fmla="*/ 65 w 250"/>
                <a:gd name="T13" fmla="*/ 246 h 307"/>
                <a:gd name="T14" fmla="*/ 55 w 250"/>
                <a:gd name="T15" fmla="*/ 233 h 307"/>
                <a:gd name="T16" fmla="*/ 36 w 250"/>
                <a:gd name="T17" fmla="*/ 223 h 307"/>
                <a:gd name="T18" fmla="*/ 49 w 250"/>
                <a:gd name="T19" fmla="*/ 220 h 307"/>
                <a:gd name="T20" fmla="*/ 66 w 250"/>
                <a:gd name="T21" fmla="*/ 232 h 307"/>
                <a:gd name="T22" fmla="*/ 89 w 250"/>
                <a:gd name="T23" fmla="*/ 256 h 307"/>
                <a:gd name="T24" fmla="*/ 99 w 250"/>
                <a:gd name="T25" fmla="*/ 236 h 307"/>
                <a:gd name="T26" fmla="*/ 120 w 250"/>
                <a:gd name="T27" fmla="*/ 230 h 307"/>
                <a:gd name="T28" fmla="*/ 117 w 250"/>
                <a:gd name="T29" fmla="*/ 207 h 307"/>
                <a:gd name="T30" fmla="*/ 109 w 250"/>
                <a:gd name="T31" fmla="*/ 196 h 307"/>
                <a:gd name="T32" fmla="*/ 127 w 250"/>
                <a:gd name="T33" fmla="*/ 217 h 307"/>
                <a:gd name="T34" fmla="*/ 150 w 250"/>
                <a:gd name="T35" fmla="*/ 237 h 307"/>
                <a:gd name="T36" fmla="*/ 160 w 250"/>
                <a:gd name="T37" fmla="*/ 214 h 307"/>
                <a:gd name="T38" fmla="*/ 169 w 250"/>
                <a:gd name="T39" fmla="*/ 200 h 307"/>
                <a:gd name="T40" fmla="*/ 163 w 250"/>
                <a:gd name="T41" fmla="*/ 192 h 307"/>
                <a:gd name="T42" fmla="*/ 180 w 250"/>
                <a:gd name="T43" fmla="*/ 202 h 307"/>
                <a:gd name="T44" fmla="*/ 205 w 250"/>
                <a:gd name="T45" fmla="*/ 186 h 307"/>
                <a:gd name="T46" fmla="*/ 217 w 250"/>
                <a:gd name="T47" fmla="*/ 180 h 307"/>
                <a:gd name="T48" fmla="*/ 226 w 250"/>
                <a:gd name="T49" fmla="*/ 169 h 307"/>
                <a:gd name="T50" fmla="*/ 233 w 250"/>
                <a:gd name="T51" fmla="*/ 190 h 307"/>
                <a:gd name="T52" fmla="*/ 246 w 250"/>
                <a:gd name="T53" fmla="*/ 180 h 307"/>
                <a:gd name="T54" fmla="*/ 249 w 250"/>
                <a:gd name="T55" fmla="*/ 163 h 307"/>
                <a:gd name="T56" fmla="*/ 235 w 250"/>
                <a:gd name="T57" fmla="*/ 139 h 307"/>
                <a:gd name="T58" fmla="*/ 235 w 250"/>
                <a:gd name="T59" fmla="*/ 117 h 307"/>
                <a:gd name="T60" fmla="*/ 225 w 250"/>
                <a:gd name="T61" fmla="*/ 93 h 307"/>
                <a:gd name="T62" fmla="*/ 230 w 250"/>
                <a:gd name="T63" fmla="*/ 84 h 307"/>
                <a:gd name="T64" fmla="*/ 227 w 250"/>
                <a:gd name="T65" fmla="*/ 60 h 307"/>
                <a:gd name="T66" fmla="*/ 210 w 250"/>
                <a:gd name="T67" fmla="*/ 33 h 307"/>
                <a:gd name="T68" fmla="*/ 190 w 250"/>
                <a:gd name="T69" fmla="*/ 13 h 307"/>
                <a:gd name="T70" fmla="*/ 176 w 250"/>
                <a:gd name="T71" fmla="*/ 6 h 307"/>
                <a:gd name="T72" fmla="*/ 167 w 250"/>
                <a:gd name="T73" fmla="*/ 6 h 307"/>
                <a:gd name="T74" fmla="*/ 157 w 250"/>
                <a:gd name="T75" fmla="*/ 14 h 307"/>
                <a:gd name="T76" fmla="*/ 162 w 250"/>
                <a:gd name="T77" fmla="*/ 34 h 307"/>
                <a:gd name="T78" fmla="*/ 166 w 250"/>
                <a:gd name="T79" fmla="*/ 49 h 307"/>
                <a:gd name="T80" fmla="*/ 176 w 250"/>
                <a:gd name="T81" fmla="*/ 73 h 307"/>
                <a:gd name="T82" fmla="*/ 173 w 250"/>
                <a:gd name="T83" fmla="*/ 101 h 307"/>
                <a:gd name="T84" fmla="*/ 149 w 250"/>
                <a:gd name="T85" fmla="*/ 129 h 307"/>
                <a:gd name="T86" fmla="*/ 140 w 250"/>
                <a:gd name="T87" fmla="*/ 124 h 307"/>
                <a:gd name="T88" fmla="*/ 136 w 250"/>
                <a:gd name="T89" fmla="*/ 109 h 307"/>
                <a:gd name="T90" fmla="*/ 127 w 250"/>
                <a:gd name="T91" fmla="*/ 129 h 307"/>
                <a:gd name="T92" fmla="*/ 127 w 250"/>
                <a:gd name="T93" fmla="*/ 147 h 307"/>
                <a:gd name="T94" fmla="*/ 129 w 250"/>
                <a:gd name="T95" fmla="*/ 167 h 307"/>
                <a:gd name="T96" fmla="*/ 110 w 250"/>
                <a:gd name="T97" fmla="*/ 162 h 307"/>
                <a:gd name="T98" fmla="*/ 86 w 250"/>
                <a:gd name="T99" fmla="*/ 169 h 307"/>
                <a:gd name="T100" fmla="*/ 55 w 250"/>
                <a:gd name="T101" fmla="*/ 167 h 307"/>
                <a:gd name="T102" fmla="*/ 27 w 250"/>
                <a:gd name="T103" fmla="*/ 202 h 307"/>
                <a:gd name="T104" fmla="*/ 22 w 250"/>
                <a:gd name="T105" fmla="*/ 212 h 307"/>
                <a:gd name="T106" fmla="*/ 9 w 250"/>
                <a:gd name="T107" fmla="*/ 230 h 307"/>
                <a:gd name="T108" fmla="*/ 73 w 250"/>
                <a:gd name="T109" fmla="*/ 210 h 307"/>
                <a:gd name="T110" fmla="*/ 89 w 250"/>
                <a:gd name="T111" fmla="*/ 213 h 307"/>
                <a:gd name="T112" fmla="*/ 73 w 250"/>
                <a:gd name="T113" fmla="*/ 210 h 307"/>
                <a:gd name="T114" fmla="*/ 63 w 250"/>
                <a:gd name="T115" fmla="*/ 222 h 307"/>
                <a:gd name="T116" fmla="*/ 60 w 250"/>
                <a:gd name="T117" fmla="*/ 214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0" h="307">
                  <a:moveTo>
                    <a:pt x="6" y="247"/>
                  </a:moveTo>
                  <a:lnTo>
                    <a:pt x="6" y="247"/>
                  </a:lnTo>
                  <a:lnTo>
                    <a:pt x="6" y="249"/>
                  </a:lnTo>
                  <a:lnTo>
                    <a:pt x="6" y="249"/>
                  </a:lnTo>
                  <a:lnTo>
                    <a:pt x="7" y="250"/>
                  </a:lnTo>
                  <a:lnTo>
                    <a:pt x="9" y="253"/>
                  </a:lnTo>
                  <a:lnTo>
                    <a:pt x="9" y="253"/>
                  </a:lnTo>
                  <a:lnTo>
                    <a:pt x="12" y="256"/>
                  </a:lnTo>
                  <a:lnTo>
                    <a:pt x="15" y="256"/>
                  </a:lnTo>
                  <a:lnTo>
                    <a:pt x="15" y="256"/>
                  </a:lnTo>
                  <a:lnTo>
                    <a:pt x="17" y="257"/>
                  </a:lnTo>
                  <a:lnTo>
                    <a:pt x="17" y="257"/>
                  </a:lnTo>
                  <a:lnTo>
                    <a:pt x="19" y="256"/>
                  </a:lnTo>
                  <a:lnTo>
                    <a:pt x="20" y="254"/>
                  </a:lnTo>
                  <a:lnTo>
                    <a:pt x="22" y="250"/>
                  </a:lnTo>
                  <a:lnTo>
                    <a:pt x="22" y="250"/>
                  </a:lnTo>
                  <a:lnTo>
                    <a:pt x="23" y="246"/>
                  </a:lnTo>
                  <a:lnTo>
                    <a:pt x="23" y="246"/>
                  </a:lnTo>
                  <a:lnTo>
                    <a:pt x="25" y="246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50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2" y="262"/>
                  </a:lnTo>
                  <a:lnTo>
                    <a:pt x="32" y="262"/>
                  </a:lnTo>
                  <a:lnTo>
                    <a:pt x="30" y="264"/>
                  </a:lnTo>
                  <a:lnTo>
                    <a:pt x="30" y="264"/>
                  </a:lnTo>
                  <a:lnTo>
                    <a:pt x="29" y="266"/>
                  </a:lnTo>
                  <a:lnTo>
                    <a:pt x="27" y="269"/>
                  </a:lnTo>
                  <a:lnTo>
                    <a:pt x="27" y="269"/>
                  </a:lnTo>
                  <a:lnTo>
                    <a:pt x="27" y="272"/>
                  </a:lnTo>
                  <a:lnTo>
                    <a:pt x="29" y="274"/>
                  </a:lnTo>
                  <a:lnTo>
                    <a:pt x="32" y="279"/>
                  </a:lnTo>
                  <a:lnTo>
                    <a:pt x="32" y="279"/>
                  </a:lnTo>
                  <a:lnTo>
                    <a:pt x="35" y="283"/>
                  </a:lnTo>
                  <a:lnTo>
                    <a:pt x="35" y="287"/>
                  </a:lnTo>
                  <a:lnTo>
                    <a:pt x="35" y="287"/>
                  </a:lnTo>
                  <a:lnTo>
                    <a:pt x="35" y="289"/>
                  </a:lnTo>
                  <a:lnTo>
                    <a:pt x="35" y="289"/>
                  </a:lnTo>
                  <a:lnTo>
                    <a:pt x="33" y="292"/>
                  </a:lnTo>
                  <a:lnTo>
                    <a:pt x="33" y="294"/>
                  </a:lnTo>
                  <a:lnTo>
                    <a:pt x="33" y="296"/>
                  </a:lnTo>
                  <a:lnTo>
                    <a:pt x="35" y="296"/>
                  </a:lnTo>
                  <a:lnTo>
                    <a:pt x="35" y="296"/>
                  </a:lnTo>
                  <a:lnTo>
                    <a:pt x="36" y="297"/>
                  </a:lnTo>
                  <a:lnTo>
                    <a:pt x="39" y="299"/>
                  </a:lnTo>
                  <a:lnTo>
                    <a:pt x="39" y="299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5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50" y="304"/>
                  </a:lnTo>
                  <a:lnTo>
                    <a:pt x="50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3" y="306"/>
                  </a:lnTo>
                  <a:lnTo>
                    <a:pt x="56" y="307"/>
                  </a:lnTo>
                  <a:lnTo>
                    <a:pt x="56" y="307"/>
                  </a:lnTo>
                  <a:lnTo>
                    <a:pt x="59" y="306"/>
                  </a:lnTo>
                  <a:lnTo>
                    <a:pt x="60" y="304"/>
                  </a:lnTo>
                  <a:lnTo>
                    <a:pt x="60" y="304"/>
                  </a:lnTo>
                  <a:lnTo>
                    <a:pt x="62" y="302"/>
                  </a:lnTo>
                  <a:lnTo>
                    <a:pt x="62" y="302"/>
                  </a:lnTo>
                  <a:lnTo>
                    <a:pt x="62" y="300"/>
                  </a:lnTo>
                  <a:lnTo>
                    <a:pt x="62" y="300"/>
                  </a:lnTo>
                  <a:lnTo>
                    <a:pt x="62" y="300"/>
                  </a:lnTo>
                  <a:lnTo>
                    <a:pt x="62" y="300"/>
                  </a:lnTo>
                  <a:lnTo>
                    <a:pt x="62" y="300"/>
                  </a:lnTo>
                  <a:lnTo>
                    <a:pt x="65" y="299"/>
                  </a:lnTo>
                  <a:lnTo>
                    <a:pt x="65" y="299"/>
                  </a:lnTo>
                  <a:lnTo>
                    <a:pt x="66" y="296"/>
                  </a:lnTo>
                  <a:lnTo>
                    <a:pt x="67" y="292"/>
                  </a:lnTo>
                  <a:lnTo>
                    <a:pt x="67" y="287"/>
                  </a:lnTo>
                  <a:lnTo>
                    <a:pt x="66" y="280"/>
                  </a:lnTo>
                  <a:lnTo>
                    <a:pt x="66" y="280"/>
                  </a:lnTo>
                  <a:lnTo>
                    <a:pt x="65" y="27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6" y="249"/>
                  </a:lnTo>
                  <a:lnTo>
                    <a:pt x="65" y="246"/>
                  </a:lnTo>
                  <a:lnTo>
                    <a:pt x="65" y="246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2"/>
                  </a:lnTo>
                  <a:lnTo>
                    <a:pt x="63" y="242"/>
                  </a:lnTo>
                  <a:lnTo>
                    <a:pt x="63" y="239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59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0"/>
                  </a:lnTo>
                  <a:lnTo>
                    <a:pt x="55" y="230"/>
                  </a:lnTo>
                  <a:lnTo>
                    <a:pt x="53" y="227"/>
                  </a:lnTo>
                  <a:lnTo>
                    <a:pt x="52" y="226"/>
                  </a:lnTo>
                  <a:lnTo>
                    <a:pt x="49" y="224"/>
                  </a:lnTo>
                  <a:lnTo>
                    <a:pt x="49" y="224"/>
                  </a:lnTo>
                  <a:lnTo>
                    <a:pt x="43" y="224"/>
                  </a:lnTo>
                  <a:lnTo>
                    <a:pt x="43" y="224"/>
                  </a:lnTo>
                  <a:lnTo>
                    <a:pt x="40" y="224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5" y="222"/>
                  </a:lnTo>
                  <a:lnTo>
                    <a:pt x="35" y="222"/>
                  </a:lnTo>
                  <a:lnTo>
                    <a:pt x="37" y="223"/>
                  </a:lnTo>
                  <a:lnTo>
                    <a:pt x="37" y="223"/>
                  </a:lnTo>
                  <a:lnTo>
                    <a:pt x="42" y="222"/>
                  </a:lnTo>
                  <a:lnTo>
                    <a:pt x="45" y="219"/>
                  </a:lnTo>
                  <a:lnTo>
                    <a:pt x="45" y="219"/>
                  </a:lnTo>
                  <a:lnTo>
                    <a:pt x="46" y="219"/>
                  </a:lnTo>
                  <a:lnTo>
                    <a:pt x="46" y="219"/>
                  </a:lnTo>
                  <a:lnTo>
                    <a:pt x="47" y="220"/>
                  </a:lnTo>
                  <a:lnTo>
                    <a:pt x="47" y="220"/>
                  </a:lnTo>
                  <a:lnTo>
                    <a:pt x="49" y="220"/>
                  </a:lnTo>
                  <a:lnTo>
                    <a:pt x="49" y="220"/>
                  </a:lnTo>
                  <a:lnTo>
                    <a:pt x="56" y="223"/>
                  </a:lnTo>
                  <a:lnTo>
                    <a:pt x="56" y="223"/>
                  </a:lnTo>
                  <a:lnTo>
                    <a:pt x="59" y="224"/>
                  </a:lnTo>
                  <a:lnTo>
                    <a:pt x="62" y="223"/>
                  </a:lnTo>
                  <a:lnTo>
                    <a:pt x="62" y="223"/>
                  </a:lnTo>
                  <a:lnTo>
                    <a:pt x="62" y="223"/>
                  </a:lnTo>
                  <a:lnTo>
                    <a:pt x="69" y="229"/>
                  </a:lnTo>
                  <a:lnTo>
                    <a:pt x="69" y="229"/>
                  </a:lnTo>
                  <a:lnTo>
                    <a:pt x="69" y="229"/>
                  </a:lnTo>
                  <a:lnTo>
                    <a:pt x="69" y="229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6" y="232"/>
                  </a:lnTo>
                  <a:lnTo>
                    <a:pt x="66" y="232"/>
                  </a:lnTo>
                  <a:lnTo>
                    <a:pt x="66" y="236"/>
                  </a:lnTo>
                  <a:lnTo>
                    <a:pt x="67" y="240"/>
                  </a:lnTo>
                  <a:lnTo>
                    <a:pt x="70" y="243"/>
                  </a:lnTo>
                  <a:lnTo>
                    <a:pt x="73" y="244"/>
                  </a:lnTo>
                  <a:lnTo>
                    <a:pt x="73" y="244"/>
                  </a:lnTo>
                  <a:lnTo>
                    <a:pt x="76" y="247"/>
                  </a:lnTo>
                  <a:lnTo>
                    <a:pt x="77" y="249"/>
                  </a:lnTo>
                  <a:lnTo>
                    <a:pt x="77" y="249"/>
                  </a:lnTo>
                  <a:lnTo>
                    <a:pt x="80" y="253"/>
                  </a:lnTo>
                  <a:lnTo>
                    <a:pt x="83" y="254"/>
                  </a:lnTo>
                  <a:lnTo>
                    <a:pt x="86" y="256"/>
                  </a:lnTo>
                  <a:lnTo>
                    <a:pt x="89" y="256"/>
                  </a:lnTo>
                  <a:lnTo>
                    <a:pt x="89" y="256"/>
                  </a:lnTo>
                  <a:lnTo>
                    <a:pt x="90" y="256"/>
                  </a:lnTo>
                  <a:lnTo>
                    <a:pt x="90" y="256"/>
                  </a:lnTo>
                  <a:lnTo>
                    <a:pt x="93" y="254"/>
                  </a:lnTo>
                  <a:lnTo>
                    <a:pt x="95" y="252"/>
                  </a:lnTo>
                  <a:lnTo>
                    <a:pt x="95" y="252"/>
                  </a:lnTo>
                  <a:lnTo>
                    <a:pt x="95" y="249"/>
                  </a:lnTo>
                  <a:lnTo>
                    <a:pt x="95" y="249"/>
                  </a:lnTo>
                  <a:lnTo>
                    <a:pt x="95" y="244"/>
                  </a:lnTo>
                  <a:lnTo>
                    <a:pt x="96" y="242"/>
                  </a:lnTo>
                  <a:lnTo>
                    <a:pt x="96" y="242"/>
                  </a:lnTo>
                  <a:lnTo>
                    <a:pt x="99" y="239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100" y="234"/>
                  </a:lnTo>
                  <a:lnTo>
                    <a:pt x="100" y="234"/>
                  </a:lnTo>
                  <a:lnTo>
                    <a:pt x="105" y="236"/>
                  </a:lnTo>
                  <a:lnTo>
                    <a:pt x="110" y="240"/>
                  </a:lnTo>
                  <a:lnTo>
                    <a:pt x="110" y="240"/>
                  </a:lnTo>
                  <a:lnTo>
                    <a:pt x="115" y="243"/>
                  </a:lnTo>
                  <a:lnTo>
                    <a:pt x="117" y="242"/>
                  </a:lnTo>
                  <a:lnTo>
                    <a:pt x="117" y="242"/>
                  </a:lnTo>
                  <a:lnTo>
                    <a:pt x="120" y="239"/>
                  </a:lnTo>
                  <a:lnTo>
                    <a:pt x="119" y="234"/>
                  </a:lnTo>
                  <a:lnTo>
                    <a:pt x="119" y="234"/>
                  </a:lnTo>
                  <a:lnTo>
                    <a:pt x="120" y="230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3" y="220"/>
                  </a:lnTo>
                  <a:lnTo>
                    <a:pt x="123" y="217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2"/>
                  </a:lnTo>
                  <a:lnTo>
                    <a:pt x="122" y="212"/>
                  </a:lnTo>
                  <a:lnTo>
                    <a:pt x="122" y="209"/>
                  </a:lnTo>
                  <a:lnTo>
                    <a:pt x="120" y="206"/>
                  </a:lnTo>
                  <a:lnTo>
                    <a:pt x="120" y="206"/>
                  </a:lnTo>
                  <a:lnTo>
                    <a:pt x="119" y="206"/>
                  </a:lnTo>
                  <a:lnTo>
                    <a:pt x="117" y="207"/>
                  </a:lnTo>
                  <a:lnTo>
                    <a:pt x="117" y="207"/>
                  </a:lnTo>
                  <a:lnTo>
                    <a:pt x="116" y="207"/>
                  </a:lnTo>
                  <a:lnTo>
                    <a:pt x="116" y="207"/>
                  </a:lnTo>
                  <a:lnTo>
                    <a:pt x="112" y="206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102" y="202"/>
                  </a:lnTo>
                  <a:lnTo>
                    <a:pt x="102" y="202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9" y="196"/>
                  </a:lnTo>
                  <a:lnTo>
                    <a:pt x="109" y="196"/>
                  </a:lnTo>
                  <a:lnTo>
                    <a:pt x="116" y="196"/>
                  </a:lnTo>
                  <a:lnTo>
                    <a:pt x="123" y="199"/>
                  </a:lnTo>
                  <a:lnTo>
                    <a:pt x="123" y="199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7" y="202"/>
                  </a:lnTo>
                  <a:lnTo>
                    <a:pt x="127" y="202"/>
                  </a:lnTo>
                  <a:lnTo>
                    <a:pt x="125" y="206"/>
                  </a:lnTo>
                  <a:lnTo>
                    <a:pt x="125" y="206"/>
                  </a:lnTo>
                  <a:lnTo>
                    <a:pt x="125" y="209"/>
                  </a:lnTo>
                  <a:lnTo>
                    <a:pt x="125" y="212"/>
                  </a:lnTo>
                  <a:lnTo>
                    <a:pt x="127" y="217"/>
                  </a:lnTo>
                  <a:lnTo>
                    <a:pt x="127" y="217"/>
                  </a:lnTo>
                  <a:lnTo>
                    <a:pt x="130" y="222"/>
                  </a:lnTo>
                  <a:lnTo>
                    <a:pt x="132" y="223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7" y="224"/>
                  </a:lnTo>
                  <a:lnTo>
                    <a:pt x="140" y="229"/>
                  </a:lnTo>
                  <a:lnTo>
                    <a:pt x="140" y="229"/>
                  </a:lnTo>
                  <a:lnTo>
                    <a:pt x="142" y="232"/>
                  </a:lnTo>
                  <a:lnTo>
                    <a:pt x="142" y="232"/>
                  </a:lnTo>
                  <a:lnTo>
                    <a:pt x="145" y="236"/>
                  </a:lnTo>
                  <a:lnTo>
                    <a:pt x="150" y="237"/>
                  </a:lnTo>
                  <a:lnTo>
                    <a:pt x="150" y="237"/>
                  </a:lnTo>
                  <a:lnTo>
                    <a:pt x="155" y="236"/>
                  </a:lnTo>
                  <a:lnTo>
                    <a:pt x="157" y="234"/>
                  </a:lnTo>
                  <a:lnTo>
                    <a:pt x="157" y="234"/>
                  </a:lnTo>
                  <a:lnTo>
                    <a:pt x="159" y="233"/>
                  </a:lnTo>
                  <a:lnTo>
                    <a:pt x="159" y="232"/>
                  </a:lnTo>
                  <a:lnTo>
                    <a:pt x="159" y="229"/>
                  </a:lnTo>
                  <a:lnTo>
                    <a:pt x="159" y="229"/>
                  </a:lnTo>
                  <a:lnTo>
                    <a:pt x="157" y="224"/>
                  </a:lnTo>
                  <a:lnTo>
                    <a:pt x="157" y="224"/>
                  </a:lnTo>
                  <a:lnTo>
                    <a:pt x="157" y="223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60" y="214"/>
                  </a:lnTo>
                  <a:lnTo>
                    <a:pt x="160" y="214"/>
                  </a:lnTo>
                  <a:lnTo>
                    <a:pt x="162" y="213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72" y="212"/>
                  </a:lnTo>
                  <a:lnTo>
                    <a:pt x="173" y="210"/>
                  </a:lnTo>
                  <a:lnTo>
                    <a:pt x="176" y="207"/>
                  </a:lnTo>
                  <a:lnTo>
                    <a:pt x="176" y="207"/>
                  </a:lnTo>
                  <a:lnTo>
                    <a:pt x="175" y="206"/>
                  </a:lnTo>
                  <a:lnTo>
                    <a:pt x="172" y="202"/>
                  </a:lnTo>
                  <a:lnTo>
                    <a:pt x="172" y="202"/>
                  </a:lnTo>
                  <a:lnTo>
                    <a:pt x="169" y="200"/>
                  </a:lnTo>
                  <a:lnTo>
                    <a:pt x="169" y="200"/>
                  </a:lnTo>
                  <a:lnTo>
                    <a:pt x="163" y="197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7" y="189"/>
                  </a:lnTo>
                  <a:lnTo>
                    <a:pt x="157" y="189"/>
                  </a:lnTo>
                  <a:lnTo>
                    <a:pt x="157" y="187"/>
                  </a:lnTo>
                  <a:lnTo>
                    <a:pt x="157" y="187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65" y="193"/>
                  </a:lnTo>
                  <a:lnTo>
                    <a:pt x="167" y="194"/>
                  </a:lnTo>
                  <a:lnTo>
                    <a:pt x="167" y="194"/>
                  </a:lnTo>
                  <a:lnTo>
                    <a:pt x="170" y="196"/>
                  </a:lnTo>
                  <a:lnTo>
                    <a:pt x="170" y="196"/>
                  </a:lnTo>
                  <a:lnTo>
                    <a:pt x="172" y="196"/>
                  </a:lnTo>
                  <a:lnTo>
                    <a:pt x="172" y="197"/>
                  </a:lnTo>
                  <a:lnTo>
                    <a:pt x="172" y="197"/>
                  </a:lnTo>
                  <a:lnTo>
                    <a:pt x="173" y="200"/>
                  </a:lnTo>
                  <a:lnTo>
                    <a:pt x="175" y="202"/>
                  </a:lnTo>
                  <a:lnTo>
                    <a:pt x="177" y="203"/>
                  </a:lnTo>
                  <a:lnTo>
                    <a:pt x="177" y="203"/>
                  </a:lnTo>
                  <a:lnTo>
                    <a:pt x="180" y="202"/>
                  </a:lnTo>
                  <a:lnTo>
                    <a:pt x="180" y="202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7" y="202"/>
                  </a:lnTo>
                  <a:lnTo>
                    <a:pt x="200" y="200"/>
                  </a:lnTo>
                  <a:lnTo>
                    <a:pt x="200" y="200"/>
                  </a:lnTo>
                  <a:lnTo>
                    <a:pt x="202" y="197"/>
                  </a:lnTo>
                  <a:lnTo>
                    <a:pt x="203" y="194"/>
                  </a:lnTo>
                  <a:lnTo>
                    <a:pt x="203" y="194"/>
                  </a:lnTo>
                  <a:lnTo>
                    <a:pt x="203" y="190"/>
                  </a:lnTo>
                  <a:lnTo>
                    <a:pt x="205" y="186"/>
                  </a:lnTo>
                  <a:lnTo>
                    <a:pt x="205" y="186"/>
                  </a:lnTo>
                  <a:lnTo>
                    <a:pt x="206" y="183"/>
                  </a:lnTo>
                  <a:lnTo>
                    <a:pt x="206" y="183"/>
                  </a:lnTo>
                  <a:lnTo>
                    <a:pt x="207" y="184"/>
                  </a:lnTo>
                  <a:lnTo>
                    <a:pt x="207" y="184"/>
                  </a:lnTo>
                  <a:lnTo>
                    <a:pt x="210" y="184"/>
                  </a:lnTo>
                  <a:lnTo>
                    <a:pt x="210" y="184"/>
                  </a:lnTo>
                  <a:lnTo>
                    <a:pt x="213" y="184"/>
                  </a:lnTo>
                  <a:lnTo>
                    <a:pt x="215" y="183"/>
                  </a:lnTo>
                  <a:lnTo>
                    <a:pt x="215" y="183"/>
                  </a:lnTo>
                  <a:lnTo>
                    <a:pt x="215" y="180"/>
                  </a:lnTo>
                  <a:lnTo>
                    <a:pt x="217" y="180"/>
                  </a:lnTo>
                  <a:lnTo>
                    <a:pt x="217" y="180"/>
                  </a:lnTo>
                  <a:lnTo>
                    <a:pt x="217" y="180"/>
                  </a:lnTo>
                  <a:lnTo>
                    <a:pt x="220" y="179"/>
                  </a:lnTo>
                  <a:lnTo>
                    <a:pt x="222" y="177"/>
                  </a:lnTo>
                  <a:lnTo>
                    <a:pt x="222" y="177"/>
                  </a:lnTo>
                  <a:lnTo>
                    <a:pt x="223" y="174"/>
                  </a:lnTo>
                  <a:lnTo>
                    <a:pt x="223" y="172"/>
                  </a:lnTo>
                  <a:lnTo>
                    <a:pt x="220" y="164"/>
                  </a:lnTo>
                  <a:lnTo>
                    <a:pt x="220" y="164"/>
                  </a:lnTo>
                  <a:lnTo>
                    <a:pt x="220" y="164"/>
                  </a:lnTo>
                  <a:lnTo>
                    <a:pt x="220" y="164"/>
                  </a:lnTo>
                  <a:lnTo>
                    <a:pt x="222" y="164"/>
                  </a:lnTo>
                  <a:lnTo>
                    <a:pt x="222" y="164"/>
                  </a:lnTo>
                  <a:lnTo>
                    <a:pt x="226" y="169"/>
                  </a:lnTo>
                  <a:lnTo>
                    <a:pt x="227" y="172"/>
                  </a:lnTo>
                  <a:lnTo>
                    <a:pt x="227" y="172"/>
                  </a:lnTo>
                  <a:lnTo>
                    <a:pt x="229" y="173"/>
                  </a:lnTo>
                  <a:lnTo>
                    <a:pt x="229" y="174"/>
                  </a:lnTo>
                  <a:lnTo>
                    <a:pt x="229" y="174"/>
                  </a:lnTo>
                  <a:lnTo>
                    <a:pt x="227" y="176"/>
                  </a:lnTo>
                  <a:lnTo>
                    <a:pt x="227" y="180"/>
                  </a:lnTo>
                  <a:lnTo>
                    <a:pt x="227" y="180"/>
                  </a:lnTo>
                  <a:lnTo>
                    <a:pt x="229" y="186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3" y="190"/>
                  </a:lnTo>
                  <a:lnTo>
                    <a:pt x="233" y="190"/>
                  </a:lnTo>
                  <a:lnTo>
                    <a:pt x="235" y="193"/>
                  </a:lnTo>
                  <a:lnTo>
                    <a:pt x="238" y="194"/>
                  </a:lnTo>
                  <a:lnTo>
                    <a:pt x="240" y="194"/>
                  </a:lnTo>
                  <a:lnTo>
                    <a:pt x="240" y="194"/>
                  </a:lnTo>
                  <a:lnTo>
                    <a:pt x="242" y="194"/>
                  </a:lnTo>
                  <a:lnTo>
                    <a:pt x="243" y="193"/>
                  </a:lnTo>
                  <a:lnTo>
                    <a:pt x="243" y="193"/>
                  </a:lnTo>
                  <a:lnTo>
                    <a:pt x="245" y="192"/>
                  </a:lnTo>
                  <a:lnTo>
                    <a:pt x="245" y="192"/>
                  </a:lnTo>
                  <a:lnTo>
                    <a:pt x="248" y="187"/>
                  </a:lnTo>
                  <a:lnTo>
                    <a:pt x="248" y="183"/>
                  </a:lnTo>
                  <a:lnTo>
                    <a:pt x="246" y="180"/>
                  </a:lnTo>
                  <a:lnTo>
                    <a:pt x="246" y="180"/>
                  </a:lnTo>
                  <a:lnTo>
                    <a:pt x="245" y="177"/>
                  </a:lnTo>
                  <a:lnTo>
                    <a:pt x="246" y="176"/>
                  </a:lnTo>
                  <a:lnTo>
                    <a:pt x="246" y="176"/>
                  </a:lnTo>
                  <a:lnTo>
                    <a:pt x="248" y="172"/>
                  </a:lnTo>
                  <a:lnTo>
                    <a:pt x="248" y="172"/>
                  </a:lnTo>
                  <a:lnTo>
                    <a:pt x="248" y="170"/>
                  </a:lnTo>
                  <a:lnTo>
                    <a:pt x="249" y="169"/>
                  </a:lnTo>
                  <a:lnTo>
                    <a:pt x="249" y="169"/>
                  </a:lnTo>
                  <a:lnTo>
                    <a:pt x="250" y="169"/>
                  </a:lnTo>
                  <a:lnTo>
                    <a:pt x="250" y="167"/>
                  </a:lnTo>
                  <a:lnTo>
                    <a:pt x="250" y="167"/>
                  </a:lnTo>
                  <a:lnTo>
                    <a:pt x="250" y="164"/>
                  </a:lnTo>
                  <a:lnTo>
                    <a:pt x="249" y="163"/>
                  </a:lnTo>
                  <a:lnTo>
                    <a:pt x="249" y="163"/>
                  </a:lnTo>
                  <a:lnTo>
                    <a:pt x="245" y="157"/>
                  </a:lnTo>
                  <a:lnTo>
                    <a:pt x="245" y="157"/>
                  </a:lnTo>
                  <a:lnTo>
                    <a:pt x="240" y="152"/>
                  </a:lnTo>
                  <a:lnTo>
                    <a:pt x="240" y="152"/>
                  </a:lnTo>
                  <a:lnTo>
                    <a:pt x="239" y="149"/>
                  </a:lnTo>
                  <a:lnTo>
                    <a:pt x="239" y="149"/>
                  </a:lnTo>
                  <a:lnTo>
                    <a:pt x="238" y="144"/>
                  </a:lnTo>
                  <a:lnTo>
                    <a:pt x="235" y="141"/>
                  </a:lnTo>
                  <a:lnTo>
                    <a:pt x="235" y="141"/>
                  </a:lnTo>
                  <a:lnTo>
                    <a:pt x="235" y="141"/>
                  </a:lnTo>
                  <a:lnTo>
                    <a:pt x="235" y="139"/>
                  </a:lnTo>
                  <a:lnTo>
                    <a:pt x="235" y="139"/>
                  </a:lnTo>
                  <a:lnTo>
                    <a:pt x="235" y="134"/>
                  </a:lnTo>
                  <a:lnTo>
                    <a:pt x="235" y="134"/>
                  </a:lnTo>
                  <a:lnTo>
                    <a:pt x="236" y="133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8" y="129"/>
                  </a:lnTo>
                  <a:lnTo>
                    <a:pt x="239" y="126"/>
                  </a:lnTo>
                  <a:lnTo>
                    <a:pt x="239" y="126"/>
                  </a:lnTo>
                  <a:lnTo>
                    <a:pt x="238" y="123"/>
                  </a:lnTo>
                  <a:lnTo>
                    <a:pt x="236" y="121"/>
                  </a:lnTo>
                  <a:lnTo>
                    <a:pt x="236" y="121"/>
                  </a:lnTo>
                  <a:lnTo>
                    <a:pt x="235" y="117"/>
                  </a:lnTo>
                  <a:lnTo>
                    <a:pt x="235" y="117"/>
                  </a:lnTo>
                  <a:lnTo>
                    <a:pt x="233" y="113"/>
                  </a:lnTo>
                  <a:lnTo>
                    <a:pt x="235" y="109"/>
                  </a:lnTo>
                  <a:lnTo>
                    <a:pt x="235" y="109"/>
                  </a:lnTo>
                  <a:lnTo>
                    <a:pt x="235" y="106"/>
                  </a:lnTo>
                  <a:lnTo>
                    <a:pt x="235" y="101"/>
                  </a:lnTo>
                  <a:lnTo>
                    <a:pt x="235" y="101"/>
                  </a:lnTo>
                  <a:lnTo>
                    <a:pt x="232" y="94"/>
                  </a:lnTo>
                  <a:lnTo>
                    <a:pt x="230" y="91"/>
                  </a:lnTo>
                  <a:lnTo>
                    <a:pt x="227" y="91"/>
                  </a:lnTo>
                  <a:lnTo>
                    <a:pt x="227" y="91"/>
                  </a:lnTo>
                  <a:lnTo>
                    <a:pt x="226" y="91"/>
                  </a:lnTo>
                  <a:lnTo>
                    <a:pt x="226" y="91"/>
                  </a:lnTo>
                  <a:lnTo>
                    <a:pt x="225" y="93"/>
                  </a:lnTo>
                  <a:lnTo>
                    <a:pt x="223" y="97"/>
                  </a:lnTo>
                  <a:lnTo>
                    <a:pt x="223" y="97"/>
                  </a:lnTo>
                  <a:lnTo>
                    <a:pt x="222" y="93"/>
                  </a:lnTo>
                  <a:lnTo>
                    <a:pt x="222" y="93"/>
                  </a:lnTo>
                  <a:lnTo>
                    <a:pt x="222" y="89"/>
                  </a:lnTo>
                  <a:lnTo>
                    <a:pt x="222" y="89"/>
                  </a:lnTo>
                  <a:lnTo>
                    <a:pt x="225" y="89"/>
                  </a:lnTo>
                  <a:lnTo>
                    <a:pt x="225" y="89"/>
                  </a:lnTo>
                  <a:lnTo>
                    <a:pt x="226" y="89"/>
                  </a:lnTo>
                  <a:lnTo>
                    <a:pt x="226" y="89"/>
                  </a:lnTo>
                  <a:lnTo>
                    <a:pt x="227" y="87"/>
                  </a:lnTo>
                  <a:lnTo>
                    <a:pt x="230" y="84"/>
                  </a:lnTo>
                  <a:lnTo>
                    <a:pt x="230" y="84"/>
                  </a:lnTo>
                  <a:lnTo>
                    <a:pt x="229" y="80"/>
                  </a:lnTo>
                  <a:lnTo>
                    <a:pt x="229" y="77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4"/>
                  </a:lnTo>
                  <a:lnTo>
                    <a:pt x="226" y="74"/>
                  </a:lnTo>
                  <a:lnTo>
                    <a:pt x="226" y="73"/>
                  </a:lnTo>
                  <a:lnTo>
                    <a:pt x="227" y="70"/>
                  </a:lnTo>
                  <a:lnTo>
                    <a:pt x="227" y="70"/>
                  </a:lnTo>
                  <a:lnTo>
                    <a:pt x="229" y="69"/>
                  </a:lnTo>
                  <a:lnTo>
                    <a:pt x="229" y="66"/>
                  </a:lnTo>
                  <a:lnTo>
                    <a:pt x="227" y="60"/>
                  </a:lnTo>
                  <a:lnTo>
                    <a:pt x="227" y="60"/>
                  </a:lnTo>
                  <a:lnTo>
                    <a:pt x="226" y="54"/>
                  </a:lnTo>
                  <a:lnTo>
                    <a:pt x="226" y="54"/>
                  </a:lnTo>
                  <a:lnTo>
                    <a:pt x="226" y="51"/>
                  </a:lnTo>
                  <a:lnTo>
                    <a:pt x="223" y="47"/>
                  </a:lnTo>
                  <a:lnTo>
                    <a:pt x="222" y="44"/>
                  </a:lnTo>
                  <a:lnTo>
                    <a:pt x="217" y="41"/>
                  </a:lnTo>
                  <a:lnTo>
                    <a:pt x="217" y="41"/>
                  </a:lnTo>
                  <a:lnTo>
                    <a:pt x="216" y="40"/>
                  </a:lnTo>
                  <a:lnTo>
                    <a:pt x="215" y="39"/>
                  </a:lnTo>
                  <a:lnTo>
                    <a:pt x="215" y="39"/>
                  </a:lnTo>
                  <a:lnTo>
                    <a:pt x="213" y="36"/>
                  </a:lnTo>
                  <a:lnTo>
                    <a:pt x="210" y="33"/>
                  </a:lnTo>
                  <a:lnTo>
                    <a:pt x="210" y="33"/>
                  </a:lnTo>
                  <a:lnTo>
                    <a:pt x="209" y="31"/>
                  </a:lnTo>
                  <a:lnTo>
                    <a:pt x="207" y="29"/>
                  </a:lnTo>
                  <a:lnTo>
                    <a:pt x="207" y="29"/>
                  </a:lnTo>
                  <a:lnTo>
                    <a:pt x="205" y="26"/>
                  </a:lnTo>
                  <a:lnTo>
                    <a:pt x="202" y="23"/>
                  </a:lnTo>
                  <a:lnTo>
                    <a:pt x="200" y="23"/>
                  </a:lnTo>
                  <a:lnTo>
                    <a:pt x="200" y="23"/>
                  </a:lnTo>
                  <a:lnTo>
                    <a:pt x="196" y="21"/>
                  </a:lnTo>
                  <a:lnTo>
                    <a:pt x="192" y="19"/>
                  </a:lnTo>
                  <a:lnTo>
                    <a:pt x="192" y="19"/>
                  </a:lnTo>
                  <a:lnTo>
                    <a:pt x="190" y="16"/>
                  </a:lnTo>
                  <a:lnTo>
                    <a:pt x="190" y="13"/>
                  </a:lnTo>
                  <a:lnTo>
                    <a:pt x="190" y="13"/>
                  </a:lnTo>
                  <a:lnTo>
                    <a:pt x="189" y="11"/>
                  </a:lnTo>
                  <a:lnTo>
                    <a:pt x="187" y="9"/>
                  </a:lnTo>
                  <a:lnTo>
                    <a:pt x="187" y="9"/>
                  </a:lnTo>
                  <a:lnTo>
                    <a:pt x="185" y="4"/>
                  </a:lnTo>
                  <a:lnTo>
                    <a:pt x="185" y="4"/>
                  </a:lnTo>
                  <a:lnTo>
                    <a:pt x="183" y="1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79" y="0"/>
                  </a:lnTo>
                  <a:lnTo>
                    <a:pt x="179" y="0"/>
                  </a:lnTo>
                  <a:lnTo>
                    <a:pt x="176" y="3"/>
                  </a:lnTo>
                  <a:lnTo>
                    <a:pt x="176" y="3"/>
                  </a:lnTo>
                  <a:lnTo>
                    <a:pt x="176" y="6"/>
                  </a:lnTo>
                  <a:lnTo>
                    <a:pt x="177" y="10"/>
                  </a:lnTo>
                  <a:lnTo>
                    <a:pt x="177" y="10"/>
                  </a:lnTo>
                  <a:lnTo>
                    <a:pt x="177" y="11"/>
                  </a:lnTo>
                  <a:lnTo>
                    <a:pt x="177" y="11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3" y="13"/>
                  </a:lnTo>
                  <a:lnTo>
                    <a:pt x="172" y="13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7" y="6"/>
                  </a:lnTo>
                  <a:lnTo>
                    <a:pt x="167" y="6"/>
                  </a:lnTo>
                  <a:lnTo>
                    <a:pt x="163" y="4"/>
                  </a:lnTo>
                  <a:lnTo>
                    <a:pt x="160" y="3"/>
                  </a:lnTo>
                  <a:lnTo>
                    <a:pt x="157" y="3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3" y="7"/>
                  </a:lnTo>
                  <a:lnTo>
                    <a:pt x="152" y="9"/>
                  </a:lnTo>
                  <a:lnTo>
                    <a:pt x="152" y="9"/>
                  </a:lnTo>
                  <a:lnTo>
                    <a:pt x="153" y="11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5" y="16"/>
                  </a:lnTo>
                  <a:lnTo>
                    <a:pt x="150" y="20"/>
                  </a:lnTo>
                  <a:lnTo>
                    <a:pt x="150" y="20"/>
                  </a:lnTo>
                  <a:lnTo>
                    <a:pt x="150" y="23"/>
                  </a:lnTo>
                  <a:lnTo>
                    <a:pt x="150" y="26"/>
                  </a:lnTo>
                  <a:lnTo>
                    <a:pt x="150" y="26"/>
                  </a:lnTo>
                  <a:lnTo>
                    <a:pt x="153" y="30"/>
                  </a:lnTo>
                  <a:lnTo>
                    <a:pt x="160" y="34"/>
                  </a:lnTo>
                  <a:lnTo>
                    <a:pt x="160" y="34"/>
                  </a:lnTo>
                  <a:lnTo>
                    <a:pt x="162" y="34"/>
                  </a:lnTo>
                  <a:lnTo>
                    <a:pt x="162" y="34"/>
                  </a:lnTo>
                  <a:lnTo>
                    <a:pt x="162" y="34"/>
                  </a:lnTo>
                  <a:lnTo>
                    <a:pt x="162" y="34"/>
                  </a:lnTo>
                  <a:lnTo>
                    <a:pt x="160" y="39"/>
                  </a:lnTo>
                  <a:lnTo>
                    <a:pt x="160" y="39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7" y="43"/>
                  </a:lnTo>
                  <a:lnTo>
                    <a:pt x="159" y="44"/>
                  </a:lnTo>
                  <a:lnTo>
                    <a:pt x="159" y="46"/>
                  </a:lnTo>
                  <a:lnTo>
                    <a:pt x="159" y="46"/>
                  </a:lnTo>
                  <a:lnTo>
                    <a:pt x="160" y="47"/>
                  </a:lnTo>
                  <a:lnTo>
                    <a:pt x="162" y="47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72" y="51"/>
                  </a:lnTo>
                  <a:lnTo>
                    <a:pt x="173" y="53"/>
                  </a:lnTo>
                  <a:lnTo>
                    <a:pt x="173" y="53"/>
                  </a:lnTo>
                  <a:lnTo>
                    <a:pt x="173" y="56"/>
                  </a:lnTo>
                  <a:lnTo>
                    <a:pt x="173" y="56"/>
                  </a:lnTo>
                  <a:lnTo>
                    <a:pt x="172" y="63"/>
                  </a:lnTo>
                  <a:lnTo>
                    <a:pt x="173" y="64"/>
                  </a:lnTo>
                  <a:lnTo>
                    <a:pt x="175" y="67"/>
                  </a:lnTo>
                  <a:lnTo>
                    <a:pt x="175" y="67"/>
                  </a:lnTo>
                  <a:lnTo>
                    <a:pt x="176" y="73"/>
                  </a:lnTo>
                  <a:lnTo>
                    <a:pt x="176" y="83"/>
                  </a:lnTo>
                  <a:lnTo>
                    <a:pt x="176" y="83"/>
                  </a:lnTo>
                  <a:lnTo>
                    <a:pt x="176" y="86"/>
                  </a:lnTo>
                  <a:lnTo>
                    <a:pt x="176" y="86"/>
                  </a:lnTo>
                  <a:lnTo>
                    <a:pt x="176" y="93"/>
                  </a:lnTo>
                  <a:lnTo>
                    <a:pt x="176" y="94"/>
                  </a:lnTo>
                  <a:lnTo>
                    <a:pt x="176" y="94"/>
                  </a:lnTo>
                  <a:lnTo>
                    <a:pt x="176" y="97"/>
                  </a:lnTo>
                  <a:lnTo>
                    <a:pt x="175" y="99"/>
                  </a:lnTo>
                  <a:lnTo>
                    <a:pt x="175" y="99"/>
                  </a:lnTo>
                  <a:lnTo>
                    <a:pt x="175" y="101"/>
                  </a:lnTo>
                  <a:lnTo>
                    <a:pt x="175" y="101"/>
                  </a:lnTo>
                  <a:lnTo>
                    <a:pt x="173" y="101"/>
                  </a:lnTo>
                  <a:lnTo>
                    <a:pt x="173" y="101"/>
                  </a:lnTo>
                  <a:lnTo>
                    <a:pt x="170" y="104"/>
                  </a:lnTo>
                  <a:lnTo>
                    <a:pt x="169" y="107"/>
                  </a:lnTo>
                  <a:lnTo>
                    <a:pt x="169" y="107"/>
                  </a:lnTo>
                  <a:lnTo>
                    <a:pt x="167" y="114"/>
                  </a:lnTo>
                  <a:lnTo>
                    <a:pt x="167" y="114"/>
                  </a:lnTo>
                  <a:lnTo>
                    <a:pt x="167" y="119"/>
                  </a:lnTo>
                  <a:lnTo>
                    <a:pt x="167" y="119"/>
                  </a:lnTo>
                  <a:lnTo>
                    <a:pt x="165" y="120"/>
                  </a:lnTo>
                  <a:lnTo>
                    <a:pt x="153" y="127"/>
                  </a:lnTo>
                  <a:lnTo>
                    <a:pt x="152" y="127"/>
                  </a:lnTo>
                  <a:lnTo>
                    <a:pt x="152" y="127"/>
                  </a:lnTo>
                  <a:lnTo>
                    <a:pt x="149" y="129"/>
                  </a:lnTo>
                  <a:lnTo>
                    <a:pt x="147" y="131"/>
                  </a:lnTo>
                  <a:lnTo>
                    <a:pt x="147" y="131"/>
                  </a:lnTo>
                  <a:lnTo>
                    <a:pt x="146" y="131"/>
                  </a:lnTo>
                  <a:lnTo>
                    <a:pt x="146" y="131"/>
                  </a:lnTo>
                  <a:lnTo>
                    <a:pt x="146" y="131"/>
                  </a:lnTo>
                  <a:lnTo>
                    <a:pt x="146" y="131"/>
                  </a:lnTo>
                  <a:lnTo>
                    <a:pt x="145" y="131"/>
                  </a:lnTo>
                  <a:lnTo>
                    <a:pt x="145" y="130"/>
                  </a:lnTo>
                  <a:lnTo>
                    <a:pt x="145" y="130"/>
                  </a:lnTo>
                  <a:lnTo>
                    <a:pt x="145" y="127"/>
                  </a:lnTo>
                  <a:lnTo>
                    <a:pt x="145" y="127"/>
                  </a:lnTo>
                  <a:lnTo>
                    <a:pt x="142" y="124"/>
                  </a:lnTo>
                  <a:lnTo>
                    <a:pt x="140" y="124"/>
                  </a:lnTo>
                  <a:lnTo>
                    <a:pt x="140" y="124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0"/>
                  </a:lnTo>
                  <a:lnTo>
                    <a:pt x="140" y="119"/>
                  </a:lnTo>
                  <a:lnTo>
                    <a:pt x="140" y="119"/>
                  </a:lnTo>
                  <a:lnTo>
                    <a:pt x="142" y="114"/>
                  </a:lnTo>
                  <a:lnTo>
                    <a:pt x="142" y="113"/>
                  </a:lnTo>
                  <a:lnTo>
                    <a:pt x="140" y="110"/>
                  </a:lnTo>
                  <a:lnTo>
                    <a:pt x="140" y="110"/>
                  </a:lnTo>
                  <a:lnTo>
                    <a:pt x="139" y="109"/>
                  </a:lnTo>
                  <a:lnTo>
                    <a:pt x="136" y="109"/>
                  </a:lnTo>
                  <a:lnTo>
                    <a:pt x="136" y="109"/>
                  </a:lnTo>
                  <a:lnTo>
                    <a:pt x="133" y="110"/>
                  </a:lnTo>
                  <a:lnTo>
                    <a:pt x="129" y="113"/>
                  </a:lnTo>
                  <a:lnTo>
                    <a:pt x="127" y="114"/>
                  </a:lnTo>
                  <a:lnTo>
                    <a:pt x="127" y="114"/>
                  </a:lnTo>
                  <a:lnTo>
                    <a:pt x="126" y="116"/>
                  </a:lnTo>
                  <a:lnTo>
                    <a:pt x="125" y="119"/>
                  </a:lnTo>
                  <a:lnTo>
                    <a:pt x="125" y="119"/>
                  </a:lnTo>
                  <a:lnTo>
                    <a:pt x="123" y="121"/>
                  </a:lnTo>
                  <a:lnTo>
                    <a:pt x="125" y="124"/>
                  </a:lnTo>
                  <a:lnTo>
                    <a:pt x="125" y="124"/>
                  </a:lnTo>
                  <a:lnTo>
                    <a:pt x="127" y="126"/>
                  </a:lnTo>
                  <a:lnTo>
                    <a:pt x="127" y="126"/>
                  </a:lnTo>
                  <a:lnTo>
                    <a:pt x="127" y="129"/>
                  </a:lnTo>
                  <a:lnTo>
                    <a:pt x="127" y="129"/>
                  </a:lnTo>
                  <a:lnTo>
                    <a:pt x="129" y="131"/>
                  </a:lnTo>
                  <a:lnTo>
                    <a:pt x="130" y="133"/>
                  </a:lnTo>
                  <a:lnTo>
                    <a:pt x="130" y="133"/>
                  </a:lnTo>
                  <a:lnTo>
                    <a:pt x="132" y="134"/>
                  </a:lnTo>
                  <a:lnTo>
                    <a:pt x="132" y="134"/>
                  </a:lnTo>
                  <a:lnTo>
                    <a:pt x="132" y="139"/>
                  </a:lnTo>
                  <a:lnTo>
                    <a:pt x="130" y="140"/>
                  </a:lnTo>
                  <a:lnTo>
                    <a:pt x="129" y="141"/>
                  </a:lnTo>
                  <a:lnTo>
                    <a:pt x="129" y="141"/>
                  </a:lnTo>
                  <a:lnTo>
                    <a:pt x="129" y="141"/>
                  </a:lnTo>
                  <a:lnTo>
                    <a:pt x="129" y="144"/>
                  </a:lnTo>
                  <a:lnTo>
                    <a:pt x="127" y="147"/>
                  </a:lnTo>
                  <a:lnTo>
                    <a:pt x="127" y="147"/>
                  </a:lnTo>
                  <a:lnTo>
                    <a:pt x="126" y="152"/>
                  </a:lnTo>
                  <a:lnTo>
                    <a:pt x="125" y="159"/>
                  </a:lnTo>
                  <a:lnTo>
                    <a:pt x="125" y="159"/>
                  </a:lnTo>
                  <a:lnTo>
                    <a:pt x="126" y="163"/>
                  </a:lnTo>
                  <a:lnTo>
                    <a:pt x="126" y="166"/>
                  </a:lnTo>
                  <a:lnTo>
                    <a:pt x="129" y="166"/>
                  </a:lnTo>
                  <a:lnTo>
                    <a:pt x="129" y="166"/>
                  </a:lnTo>
                  <a:lnTo>
                    <a:pt x="129" y="166"/>
                  </a:lnTo>
                  <a:lnTo>
                    <a:pt x="129" y="166"/>
                  </a:lnTo>
                  <a:lnTo>
                    <a:pt x="129" y="166"/>
                  </a:lnTo>
                  <a:lnTo>
                    <a:pt x="129" y="166"/>
                  </a:lnTo>
                  <a:lnTo>
                    <a:pt x="129" y="167"/>
                  </a:lnTo>
                  <a:lnTo>
                    <a:pt x="129" y="167"/>
                  </a:lnTo>
                  <a:lnTo>
                    <a:pt x="127" y="170"/>
                  </a:lnTo>
                  <a:lnTo>
                    <a:pt x="127" y="170"/>
                  </a:lnTo>
                  <a:lnTo>
                    <a:pt x="125" y="169"/>
                  </a:lnTo>
                  <a:lnTo>
                    <a:pt x="125" y="169"/>
                  </a:lnTo>
                  <a:lnTo>
                    <a:pt x="119" y="169"/>
                  </a:lnTo>
                  <a:lnTo>
                    <a:pt x="119" y="169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3" y="163"/>
                  </a:lnTo>
                  <a:lnTo>
                    <a:pt x="112" y="162"/>
                  </a:lnTo>
                  <a:lnTo>
                    <a:pt x="112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07" y="164"/>
                  </a:lnTo>
                  <a:lnTo>
                    <a:pt x="107" y="164"/>
                  </a:lnTo>
                  <a:lnTo>
                    <a:pt x="106" y="166"/>
                  </a:lnTo>
                  <a:lnTo>
                    <a:pt x="106" y="166"/>
                  </a:lnTo>
                  <a:lnTo>
                    <a:pt x="103" y="163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93" y="164"/>
                  </a:lnTo>
                  <a:lnTo>
                    <a:pt x="90" y="167"/>
                  </a:lnTo>
                  <a:lnTo>
                    <a:pt x="90" y="167"/>
                  </a:lnTo>
                  <a:lnTo>
                    <a:pt x="89" y="169"/>
                  </a:lnTo>
                  <a:lnTo>
                    <a:pt x="86" y="169"/>
                  </a:lnTo>
                  <a:lnTo>
                    <a:pt x="79" y="169"/>
                  </a:lnTo>
                  <a:lnTo>
                    <a:pt x="79" y="169"/>
                  </a:lnTo>
                  <a:lnTo>
                    <a:pt x="72" y="170"/>
                  </a:lnTo>
                  <a:lnTo>
                    <a:pt x="72" y="170"/>
                  </a:lnTo>
                  <a:lnTo>
                    <a:pt x="69" y="170"/>
                  </a:lnTo>
                  <a:lnTo>
                    <a:pt x="69" y="170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5" y="167"/>
                  </a:lnTo>
                  <a:lnTo>
                    <a:pt x="52" y="170"/>
                  </a:lnTo>
                  <a:lnTo>
                    <a:pt x="49" y="176"/>
                  </a:lnTo>
                  <a:lnTo>
                    <a:pt x="46" y="184"/>
                  </a:lnTo>
                  <a:lnTo>
                    <a:pt x="46" y="184"/>
                  </a:lnTo>
                  <a:lnTo>
                    <a:pt x="45" y="189"/>
                  </a:lnTo>
                  <a:lnTo>
                    <a:pt x="40" y="192"/>
                  </a:lnTo>
                  <a:lnTo>
                    <a:pt x="33" y="199"/>
                  </a:lnTo>
                  <a:lnTo>
                    <a:pt x="33" y="199"/>
                  </a:lnTo>
                  <a:lnTo>
                    <a:pt x="29" y="202"/>
                  </a:lnTo>
                  <a:lnTo>
                    <a:pt x="29" y="202"/>
                  </a:lnTo>
                  <a:lnTo>
                    <a:pt x="29" y="202"/>
                  </a:lnTo>
                  <a:lnTo>
                    <a:pt x="29" y="202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5" y="200"/>
                  </a:lnTo>
                  <a:lnTo>
                    <a:pt x="25" y="200"/>
                  </a:lnTo>
                  <a:lnTo>
                    <a:pt x="23" y="202"/>
                  </a:lnTo>
                  <a:lnTo>
                    <a:pt x="22" y="202"/>
                  </a:lnTo>
                  <a:lnTo>
                    <a:pt x="22" y="202"/>
                  </a:lnTo>
                  <a:lnTo>
                    <a:pt x="20" y="204"/>
                  </a:lnTo>
                  <a:lnTo>
                    <a:pt x="19" y="207"/>
                  </a:lnTo>
                  <a:lnTo>
                    <a:pt x="20" y="209"/>
                  </a:lnTo>
                  <a:lnTo>
                    <a:pt x="22" y="212"/>
                  </a:lnTo>
                  <a:lnTo>
                    <a:pt x="22" y="212"/>
                  </a:lnTo>
                  <a:lnTo>
                    <a:pt x="22" y="212"/>
                  </a:lnTo>
                  <a:lnTo>
                    <a:pt x="22" y="212"/>
                  </a:lnTo>
                  <a:lnTo>
                    <a:pt x="22" y="213"/>
                  </a:lnTo>
                  <a:lnTo>
                    <a:pt x="22" y="213"/>
                  </a:lnTo>
                  <a:lnTo>
                    <a:pt x="22" y="214"/>
                  </a:lnTo>
                  <a:lnTo>
                    <a:pt x="23" y="216"/>
                  </a:lnTo>
                  <a:lnTo>
                    <a:pt x="23" y="216"/>
                  </a:lnTo>
                  <a:lnTo>
                    <a:pt x="19" y="219"/>
                  </a:lnTo>
                  <a:lnTo>
                    <a:pt x="16" y="222"/>
                  </a:lnTo>
                  <a:lnTo>
                    <a:pt x="16" y="222"/>
                  </a:lnTo>
                  <a:lnTo>
                    <a:pt x="15" y="224"/>
                  </a:lnTo>
                  <a:lnTo>
                    <a:pt x="15" y="224"/>
                  </a:lnTo>
                  <a:lnTo>
                    <a:pt x="12" y="227"/>
                  </a:lnTo>
                  <a:lnTo>
                    <a:pt x="9" y="230"/>
                  </a:lnTo>
                  <a:lnTo>
                    <a:pt x="9" y="230"/>
                  </a:lnTo>
                  <a:lnTo>
                    <a:pt x="7" y="230"/>
                  </a:lnTo>
                  <a:lnTo>
                    <a:pt x="7" y="230"/>
                  </a:lnTo>
                  <a:lnTo>
                    <a:pt x="3" y="232"/>
                  </a:lnTo>
                  <a:lnTo>
                    <a:pt x="2" y="234"/>
                  </a:lnTo>
                  <a:lnTo>
                    <a:pt x="2" y="234"/>
                  </a:lnTo>
                  <a:lnTo>
                    <a:pt x="0" y="237"/>
                  </a:lnTo>
                  <a:lnTo>
                    <a:pt x="2" y="239"/>
                  </a:lnTo>
                  <a:lnTo>
                    <a:pt x="5" y="244"/>
                  </a:lnTo>
                  <a:lnTo>
                    <a:pt x="5" y="244"/>
                  </a:lnTo>
                  <a:lnTo>
                    <a:pt x="6" y="247"/>
                  </a:lnTo>
                  <a:lnTo>
                    <a:pt x="6" y="247"/>
                  </a:lnTo>
                  <a:close/>
                  <a:moveTo>
                    <a:pt x="73" y="210"/>
                  </a:moveTo>
                  <a:lnTo>
                    <a:pt x="73" y="210"/>
                  </a:lnTo>
                  <a:lnTo>
                    <a:pt x="76" y="207"/>
                  </a:lnTo>
                  <a:lnTo>
                    <a:pt x="83" y="203"/>
                  </a:lnTo>
                  <a:lnTo>
                    <a:pt x="83" y="203"/>
                  </a:lnTo>
                  <a:lnTo>
                    <a:pt x="86" y="204"/>
                  </a:lnTo>
                  <a:lnTo>
                    <a:pt x="86" y="204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0" y="207"/>
                  </a:lnTo>
                  <a:lnTo>
                    <a:pt x="90" y="210"/>
                  </a:lnTo>
                  <a:lnTo>
                    <a:pt x="90" y="210"/>
                  </a:lnTo>
                  <a:lnTo>
                    <a:pt x="90" y="213"/>
                  </a:lnTo>
                  <a:lnTo>
                    <a:pt x="90" y="213"/>
                  </a:lnTo>
                  <a:lnTo>
                    <a:pt x="89" y="213"/>
                  </a:lnTo>
                  <a:lnTo>
                    <a:pt x="86" y="214"/>
                  </a:lnTo>
                  <a:lnTo>
                    <a:pt x="86" y="214"/>
                  </a:lnTo>
                  <a:lnTo>
                    <a:pt x="83" y="214"/>
                  </a:lnTo>
                  <a:lnTo>
                    <a:pt x="83" y="214"/>
                  </a:lnTo>
                  <a:lnTo>
                    <a:pt x="80" y="213"/>
                  </a:lnTo>
                  <a:lnTo>
                    <a:pt x="80" y="213"/>
                  </a:lnTo>
                  <a:lnTo>
                    <a:pt x="77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close/>
                  <a:moveTo>
                    <a:pt x="63" y="217"/>
                  </a:moveTo>
                  <a:lnTo>
                    <a:pt x="63" y="217"/>
                  </a:lnTo>
                  <a:lnTo>
                    <a:pt x="67" y="216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70" y="217"/>
                  </a:lnTo>
                  <a:lnTo>
                    <a:pt x="70" y="217"/>
                  </a:lnTo>
                  <a:lnTo>
                    <a:pt x="70" y="226"/>
                  </a:lnTo>
                  <a:lnTo>
                    <a:pt x="70" y="226"/>
                  </a:lnTo>
                  <a:lnTo>
                    <a:pt x="69" y="229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19"/>
                  </a:lnTo>
                  <a:lnTo>
                    <a:pt x="62" y="217"/>
                  </a:lnTo>
                  <a:lnTo>
                    <a:pt x="62" y="217"/>
                  </a:lnTo>
                  <a:lnTo>
                    <a:pt x="63" y="217"/>
                  </a:lnTo>
                  <a:lnTo>
                    <a:pt x="63" y="217"/>
                  </a:lnTo>
                  <a:close/>
                  <a:moveTo>
                    <a:pt x="60" y="210"/>
                  </a:moveTo>
                  <a:lnTo>
                    <a:pt x="60" y="210"/>
                  </a:lnTo>
                  <a:lnTo>
                    <a:pt x="60" y="210"/>
                  </a:lnTo>
                  <a:lnTo>
                    <a:pt x="60" y="210"/>
                  </a:lnTo>
                  <a:lnTo>
                    <a:pt x="60" y="213"/>
                  </a:lnTo>
                  <a:lnTo>
                    <a:pt x="60" y="214"/>
                  </a:lnTo>
                  <a:lnTo>
                    <a:pt x="60" y="214"/>
                  </a:lnTo>
                  <a:lnTo>
                    <a:pt x="60" y="210"/>
                  </a:lnTo>
                  <a:lnTo>
                    <a:pt x="6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23" name="Freeform 214"/>
            <p:cNvSpPr>
              <a:spLocks/>
            </p:cNvSpPr>
            <p:nvPr/>
          </p:nvSpPr>
          <p:spPr bwMode="auto">
            <a:xfrm>
              <a:off x="5337175" y="3292475"/>
              <a:ext cx="49213" cy="92075"/>
            </a:xfrm>
            <a:custGeom>
              <a:avLst/>
              <a:gdLst>
                <a:gd name="T0" fmla="*/ 53 w 63"/>
                <a:gd name="T1" fmla="*/ 53 h 116"/>
                <a:gd name="T2" fmla="*/ 51 w 63"/>
                <a:gd name="T3" fmla="*/ 48 h 116"/>
                <a:gd name="T4" fmla="*/ 50 w 63"/>
                <a:gd name="T5" fmla="*/ 44 h 116"/>
                <a:gd name="T6" fmla="*/ 45 w 63"/>
                <a:gd name="T7" fmla="*/ 40 h 116"/>
                <a:gd name="T8" fmla="*/ 44 w 63"/>
                <a:gd name="T9" fmla="*/ 37 h 116"/>
                <a:gd name="T10" fmla="*/ 41 w 63"/>
                <a:gd name="T11" fmla="*/ 30 h 116"/>
                <a:gd name="T12" fmla="*/ 35 w 63"/>
                <a:gd name="T13" fmla="*/ 20 h 116"/>
                <a:gd name="T14" fmla="*/ 30 w 63"/>
                <a:gd name="T15" fmla="*/ 14 h 116"/>
                <a:gd name="T16" fmla="*/ 23 w 63"/>
                <a:gd name="T17" fmla="*/ 8 h 116"/>
                <a:gd name="T18" fmla="*/ 18 w 63"/>
                <a:gd name="T19" fmla="*/ 5 h 116"/>
                <a:gd name="T20" fmla="*/ 18 w 63"/>
                <a:gd name="T21" fmla="*/ 4 h 116"/>
                <a:gd name="T22" fmla="*/ 17 w 63"/>
                <a:gd name="T23" fmla="*/ 1 h 116"/>
                <a:gd name="T24" fmla="*/ 13 w 63"/>
                <a:gd name="T25" fmla="*/ 0 h 116"/>
                <a:gd name="T26" fmla="*/ 10 w 63"/>
                <a:gd name="T27" fmla="*/ 0 h 116"/>
                <a:gd name="T28" fmla="*/ 5 w 63"/>
                <a:gd name="T29" fmla="*/ 0 h 116"/>
                <a:gd name="T30" fmla="*/ 5 w 63"/>
                <a:gd name="T31" fmla="*/ 1 h 116"/>
                <a:gd name="T32" fmla="*/ 5 w 63"/>
                <a:gd name="T33" fmla="*/ 5 h 116"/>
                <a:gd name="T34" fmla="*/ 7 w 63"/>
                <a:gd name="T35" fmla="*/ 7 h 116"/>
                <a:gd name="T36" fmla="*/ 10 w 63"/>
                <a:gd name="T37" fmla="*/ 7 h 116"/>
                <a:gd name="T38" fmla="*/ 10 w 63"/>
                <a:gd name="T39" fmla="*/ 7 h 116"/>
                <a:gd name="T40" fmla="*/ 10 w 63"/>
                <a:gd name="T41" fmla="*/ 11 h 116"/>
                <a:gd name="T42" fmla="*/ 10 w 63"/>
                <a:gd name="T43" fmla="*/ 23 h 116"/>
                <a:gd name="T44" fmla="*/ 10 w 63"/>
                <a:gd name="T45" fmla="*/ 23 h 116"/>
                <a:gd name="T46" fmla="*/ 7 w 63"/>
                <a:gd name="T47" fmla="*/ 20 h 116"/>
                <a:gd name="T48" fmla="*/ 4 w 63"/>
                <a:gd name="T49" fmla="*/ 20 h 116"/>
                <a:gd name="T50" fmla="*/ 1 w 63"/>
                <a:gd name="T51" fmla="*/ 21 h 116"/>
                <a:gd name="T52" fmla="*/ 0 w 63"/>
                <a:gd name="T53" fmla="*/ 24 h 116"/>
                <a:gd name="T54" fmla="*/ 3 w 63"/>
                <a:gd name="T55" fmla="*/ 33 h 116"/>
                <a:gd name="T56" fmla="*/ 5 w 63"/>
                <a:gd name="T57" fmla="*/ 35 h 116"/>
                <a:gd name="T58" fmla="*/ 5 w 63"/>
                <a:gd name="T59" fmla="*/ 40 h 116"/>
                <a:gd name="T60" fmla="*/ 3 w 63"/>
                <a:gd name="T61" fmla="*/ 43 h 116"/>
                <a:gd name="T62" fmla="*/ 1 w 63"/>
                <a:gd name="T63" fmla="*/ 44 h 116"/>
                <a:gd name="T64" fmla="*/ 0 w 63"/>
                <a:gd name="T65" fmla="*/ 51 h 116"/>
                <a:gd name="T66" fmla="*/ 1 w 63"/>
                <a:gd name="T67" fmla="*/ 57 h 116"/>
                <a:gd name="T68" fmla="*/ 1 w 63"/>
                <a:gd name="T69" fmla="*/ 58 h 116"/>
                <a:gd name="T70" fmla="*/ 3 w 63"/>
                <a:gd name="T71" fmla="*/ 73 h 116"/>
                <a:gd name="T72" fmla="*/ 3 w 63"/>
                <a:gd name="T73" fmla="*/ 77 h 116"/>
                <a:gd name="T74" fmla="*/ 3 w 63"/>
                <a:gd name="T75" fmla="*/ 81 h 116"/>
                <a:gd name="T76" fmla="*/ 3 w 63"/>
                <a:gd name="T77" fmla="*/ 86 h 116"/>
                <a:gd name="T78" fmla="*/ 7 w 63"/>
                <a:gd name="T79" fmla="*/ 91 h 116"/>
                <a:gd name="T80" fmla="*/ 8 w 63"/>
                <a:gd name="T81" fmla="*/ 91 h 116"/>
                <a:gd name="T82" fmla="*/ 8 w 63"/>
                <a:gd name="T83" fmla="*/ 94 h 116"/>
                <a:gd name="T84" fmla="*/ 10 w 63"/>
                <a:gd name="T85" fmla="*/ 97 h 116"/>
                <a:gd name="T86" fmla="*/ 14 w 63"/>
                <a:gd name="T87" fmla="*/ 108 h 116"/>
                <a:gd name="T88" fmla="*/ 17 w 63"/>
                <a:gd name="T89" fmla="*/ 111 h 116"/>
                <a:gd name="T90" fmla="*/ 24 w 63"/>
                <a:gd name="T91" fmla="*/ 116 h 116"/>
                <a:gd name="T92" fmla="*/ 30 w 63"/>
                <a:gd name="T93" fmla="*/ 116 h 116"/>
                <a:gd name="T94" fmla="*/ 38 w 63"/>
                <a:gd name="T95" fmla="*/ 113 h 116"/>
                <a:gd name="T96" fmla="*/ 44 w 63"/>
                <a:gd name="T97" fmla="*/ 110 h 116"/>
                <a:gd name="T98" fmla="*/ 48 w 63"/>
                <a:gd name="T99" fmla="*/ 107 h 116"/>
                <a:gd name="T100" fmla="*/ 54 w 63"/>
                <a:gd name="T101" fmla="*/ 104 h 116"/>
                <a:gd name="T102" fmla="*/ 58 w 63"/>
                <a:gd name="T103" fmla="*/ 97 h 116"/>
                <a:gd name="T104" fmla="*/ 61 w 63"/>
                <a:gd name="T105" fmla="*/ 87 h 116"/>
                <a:gd name="T106" fmla="*/ 63 w 63"/>
                <a:gd name="T107" fmla="*/ 76 h 116"/>
                <a:gd name="T108" fmla="*/ 60 w 63"/>
                <a:gd name="T109" fmla="*/ 64 h 116"/>
                <a:gd name="T110" fmla="*/ 54 w 63"/>
                <a:gd name="T111" fmla="*/ 56 h 116"/>
                <a:gd name="T112" fmla="*/ 53 w 63"/>
                <a:gd name="T113" fmla="*/ 5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" h="116">
                  <a:moveTo>
                    <a:pt x="53" y="53"/>
                  </a:moveTo>
                  <a:lnTo>
                    <a:pt x="53" y="53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38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0" y="1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3"/>
                  </a:lnTo>
                  <a:lnTo>
                    <a:pt x="5" y="5"/>
                  </a:lnTo>
                  <a:lnTo>
                    <a:pt x="5" y="5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7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7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1" y="21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" y="28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40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0" y="48"/>
                  </a:lnTo>
                  <a:lnTo>
                    <a:pt x="0" y="51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3" y="66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81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4" y="88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8" y="91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11" y="103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7" y="111"/>
                  </a:lnTo>
                  <a:lnTo>
                    <a:pt x="20" y="114"/>
                  </a:lnTo>
                  <a:lnTo>
                    <a:pt x="24" y="116"/>
                  </a:lnTo>
                  <a:lnTo>
                    <a:pt x="30" y="116"/>
                  </a:lnTo>
                  <a:lnTo>
                    <a:pt x="30" y="116"/>
                  </a:lnTo>
                  <a:lnTo>
                    <a:pt x="34" y="116"/>
                  </a:lnTo>
                  <a:lnTo>
                    <a:pt x="38" y="113"/>
                  </a:lnTo>
                  <a:lnTo>
                    <a:pt x="38" y="113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54" y="104"/>
                  </a:lnTo>
                  <a:lnTo>
                    <a:pt x="57" y="101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61" y="87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1" y="70"/>
                  </a:lnTo>
                  <a:lnTo>
                    <a:pt x="60" y="64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3" y="53"/>
                  </a:lnTo>
                  <a:lnTo>
                    <a:pt x="5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</p:grpSp>
      <p:grpSp>
        <p:nvGrpSpPr>
          <p:cNvPr id="224" name="Group 223"/>
          <p:cNvGrpSpPr/>
          <p:nvPr/>
        </p:nvGrpSpPr>
        <p:grpSpPr>
          <a:xfrm>
            <a:off x="6110539" y="3239241"/>
            <a:ext cx="1879111" cy="2249431"/>
            <a:chOff x="3349625" y="2540000"/>
            <a:chExt cx="1409700" cy="1687513"/>
          </a:xfrm>
          <a:solidFill>
            <a:srgbClr val="00B4DE">
              <a:alpha val="80000"/>
            </a:srgbClr>
          </a:solidFill>
        </p:grpSpPr>
        <p:sp>
          <p:nvSpPr>
            <p:cNvPr id="225" name="Freeform 79"/>
            <p:cNvSpPr>
              <a:spLocks noEditPoints="1"/>
            </p:cNvSpPr>
            <p:nvPr/>
          </p:nvSpPr>
          <p:spPr bwMode="auto">
            <a:xfrm>
              <a:off x="3349625" y="2540000"/>
              <a:ext cx="1409700" cy="1687513"/>
            </a:xfrm>
            <a:custGeom>
              <a:avLst/>
              <a:gdLst>
                <a:gd name="T0" fmla="*/ 1712 w 1777"/>
                <a:gd name="T1" fmla="*/ 769 h 2125"/>
                <a:gd name="T2" fmla="*/ 1601 w 1777"/>
                <a:gd name="T3" fmla="*/ 793 h 2125"/>
                <a:gd name="T4" fmla="*/ 1558 w 1777"/>
                <a:gd name="T5" fmla="*/ 731 h 2125"/>
                <a:gd name="T6" fmla="*/ 1512 w 1777"/>
                <a:gd name="T7" fmla="*/ 677 h 2125"/>
                <a:gd name="T8" fmla="*/ 1459 w 1777"/>
                <a:gd name="T9" fmla="*/ 634 h 2125"/>
                <a:gd name="T10" fmla="*/ 1411 w 1777"/>
                <a:gd name="T11" fmla="*/ 552 h 2125"/>
                <a:gd name="T12" fmla="*/ 1382 w 1777"/>
                <a:gd name="T13" fmla="*/ 447 h 2125"/>
                <a:gd name="T14" fmla="*/ 1355 w 1777"/>
                <a:gd name="T15" fmla="*/ 402 h 2125"/>
                <a:gd name="T16" fmla="*/ 1288 w 1777"/>
                <a:gd name="T17" fmla="*/ 275 h 2125"/>
                <a:gd name="T18" fmla="*/ 1287 w 1777"/>
                <a:gd name="T19" fmla="*/ 269 h 2125"/>
                <a:gd name="T20" fmla="*/ 1317 w 1777"/>
                <a:gd name="T21" fmla="*/ 206 h 2125"/>
                <a:gd name="T22" fmla="*/ 1224 w 1777"/>
                <a:gd name="T23" fmla="*/ 175 h 2125"/>
                <a:gd name="T24" fmla="*/ 1141 w 1777"/>
                <a:gd name="T25" fmla="*/ 186 h 2125"/>
                <a:gd name="T26" fmla="*/ 1058 w 1777"/>
                <a:gd name="T27" fmla="*/ 162 h 2125"/>
                <a:gd name="T28" fmla="*/ 957 w 1777"/>
                <a:gd name="T29" fmla="*/ 155 h 2125"/>
                <a:gd name="T30" fmla="*/ 887 w 1777"/>
                <a:gd name="T31" fmla="*/ 187 h 2125"/>
                <a:gd name="T32" fmla="*/ 812 w 1777"/>
                <a:gd name="T33" fmla="*/ 142 h 2125"/>
                <a:gd name="T34" fmla="*/ 742 w 1777"/>
                <a:gd name="T35" fmla="*/ 127 h 2125"/>
                <a:gd name="T36" fmla="*/ 711 w 1777"/>
                <a:gd name="T37" fmla="*/ 92 h 2125"/>
                <a:gd name="T38" fmla="*/ 728 w 1777"/>
                <a:gd name="T39" fmla="*/ 10 h 2125"/>
                <a:gd name="T40" fmla="*/ 670 w 1777"/>
                <a:gd name="T41" fmla="*/ 15 h 2125"/>
                <a:gd name="T42" fmla="*/ 592 w 1777"/>
                <a:gd name="T43" fmla="*/ 22 h 2125"/>
                <a:gd name="T44" fmla="*/ 455 w 1777"/>
                <a:gd name="T45" fmla="*/ 49 h 2125"/>
                <a:gd name="T46" fmla="*/ 392 w 1777"/>
                <a:gd name="T47" fmla="*/ 72 h 2125"/>
                <a:gd name="T48" fmla="*/ 337 w 1777"/>
                <a:gd name="T49" fmla="*/ 55 h 2125"/>
                <a:gd name="T50" fmla="*/ 251 w 1777"/>
                <a:gd name="T51" fmla="*/ 120 h 2125"/>
                <a:gd name="T52" fmla="*/ 200 w 1777"/>
                <a:gd name="T53" fmla="*/ 235 h 2125"/>
                <a:gd name="T54" fmla="*/ 100 w 1777"/>
                <a:gd name="T55" fmla="*/ 320 h 2125"/>
                <a:gd name="T56" fmla="*/ 38 w 1777"/>
                <a:gd name="T57" fmla="*/ 432 h 2125"/>
                <a:gd name="T58" fmla="*/ 24 w 1777"/>
                <a:gd name="T59" fmla="*/ 527 h 2125"/>
                <a:gd name="T60" fmla="*/ 20 w 1777"/>
                <a:gd name="T61" fmla="*/ 622 h 2125"/>
                <a:gd name="T62" fmla="*/ 24 w 1777"/>
                <a:gd name="T63" fmla="*/ 753 h 2125"/>
                <a:gd name="T64" fmla="*/ 52 w 1777"/>
                <a:gd name="T65" fmla="*/ 777 h 2125"/>
                <a:gd name="T66" fmla="*/ 107 w 1777"/>
                <a:gd name="T67" fmla="*/ 836 h 2125"/>
                <a:gd name="T68" fmla="*/ 127 w 1777"/>
                <a:gd name="T69" fmla="*/ 884 h 2125"/>
                <a:gd name="T70" fmla="*/ 190 w 1777"/>
                <a:gd name="T71" fmla="*/ 940 h 2125"/>
                <a:gd name="T72" fmla="*/ 402 w 1777"/>
                <a:gd name="T73" fmla="*/ 959 h 2125"/>
                <a:gd name="T74" fmla="*/ 492 w 1777"/>
                <a:gd name="T75" fmla="*/ 920 h 2125"/>
                <a:gd name="T76" fmla="*/ 570 w 1777"/>
                <a:gd name="T77" fmla="*/ 927 h 2125"/>
                <a:gd name="T78" fmla="*/ 641 w 1777"/>
                <a:gd name="T79" fmla="*/ 970 h 2125"/>
                <a:gd name="T80" fmla="*/ 695 w 1777"/>
                <a:gd name="T81" fmla="*/ 987 h 2125"/>
                <a:gd name="T82" fmla="*/ 694 w 1777"/>
                <a:gd name="T83" fmla="*/ 1074 h 2125"/>
                <a:gd name="T84" fmla="*/ 672 w 1777"/>
                <a:gd name="T85" fmla="*/ 1131 h 2125"/>
                <a:gd name="T86" fmla="*/ 732 w 1777"/>
                <a:gd name="T87" fmla="*/ 1220 h 2125"/>
                <a:gd name="T88" fmla="*/ 778 w 1777"/>
                <a:gd name="T89" fmla="*/ 1324 h 2125"/>
                <a:gd name="T90" fmla="*/ 801 w 1777"/>
                <a:gd name="T91" fmla="*/ 1440 h 2125"/>
                <a:gd name="T92" fmla="*/ 761 w 1777"/>
                <a:gd name="T93" fmla="*/ 1518 h 2125"/>
                <a:gd name="T94" fmla="*/ 744 w 1777"/>
                <a:gd name="T95" fmla="*/ 1624 h 2125"/>
                <a:gd name="T96" fmla="*/ 808 w 1777"/>
                <a:gd name="T97" fmla="*/ 1747 h 2125"/>
                <a:gd name="T98" fmla="*/ 852 w 1777"/>
                <a:gd name="T99" fmla="*/ 1933 h 2125"/>
                <a:gd name="T100" fmla="*/ 897 w 1777"/>
                <a:gd name="T101" fmla="*/ 2071 h 2125"/>
                <a:gd name="T102" fmla="*/ 977 w 1777"/>
                <a:gd name="T103" fmla="*/ 2117 h 2125"/>
                <a:gd name="T104" fmla="*/ 1088 w 1777"/>
                <a:gd name="T105" fmla="*/ 2101 h 2125"/>
                <a:gd name="T106" fmla="*/ 1265 w 1777"/>
                <a:gd name="T107" fmla="*/ 1945 h 2125"/>
                <a:gd name="T108" fmla="*/ 1349 w 1777"/>
                <a:gd name="T109" fmla="*/ 1811 h 2125"/>
                <a:gd name="T110" fmla="*/ 1375 w 1777"/>
                <a:gd name="T111" fmla="*/ 1657 h 2125"/>
                <a:gd name="T112" fmla="*/ 1492 w 1777"/>
                <a:gd name="T113" fmla="*/ 1546 h 2125"/>
                <a:gd name="T114" fmla="*/ 1495 w 1777"/>
                <a:gd name="T115" fmla="*/ 1407 h 2125"/>
                <a:gd name="T116" fmla="*/ 1472 w 1777"/>
                <a:gd name="T117" fmla="*/ 1313 h 2125"/>
                <a:gd name="T118" fmla="*/ 1487 w 1777"/>
                <a:gd name="T119" fmla="*/ 1181 h 2125"/>
                <a:gd name="T120" fmla="*/ 1621 w 1777"/>
                <a:gd name="T121" fmla="*/ 1047 h 2125"/>
                <a:gd name="T122" fmla="*/ 1722 w 1777"/>
                <a:gd name="T123" fmla="*/ 907 h 2125"/>
                <a:gd name="T124" fmla="*/ 1775 w 1777"/>
                <a:gd name="T125" fmla="*/ 797 h 2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7" h="2125">
                  <a:moveTo>
                    <a:pt x="1774" y="790"/>
                  </a:moveTo>
                  <a:lnTo>
                    <a:pt x="1774" y="790"/>
                  </a:lnTo>
                  <a:lnTo>
                    <a:pt x="1771" y="789"/>
                  </a:lnTo>
                  <a:lnTo>
                    <a:pt x="1767" y="786"/>
                  </a:lnTo>
                  <a:lnTo>
                    <a:pt x="1767" y="786"/>
                  </a:lnTo>
                  <a:lnTo>
                    <a:pt x="1765" y="781"/>
                  </a:lnTo>
                  <a:lnTo>
                    <a:pt x="1765" y="777"/>
                  </a:lnTo>
                  <a:lnTo>
                    <a:pt x="1765" y="777"/>
                  </a:lnTo>
                  <a:lnTo>
                    <a:pt x="1768" y="769"/>
                  </a:lnTo>
                  <a:lnTo>
                    <a:pt x="1768" y="769"/>
                  </a:lnTo>
                  <a:lnTo>
                    <a:pt x="1768" y="761"/>
                  </a:lnTo>
                  <a:lnTo>
                    <a:pt x="1768" y="761"/>
                  </a:lnTo>
                  <a:lnTo>
                    <a:pt x="1769" y="756"/>
                  </a:lnTo>
                  <a:lnTo>
                    <a:pt x="1769" y="753"/>
                  </a:lnTo>
                  <a:lnTo>
                    <a:pt x="1767" y="750"/>
                  </a:lnTo>
                  <a:lnTo>
                    <a:pt x="1767" y="750"/>
                  </a:lnTo>
                  <a:lnTo>
                    <a:pt x="1762" y="747"/>
                  </a:lnTo>
                  <a:lnTo>
                    <a:pt x="1758" y="746"/>
                  </a:lnTo>
                  <a:lnTo>
                    <a:pt x="1758" y="746"/>
                  </a:lnTo>
                  <a:lnTo>
                    <a:pt x="1758" y="746"/>
                  </a:lnTo>
                  <a:lnTo>
                    <a:pt x="1754" y="747"/>
                  </a:lnTo>
                  <a:lnTo>
                    <a:pt x="1751" y="750"/>
                  </a:lnTo>
                  <a:lnTo>
                    <a:pt x="1751" y="750"/>
                  </a:lnTo>
                  <a:lnTo>
                    <a:pt x="1745" y="756"/>
                  </a:lnTo>
                  <a:lnTo>
                    <a:pt x="1745" y="756"/>
                  </a:lnTo>
                  <a:lnTo>
                    <a:pt x="1742" y="759"/>
                  </a:lnTo>
                  <a:lnTo>
                    <a:pt x="1738" y="763"/>
                  </a:lnTo>
                  <a:lnTo>
                    <a:pt x="1738" y="763"/>
                  </a:lnTo>
                  <a:lnTo>
                    <a:pt x="1735" y="764"/>
                  </a:lnTo>
                  <a:lnTo>
                    <a:pt x="1734" y="766"/>
                  </a:lnTo>
                  <a:lnTo>
                    <a:pt x="1734" y="766"/>
                  </a:lnTo>
                  <a:lnTo>
                    <a:pt x="1731" y="764"/>
                  </a:lnTo>
                  <a:lnTo>
                    <a:pt x="1731" y="764"/>
                  </a:lnTo>
                  <a:lnTo>
                    <a:pt x="1728" y="764"/>
                  </a:lnTo>
                  <a:lnTo>
                    <a:pt x="1728" y="764"/>
                  </a:lnTo>
                  <a:lnTo>
                    <a:pt x="1721" y="766"/>
                  </a:lnTo>
                  <a:lnTo>
                    <a:pt x="1712" y="769"/>
                  </a:lnTo>
                  <a:lnTo>
                    <a:pt x="1712" y="769"/>
                  </a:lnTo>
                  <a:lnTo>
                    <a:pt x="1708" y="770"/>
                  </a:lnTo>
                  <a:lnTo>
                    <a:pt x="1705" y="770"/>
                  </a:lnTo>
                  <a:lnTo>
                    <a:pt x="1705" y="770"/>
                  </a:lnTo>
                  <a:lnTo>
                    <a:pt x="1698" y="769"/>
                  </a:lnTo>
                  <a:lnTo>
                    <a:pt x="1698" y="769"/>
                  </a:lnTo>
                  <a:lnTo>
                    <a:pt x="1692" y="770"/>
                  </a:lnTo>
                  <a:lnTo>
                    <a:pt x="1688" y="771"/>
                  </a:lnTo>
                  <a:lnTo>
                    <a:pt x="1688" y="771"/>
                  </a:lnTo>
                  <a:lnTo>
                    <a:pt x="1684" y="774"/>
                  </a:lnTo>
                  <a:lnTo>
                    <a:pt x="1684" y="774"/>
                  </a:lnTo>
                  <a:lnTo>
                    <a:pt x="1681" y="774"/>
                  </a:lnTo>
                  <a:lnTo>
                    <a:pt x="1678" y="773"/>
                  </a:lnTo>
                  <a:lnTo>
                    <a:pt x="1678" y="773"/>
                  </a:lnTo>
                  <a:lnTo>
                    <a:pt x="1671" y="771"/>
                  </a:lnTo>
                  <a:lnTo>
                    <a:pt x="1671" y="771"/>
                  </a:lnTo>
                  <a:lnTo>
                    <a:pt x="1668" y="773"/>
                  </a:lnTo>
                  <a:lnTo>
                    <a:pt x="1668" y="773"/>
                  </a:lnTo>
                  <a:lnTo>
                    <a:pt x="1662" y="774"/>
                  </a:lnTo>
                  <a:lnTo>
                    <a:pt x="1658" y="779"/>
                  </a:lnTo>
                  <a:lnTo>
                    <a:pt x="1658" y="779"/>
                  </a:lnTo>
                  <a:lnTo>
                    <a:pt x="1652" y="783"/>
                  </a:lnTo>
                  <a:lnTo>
                    <a:pt x="1648" y="784"/>
                  </a:lnTo>
                  <a:lnTo>
                    <a:pt x="1648" y="784"/>
                  </a:lnTo>
                  <a:lnTo>
                    <a:pt x="1648" y="784"/>
                  </a:lnTo>
                  <a:lnTo>
                    <a:pt x="1648" y="784"/>
                  </a:lnTo>
                  <a:lnTo>
                    <a:pt x="1644" y="784"/>
                  </a:lnTo>
                  <a:lnTo>
                    <a:pt x="1644" y="784"/>
                  </a:lnTo>
                  <a:lnTo>
                    <a:pt x="1635" y="783"/>
                  </a:lnTo>
                  <a:lnTo>
                    <a:pt x="1635" y="783"/>
                  </a:lnTo>
                  <a:lnTo>
                    <a:pt x="1624" y="784"/>
                  </a:lnTo>
                  <a:lnTo>
                    <a:pt x="1624" y="784"/>
                  </a:lnTo>
                  <a:lnTo>
                    <a:pt x="1615" y="789"/>
                  </a:lnTo>
                  <a:lnTo>
                    <a:pt x="1615" y="789"/>
                  </a:lnTo>
                  <a:lnTo>
                    <a:pt x="1609" y="790"/>
                  </a:lnTo>
                  <a:lnTo>
                    <a:pt x="1601" y="793"/>
                  </a:lnTo>
                  <a:lnTo>
                    <a:pt x="1601" y="793"/>
                  </a:lnTo>
                  <a:lnTo>
                    <a:pt x="1594" y="794"/>
                  </a:lnTo>
                  <a:lnTo>
                    <a:pt x="1594" y="794"/>
                  </a:lnTo>
                  <a:lnTo>
                    <a:pt x="1592" y="793"/>
                  </a:lnTo>
                  <a:lnTo>
                    <a:pt x="1591" y="791"/>
                  </a:lnTo>
                  <a:lnTo>
                    <a:pt x="1591" y="791"/>
                  </a:lnTo>
                  <a:lnTo>
                    <a:pt x="1589" y="789"/>
                  </a:lnTo>
                  <a:lnTo>
                    <a:pt x="1585" y="786"/>
                  </a:lnTo>
                  <a:lnTo>
                    <a:pt x="1585" y="786"/>
                  </a:lnTo>
                  <a:lnTo>
                    <a:pt x="1579" y="781"/>
                  </a:lnTo>
                  <a:lnTo>
                    <a:pt x="1579" y="781"/>
                  </a:lnTo>
                  <a:lnTo>
                    <a:pt x="1575" y="777"/>
                  </a:lnTo>
                  <a:lnTo>
                    <a:pt x="1572" y="770"/>
                  </a:lnTo>
                  <a:lnTo>
                    <a:pt x="1572" y="770"/>
                  </a:lnTo>
                  <a:lnTo>
                    <a:pt x="1568" y="764"/>
                  </a:lnTo>
                  <a:lnTo>
                    <a:pt x="1564" y="761"/>
                  </a:lnTo>
                  <a:lnTo>
                    <a:pt x="1564" y="761"/>
                  </a:lnTo>
                  <a:lnTo>
                    <a:pt x="1561" y="761"/>
                  </a:lnTo>
                  <a:lnTo>
                    <a:pt x="1561" y="761"/>
                  </a:lnTo>
                  <a:lnTo>
                    <a:pt x="1559" y="760"/>
                  </a:lnTo>
                  <a:lnTo>
                    <a:pt x="1559" y="760"/>
                  </a:lnTo>
                  <a:lnTo>
                    <a:pt x="1558" y="759"/>
                  </a:lnTo>
                  <a:lnTo>
                    <a:pt x="1558" y="759"/>
                  </a:lnTo>
                  <a:lnTo>
                    <a:pt x="1557" y="756"/>
                  </a:lnTo>
                  <a:lnTo>
                    <a:pt x="1557" y="754"/>
                  </a:lnTo>
                  <a:lnTo>
                    <a:pt x="1557" y="754"/>
                  </a:lnTo>
                  <a:lnTo>
                    <a:pt x="1558" y="753"/>
                  </a:lnTo>
                  <a:lnTo>
                    <a:pt x="1558" y="753"/>
                  </a:lnTo>
                  <a:lnTo>
                    <a:pt x="1559" y="751"/>
                  </a:lnTo>
                  <a:lnTo>
                    <a:pt x="1561" y="749"/>
                  </a:lnTo>
                  <a:lnTo>
                    <a:pt x="1561" y="749"/>
                  </a:lnTo>
                  <a:lnTo>
                    <a:pt x="1562" y="746"/>
                  </a:lnTo>
                  <a:lnTo>
                    <a:pt x="1562" y="741"/>
                  </a:lnTo>
                  <a:lnTo>
                    <a:pt x="1559" y="737"/>
                  </a:lnTo>
                  <a:lnTo>
                    <a:pt x="1559" y="737"/>
                  </a:lnTo>
                  <a:lnTo>
                    <a:pt x="1557" y="733"/>
                  </a:lnTo>
                  <a:lnTo>
                    <a:pt x="1557" y="733"/>
                  </a:lnTo>
                  <a:lnTo>
                    <a:pt x="1558" y="731"/>
                  </a:lnTo>
                  <a:lnTo>
                    <a:pt x="1558" y="731"/>
                  </a:lnTo>
                  <a:lnTo>
                    <a:pt x="1559" y="729"/>
                  </a:lnTo>
                  <a:lnTo>
                    <a:pt x="1558" y="727"/>
                  </a:lnTo>
                  <a:lnTo>
                    <a:pt x="1555" y="724"/>
                  </a:lnTo>
                  <a:lnTo>
                    <a:pt x="1555" y="724"/>
                  </a:lnTo>
                  <a:lnTo>
                    <a:pt x="1555" y="724"/>
                  </a:lnTo>
                  <a:lnTo>
                    <a:pt x="1555" y="724"/>
                  </a:lnTo>
                  <a:lnTo>
                    <a:pt x="1552" y="723"/>
                  </a:lnTo>
                  <a:lnTo>
                    <a:pt x="1552" y="723"/>
                  </a:lnTo>
                  <a:lnTo>
                    <a:pt x="1551" y="722"/>
                  </a:lnTo>
                  <a:lnTo>
                    <a:pt x="1551" y="722"/>
                  </a:lnTo>
                  <a:lnTo>
                    <a:pt x="1549" y="720"/>
                  </a:lnTo>
                  <a:lnTo>
                    <a:pt x="1549" y="720"/>
                  </a:lnTo>
                  <a:lnTo>
                    <a:pt x="1548" y="717"/>
                  </a:lnTo>
                  <a:lnTo>
                    <a:pt x="1548" y="717"/>
                  </a:lnTo>
                  <a:lnTo>
                    <a:pt x="1542" y="714"/>
                  </a:lnTo>
                  <a:lnTo>
                    <a:pt x="1542" y="714"/>
                  </a:lnTo>
                  <a:lnTo>
                    <a:pt x="1541" y="713"/>
                  </a:lnTo>
                  <a:lnTo>
                    <a:pt x="1541" y="713"/>
                  </a:lnTo>
                  <a:lnTo>
                    <a:pt x="1539" y="712"/>
                  </a:lnTo>
                  <a:lnTo>
                    <a:pt x="1539" y="710"/>
                  </a:lnTo>
                  <a:lnTo>
                    <a:pt x="1539" y="710"/>
                  </a:lnTo>
                  <a:lnTo>
                    <a:pt x="1538" y="709"/>
                  </a:lnTo>
                  <a:lnTo>
                    <a:pt x="1538" y="709"/>
                  </a:lnTo>
                  <a:lnTo>
                    <a:pt x="1537" y="706"/>
                  </a:lnTo>
                  <a:lnTo>
                    <a:pt x="1535" y="703"/>
                  </a:lnTo>
                  <a:lnTo>
                    <a:pt x="1531" y="700"/>
                  </a:lnTo>
                  <a:lnTo>
                    <a:pt x="1531" y="700"/>
                  </a:lnTo>
                  <a:lnTo>
                    <a:pt x="1528" y="699"/>
                  </a:lnTo>
                  <a:lnTo>
                    <a:pt x="1528" y="699"/>
                  </a:lnTo>
                  <a:lnTo>
                    <a:pt x="1522" y="694"/>
                  </a:lnTo>
                  <a:lnTo>
                    <a:pt x="1518" y="690"/>
                  </a:lnTo>
                  <a:lnTo>
                    <a:pt x="1518" y="690"/>
                  </a:lnTo>
                  <a:lnTo>
                    <a:pt x="1515" y="684"/>
                  </a:lnTo>
                  <a:lnTo>
                    <a:pt x="1515" y="684"/>
                  </a:lnTo>
                  <a:lnTo>
                    <a:pt x="1512" y="677"/>
                  </a:lnTo>
                  <a:lnTo>
                    <a:pt x="1512" y="677"/>
                  </a:lnTo>
                  <a:lnTo>
                    <a:pt x="1508" y="674"/>
                  </a:lnTo>
                  <a:lnTo>
                    <a:pt x="1504" y="673"/>
                  </a:lnTo>
                  <a:lnTo>
                    <a:pt x="1504" y="673"/>
                  </a:lnTo>
                  <a:lnTo>
                    <a:pt x="1499" y="672"/>
                  </a:lnTo>
                  <a:lnTo>
                    <a:pt x="1499" y="672"/>
                  </a:lnTo>
                  <a:lnTo>
                    <a:pt x="1497" y="667"/>
                  </a:lnTo>
                  <a:lnTo>
                    <a:pt x="1497" y="667"/>
                  </a:lnTo>
                  <a:lnTo>
                    <a:pt x="1494" y="664"/>
                  </a:lnTo>
                  <a:lnTo>
                    <a:pt x="1488" y="663"/>
                  </a:lnTo>
                  <a:lnTo>
                    <a:pt x="1488" y="663"/>
                  </a:lnTo>
                  <a:lnTo>
                    <a:pt x="1485" y="663"/>
                  </a:lnTo>
                  <a:lnTo>
                    <a:pt x="1485" y="663"/>
                  </a:lnTo>
                  <a:lnTo>
                    <a:pt x="1477" y="662"/>
                  </a:lnTo>
                  <a:lnTo>
                    <a:pt x="1477" y="662"/>
                  </a:lnTo>
                  <a:lnTo>
                    <a:pt x="1477" y="659"/>
                  </a:lnTo>
                  <a:lnTo>
                    <a:pt x="1477" y="659"/>
                  </a:lnTo>
                  <a:lnTo>
                    <a:pt x="1478" y="656"/>
                  </a:lnTo>
                  <a:lnTo>
                    <a:pt x="1478" y="653"/>
                  </a:lnTo>
                  <a:lnTo>
                    <a:pt x="1478" y="652"/>
                  </a:lnTo>
                  <a:lnTo>
                    <a:pt x="1478" y="652"/>
                  </a:lnTo>
                  <a:lnTo>
                    <a:pt x="1478" y="652"/>
                  </a:lnTo>
                  <a:lnTo>
                    <a:pt x="1474" y="650"/>
                  </a:lnTo>
                  <a:lnTo>
                    <a:pt x="1474" y="650"/>
                  </a:lnTo>
                  <a:lnTo>
                    <a:pt x="1472" y="650"/>
                  </a:lnTo>
                  <a:lnTo>
                    <a:pt x="1472" y="650"/>
                  </a:lnTo>
                  <a:lnTo>
                    <a:pt x="1469" y="650"/>
                  </a:lnTo>
                  <a:lnTo>
                    <a:pt x="1469" y="650"/>
                  </a:lnTo>
                  <a:lnTo>
                    <a:pt x="1467" y="647"/>
                  </a:lnTo>
                  <a:lnTo>
                    <a:pt x="1467" y="647"/>
                  </a:lnTo>
                  <a:lnTo>
                    <a:pt x="1465" y="646"/>
                  </a:lnTo>
                  <a:lnTo>
                    <a:pt x="1465" y="646"/>
                  </a:lnTo>
                  <a:lnTo>
                    <a:pt x="1462" y="644"/>
                  </a:lnTo>
                  <a:lnTo>
                    <a:pt x="1462" y="644"/>
                  </a:lnTo>
                  <a:lnTo>
                    <a:pt x="1461" y="643"/>
                  </a:lnTo>
                  <a:lnTo>
                    <a:pt x="1459" y="639"/>
                  </a:lnTo>
                  <a:lnTo>
                    <a:pt x="1459" y="639"/>
                  </a:lnTo>
                  <a:lnTo>
                    <a:pt x="1459" y="634"/>
                  </a:lnTo>
                  <a:lnTo>
                    <a:pt x="1457" y="632"/>
                  </a:lnTo>
                  <a:lnTo>
                    <a:pt x="1457" y="632"/>
                  </a:lnTo>
                  <a:lnTo>
                    <a:pt x="1455" y="627"/>
                  </a:lnTo>
                  <a:lnTo>
                    <a:pt x="1455" y="627"/>
                  </a:lnTo>
                  <a:lnTo>
                    <a:pt x="1454" y="620"/>
                  </a:lnTo>
                  <a:lnTo>
                    <a:pt x="1454" y="620"/>
                  </a:lnTo>
                  <a:lnTo>
                    <a:pt x="1454" y="614"/>
                  </a:lnTo>
                  <a:lnTo>
                    <a:pt x="1454" y="614"/>
                  </a:lnTo>
                  <a:lnTo>
                    <a:pt x="1452" y="610"/>
                  </a:lnTo>
                  <a:lnTo>
                    <a:pt x="1451" y="606"/>
                  </a:lnTo>
                  <a:lnTo>
                    <a:pt x="1451" y="606"/>
                  </a:lnTo>
                  <a:lnTo>
                    <a:pt x="1449" y="603"/>
                  </a:lnTo>
                  <a:lnTo>
                    <a:pt x="1449" y="603"/>
                  </a:lnTo>
                  <a:lnTo>
                    <a:pt x="1448" y="599"/>
                  </a:lnTo>
                  <a:lnTo>
                    <a:pt x="1448" y="599"/>
                  </a:lnTo>
                  <a:lnTo>
                    <a:pt x="1447" y="592"/>
                  </a:lnTo>
                  <a:lnTo>
                    <a:pt x="1447" y="592"/>
                  </a:lnTo>
                  <a:lnTo>
                    <a:pt x="1442" y="583"/>
                  </a:lnTo>
                  <a:lnTo>
                    <a:pt x="1435" y="574"/>
                  </a:lnTo>
                  <a:lnTo>
                    <a:pt x="1435" y="574"/>
                  </a:lnTo>
                  <a:lnTo>
                    <a:pt x="1437" y="570"/>
                  </a:lnTo>
                  <a:lnTo>
                    <a:pt x="1435" y="564"/>
                  </a:lnTo>
                  <a:lnTo>
                    <a:pt x="1435" y="564"/>
                  </a:lnTo>
                  <a:lnTo>
                    <a:pt x="1434" y="563"/>
                  </a:lnTo>
                  <a:lnTo>
                    <a:pt x="1432" y="562"/>
                  </a:lnTo>
                  <a:lnTo>
                    <a:pt x="1432" y="562"/>
                  </a:lnTo>
                  <a:lnTo>
                    <a:pt x="1429" y="562"/>
                  </a:lnTo>
                  <a:lnTo>
                    <a:pt x="1427" y="563"/>
                  </a:lnTo>
                  <a:lnTo>
                    <a:pt x="1427" y="563"/>
                  </a:lnTo>
                  <a:lnTo>
                    <a:pt x="1425" y="563"/>
                  </a:lnTo>
                  <a:lnTo>
                    <a:pt x="1425" y="563"/>
                  </a:lnTo>
                  <a:lnTo>
                    <a:pt x="1425" y="563"/>
                  </a:lnTo>
                  <a:lnTo>
                    <a:pt x="1422" y="563"/>
                  </a:lnTo>
                  <a:lnTo>
                    <a:pt x="1419" y="559"/>
                  </a:lnTo>
                  <a:lnTo>
                    <a:pt x="1419" y="559"/>
                  </a:lnTo>
                  <a:lnTo>
                    <a:pt x="1415" y="553"/>
                  </a:lnTo>
                  <a:lnTo>
                    <a:pt x="1411" y="552"/>
                  </a:lnTo>
                  <a:lnTo>
                    <a:pt x="1411" y="552"/>
                  </a:lnTo>
                  <a:lnTo>
                    <a:pt x="1407" y="549"/>
                  </a:lnTo>
                  <a:lnTo>
                    <a:pt x="1404" y="544"/>
                  </a:lnTo>
                  <a:lnTo>
                    <a:pt x="1404" y="544"/>
                  </a:lnTo>
                  <a:lnTo>
                    <a:pt x="1402" y="540"/>
                  </a:lnTo>
                  <a:lnTo>
                    <a:pt x="1402" y="540"/>
                  </a:lnTo>
                  <a:lnTo>
                    <a:pt x="1402" y="536"/>
                  </a:lnTo>
                  <a:lnTo>
                    <a:pt x="1401" y="530"/>
                  </a:lnTo>
                  <a:lnTo>
                    <a:pt x="1401" y="530"/>
                  </a:lnTo>
                  <a:lnTo>
                    <a:pt x="1399" y="526"/>
                  </a:lnTo>
                  <a:lnTo>
                    <a:pt x="1398" y="519"/>
                  </a:lnTo>
                  <a:lnTo>
                    <a:pt x="1398" y="519"/>
                  </a:lnTo>
                  <a:lnTo>
                    <a:pt x="1398" y="513"/>
                  </a:lnTo>
                  <a:lnTo>
                    <a:pt x="1398" y="513"/>
                  </a:lnTo>
                  <a:lnTo>
                    <a:pt x="1398" y="502"/>
                  </a:lnTo>
                  <a:lnTo>
                    <a:pt x="1398" y="499"/>
                  </a:lnTo>
                  <a:lnTo>
                    <a:pt x="1398" y="499"/>
                  </a:lnTo>
                  <a:lnTo>
                    <a:pt x="1398" y="492"/>
                  </a:lnTo>
                  <a:lnTo>
                    <a:pt x="1398" y="492"/>
                  </a:lnTo>
                  <a:lnTo>
                    <a:pt x="1398" y="484"/>
                  </a:lnTo>
                  <a:lnTo>
                    <a:pt x="1398" y="480"/>
                  </a:lnTo>
                  <a:lnTo>
                    <a:pt x="1398" y="480"/>
                  </a:lnTo>
                  <a:lnTo>
                    <a:pt x="1397" y="477"/>
                  </a:lnTo>
                  <a:lnTo>
                    <a:pt x="1395" y="477"/>
                  </a:lnTo>
                  <a:lnTo>
                    <a:pt x="1395" y="477"/>
                  </a:lnTo>
                  <a:lnTo>
                    <a:pt x="1392" y="474"/>
                  </a:lnTo>
                  <a:lnTo>
                    <a:pt x="1392" y="474"/>
                  </a:lnTo>
                  <a:lnTo>
                    <a:pt x="1389" y="470"/>
                  </a:lnTo>
                  <a:lnTo>
                    <a:pt x="1389" y="466"/>
                  </a:lnTo>
                  <a:lnTo>
                    <a:pt x="1389" y="466"/>
                  </a:lnTo>
                  <a:lnTo>
                    <a:pt x="1389" y="462"/>
                  </a:lnTo>
                  <a:lnTo>
                    <a:pt x="1389" y="460"/>
                  </a:lnTo>
                  <a:lnTo>
                    <a:pt x="1389" y="460"/>
                  </a:lnTo>
                  <a:lnTo>
                    <a:pt x="1388" y="456"/>
                  </a:lnTo>
                  <a:lnTo>
                    <a:pt x="1385" y="450"/>
                  </a:lnTo>
                  <a:lnTo>
                    <a:pt x="1385" y="450"/>
                  </a:lnTo>
                  <a:lnTo>
                    <a:pt x="1382" y="447"/>
                  </a:lnTo>
                  <a:lnTo>
                    <a:pt x="1379" y="446"/>
                  </a:lnTo>
                  <a:lnTo>
                    <a:pt x="1379" y="446"/>
                  </a:lnTo>
                  <a:lnTo>
                    <a:pt x="1375" y="443"/>
                  </a:lnTo>
                  <a:lnTo>
                    <a:pt x="1375" y="443"/>
                  </a:lnTo>
                  <a:lnTo>
                    <a:pt x="1372" y="440"/>
                  </a:lnTo>
                  <a:lnTo>
                    <a:pt x="1372" y="439"/>
                  </a:lnTo>
                  <a:lnTo>
                    <a:pt x="1372" y="439"/>
                  </a:lnTo>
                  <a:lnTo>
                    <a:pt x="1371" y="436"/>
                  </a:lnTo>
                  <a:lnTo>
                    <a:pt x="1369" y="433"/>
                  </a:lnTo>
                  <a:lnTo>
                    <a:pt x="1369" y="433"/>
                  </a:lnTo>
                  <a:lnTo>
                    <a:pt x="1365" y="432"/>
                  </a:lnTo>
                  <a:lnTo>
                    <a:pt x="1365" y="432"/>
                  </a:lnTo>
                  <a:lnTo>
                    <a:pt x="1362" y="433"/>
                  </a:lnTo>
                  <a:lnTo>
                    <a:pt x="1362" y="433"/>
                  </a:lnTo>
                  <a:lnTo>
                    <a:pt x="1359" y="433"/>
                  </a:lnTo>
                  <a:lnTo>
                    <a:pt x="1359" y="433"/>
                  </a:lnTo>
                  <a:lnTo>
                    <a:pt x="1357" y="430"/>
                  </a:lnTo>
                  <a:lnTo>
                    <a:pt x="1354" y="427"/>
                  </a:lnTo>
                  <a:lnTo>
                    <a:pt x="1354" y="427"/>
                  </a:lnTo>
                  <a:lnTo>
                    <a:pt x="1355" y="426"/>
                  </a:lnTo>
                  <a:lnTo>
                    <a:pt x="1357" y="423"/>
                  </a:lnTo>
                  <a:lnTo>
                    <a:pt x="1357" y="423"/>
                  </a:lnTo>
                  <a:lnTo>
                    <a:pt x="1355" y="420"/>
                  </a:lnTo>
                  <a:lnTo>
                    <a:pt x="1355" y="420"/>
                  </a:lnTo>
                  <a:lnTo>
                    <a:pt x="1352" y="413"/>
                  </a:lnTo>
                  <a:lnTo>
                    <a:pt x="1349" y="407"/>
                  </a:lnTo>
                  <a:lnTo>
                    <a:pt x="1349" y="403"/>
                  </a:lnTo>
                  <a:lnTo>
                    <a:pt x="1349" y="403"/>
                  </a:lnTo>
                  <a:lnTo>
                    <a:pt x="1349" y="402"/>
                  </a:lnTo>
                  <a:lnTo>
                    <a:pt x="1349" y="402"/>
                  </a:lnTo>
                  <a:lnTo>
                    <a:pt x="1349" y="402"/>
                  </a:lnTo>
                  <a:lnTo>
                    <a:pt x="1349" y="402"/>
                  </a:lnTo>
                  <a:lnTo>
                    <a:pt x="1351" y="403"/>
                  </a:lnTo>
                  <a:lnTo>
                    <a:pt x="1352" y="403"/>
                  </a:lnTo>
                  <a:lnTo>
                    <a:pt x="1352" y="403"/>
                  </a:lnTo>
                  <a:lnTo>
                    <a:pt x="1355" y="402"/>
                  </a:lnTo>
                  <a:lnTo>
                    <a:pt x="1355" y="402"/>
                  </a:lnTo>
                  <a:lnTo>
                    <a:pt x="1357" y="399"/>
                  </a:lnTo>
                  <a:lnTo>
                    <a:pt x="1357" y="399"/>
                  </a:lnTo>
                  <a:lnTo>
                    <a:pt x="1355" y="394"/>
                  </a:lnTo>
                  <a:lnTo>
                    <a:pt x="1351" y="392"/>
                  </a:lnTo>
                  <a:lnTo>
                    <a:pt x="1351" y="392"/>
                  </a:lnTo>
                  <a:lnTo>
                    <a:pt x="1348" y="390"/>
                  </a:lnTo>
                  <a:lnTo>
                    <a:pt x="1347" y="387"/>
                  </a:lnTo>
                  <a:lnTo>
                    <a:pt x="1347" y="387"/>
                  </a:lnTo>
                  <a:lnTo>
                    <a:pt x="1342" y="382"/>
                  </a:lnTo>
                  <a:lnTo>
                    <a:pt x="1342" y="382"/>
                  </a:lnTo>
                  <a:lnTo>
                    <a:pt x="1338" y="376"/>
                  </a:lnTo>
                  <a:lnTo>
                    <a:pt x="1335" y="370"/>
                  </a:lnTo>
                  <a:lnTo>
                    <a:pt x="1335" y="370"/>
                  </a:lnTo>
                  <a:lnTo>
                    <a:pt x="1334" y="366"/>
                  </a:lnTo>
                  <a:lnTo>
                    <a:pt x="1334" y="364"/>
                  </a:lnTo>
                  <a:lnTo>
                    <a:pt x="1334" y="364"/>
                  </a:lnTo>
                  <a:lnTo>
                    <a:pt x="1328" y="350"/>
                  </a:lnTo>
                  <a:lnTo>
                    <a:pt x="1325" y="343"/>
                  </a:lnTo>
                  <a:lnTo>
                    <a:pt x="1322" y="339"/>
                  </a:lnTo>
                  <a:lnTo>
                    <a:pt x="1322" y="339"/>
                  </a:lnTo>
                  <a:lnTo>
                    <a:pt x="1314" y="327"/>
                  </a:lnTo>
                  <a:lnTo>
                    <a:pt x="1309" y="319"/>
                  </a:lnTo>
                  <a:lnTo>
                    <a:pt x="1309" y="319"/>
                  </a:lnTo>
                  <a:lnTo>
                    <a:pt x="1308" y="310"/>
                  </a:lnTo>
                  <a:lnTo>
                    <a:pt x="1305" y="303"/>
                  </a:lnTo>
                  <a:lnTo>
                    <a:pt x="1305" y="303"/>
                  </a:lnTo>
                  <a:lnTo>
                    <a:pt x="1301" y="299"/>
                  </a:lnTo>
                  <a:lnTo>
                    <a:pt x="1301" y="299"/>
                  </a:lnTo>
                  <a:lnTo>
                    <a:pt x="1298" y="294"/>
                  </a:lnTo>
                  <a:lnTo>
                    <a:pt x="1295" y="292"/>
                  </a:lnTo>
                  <a:lnTo>
                    <a:pt x="1295" y="289"/>
                  </a:lnTo>
                  <a:lnTo>
                    <a:pt x="1295" y="289"/>
                  </a:lnTo>
                  <a:lnTo>
                    <a:pt x="1295" y="285"/>
                  </a:lnTo>
                  <a:lnTo>
                    <a:pt x="1294" y="282"/>
                  </a:lnTo>
                  <a:lnTo>
                    <a:pt x="1294" y="282"/>
                  </a:lnTo>
                  <a:lnTo>
                    <a:pt x="1288" y="275"/>
                  </a:lnTo>
                  <a:lnTo>
                    <a:pt x="1288" y="275"/>
                  </a:lnTo>
                  <a:lnTo>
                    <a:pt x="1279" y="266"/>
                  </a:lnTo>
                  <a:lnTo>
                    <a:pt x="1279" y="266"/>
                  </a:lnTo>
                  <a:lnTo>
                    <a:pt x="1278" y="263"/>
                  </a:lnTo>
                  <a:lnTo>
                    <a:pt x="1278" y="263"/>
                  </a:lnTo>
                  <a:lnTo>
                    <a:pt x="1274" y="257"/>
                  </a:lnTo>
                  <a:lnTo>
                    <a:pt x="1272" y="255"/>
                  </a:lnTo>
                  <a:lnTo>
                    <a:pt x="1272" y="255"/>
                  </a:lnTo>
                  <a:lnTo>
                    <a:pt x="1272" y="252"/>
                  </a:lnTo>
                  <a:lnTo>
                    <a:pt x="1272" y="252"/>
                  </a:lnTo>
                  <a:lnTo>
                    <a:pt x="1272" y="247"/>
                  </a:lnTo>
                  <a:lnTo>
                    <a:pt x="1269" y="240"/>
                  </a:lnTo>
                  <a:lnTo>
                    <a:pt x="1269" y="240"/>
                  </a:lnTo>
                  <a:lnTo>
                    <a:pt x="1268" y="237"/>
                  </a:lnTo>
                  <a:lnTo>
                    <a:pt x="1268" y="237"/>
                  </a:lnTo>
                  <a:lnTo>
                    <a:pt x="1265" y="235"/>
                  </a:lnTo>
                  <a:lnTo>
                    <a:pt x="1265" y="230"/>
                  </a:lnTo>
                  <a:lnTo>
                    <a:pt x="1265" y="230"/>
                  </a:lnTo>
                  <a:lnTo>
                    <a:pt x="1265" y="227"/>
                  </a:lnTo>
                  <a:lnTo>
                    <a:pt x="1265" y="227"/>
                  </a:lnTo>
                  <a:lnTo>
                    <a:pt x="1268" y="235"/>
                  </a:lnTo>
                  <a:lnTo>
                    <a:pt x="1268" y="236"/>
                  </a:lnTo>
                  <a:lnTo>
                    <a:pt x="1268" y="236"/>
                  </a:lnTo>
                  <a:lnTo>
                    <a:pt x="1271" y="239"/>
                  </a:lnTo>
                  <a:lnTo>
                    <a:pt x="1271" y="239"/>
                  </a:lnTo>
                  <a:lnTo>
                    <a:pt x="1274" y="240"/>
                  </a:lnTo>
                  <a:lnTo>
                    <a:pt x="1275" y="243"/>
                  </a:lnTo>
                  <a:lnTo>
                    <a:pt x="1275" y="243"/>
                  </a:lnTo>
                  <a:lnTo>
                    <a:pt x="1278" y="249"/>
                  </a:lnTo>
                  <a:lnTo>
                    <a:pt x="1278" y="249"/>
                  </a:lnTo>
                  <a:lnTo>
                    <a:pt x="1279" y="256"/>
                  </a:lnTo>
                  <a:lnTo>
                    <a:pt x="1279" y="256"/>
                  </a:lnTo>
                  <a:lnTo>
                    <a:pt x="1281" y="262"/>
                  </a:lnTo>
                  <a:lnTo>
                    <a:pt x="1284" y="265"/>
                  </a:lnTo>
                  <a:lnTo>
                    <a:pt x="1284" y="265"/>
                  </a:lnTo>
                  <a:lnTo>
                    <a:pt x="1285" y="266"/>
                  </a:lnTo>
                  <a:lnTo>
                    <a:pt x="1285" y="266"/>
                  </a:lnTo>
                  <a:lnTo>
                    <a:pt x="1287" y="269"/>
                  </a:lnTo>
                  <a:lnTo>
                    <a:pt x="1287" y="269"/>
                  </a:lnTo>
                  <a:lnTo>
                    <a:pt x="1288" y="272"/>
                  </a:lnTo>
                  <a:lnTo>
                    <a:pt x="1292" y="276"/>
                  </a:lnTo>
                  <a:lnTo>
                    <a:pt x="1292" y="276"/>
                  </a:lnTo>
                  <a:lnTo>
                    <a:pt x="1297" y="280"/>
                  </a:lnTo>
                  <a:lnTo>
                    <a:pt x="1297" y="280"/>
                  </a:lnTo>
                  <a:lnTo>
                    <a:pt x="1302" y="286"/>
                  </a:lnTo>
                  <a:lnTo>
                    <a:pt x="1308" y="289"/>
                  </a:lnTo>
                  <a:lnTo>
                    <a:pt x="1308" y="289"/>
                  </a:lnTo>
                  <a:lnTo>
                    <a:pt x="1311" y="289"/>
                  </a:lnTo>
                  <a:lnTo>
                    <a:pt x="1314" y="287"/>
                  </a:lnTo>
                  <a:lnTo>
                    <a:pt x="1314" y="287"/>
                  </a:lnTo>
                  <a:lnTo>
                    <a:pt x="1315" y="287"/>
                  </a:lnTo>
                  <a:lnTo>
                    <a:pt x="1315" y="287"/>
                  </a:lnTo>
                  <a:lnTo>
                    <a:pt x="1318" y="287"/>
                  </a:lnTo>
                  <a:lnTo>
                    <a:pt x="1319" y="286"/>
                  </a:lnTo>
                  <a:lnTo>
                    <a:pt x="1319" y="286"/>
                  </a:lnTo>
                  <a:lnTo>
                    <a:pt x="1321" y="283"/>
                  </a:lnTo>
                  <a:lnTo>
                    <a:pt x="1321" y="282"/>
                  </a:lnTo>
                  <a:lnTo>
                    <a:pt x="1321" y="279"/>
                  </a:lnTo>
                  <a:lnTo>
                    <a:pt x="1321" y="279"/>
                  </a:lnTo>
                  <a:lnTo>
                    <a:pt x="1319" y="276"/>
                  </a:lnTo>
                  <a:lnTo>
                    <a:pt x="1319" y="270"/>
                  </a:lnTo>
                  <a:lnTo>
                    <a:pt x="1319" y="270"/>
                  </a:lnTo>
                  <a:lnTo>
                    <a:pt x="1321" y="262"/>
                  </a:lnTo>
                  <a:lnTo>
                    <a:pt x="1319" y="262"/>
                  </a:lnTo>
                  <a:lnTo>
                    <a:pt x="1319" y="262"/>
                  </a:lnTo>
                  <a:lnTo>
                    <a:pt x="1321" y="262"/>
                  </a:lnTo>
                  <a:lnTo>
                    <a:pt x="1321" y="262"/>
                  </a:lnTo>
                  <a:lnTo>
                    <a:pt x="1327" y="245"/>
                  </a:lnTo>
                  <a:lnTo>
                    <a:pt x="1328" y="237"/>
                  </a:lnTo>
                  <a:lnTo>
                    <a:pt x="1328" y="232"/>
                  </a:lnTo>
                  <a:lnTo>
                    <a:pt x="1327" y="230"/>
                  </a:lnTo>
                  <a:lnTo>
                    <a:pt x="1325" y="230"/>
                  </a:lnTo>
                  <a:lnTo>
                    <a:pt x="1321" y="220"/>
                  </a:lnTo>
                  <a:lnTo>
                    <a:pt x="1318" y="212"/>
                  </a:lnTo>
                  <a:lnTo>
                    <a:pt x="1317" y="206"/>
                  </a:lnTo>
                  <a:lnTo>
                    <a:pt x="1309" y="197"/>
                  </a:lnTo>
                  <a:lnTo>
                    <a:pt x="1305" y="187"/>
                  </a:lnTo>
                  <a:lnTo>
                    <a:pt x="1305" y="187"/>
                  </a:lnTo>
                  <a:lnTo>
                    <a:pt x="1308" y="185"/>
                  </a:lnTo>
                  <a:lnTo>
                    <a:pt x="1308" y="183"/>
                  </a:lnTo>
                  <a:lnTo>
                    <a:pt x="1304" y="182"/>
                  </a:lnTo>
                  <a:lnTo>
                    <a:pt x="1304" y="183"/>
                  </a:lnTo>
                  <a:lnTo>
                    <a:pt x="1304" y="183"/>
                  </a:lnTo>
                  <a:lnTo>
                    <a:pt x="1302" y="185"/>
                  </a:lnTo>
                  <a:lnTo>
                    <a:pt x="1302" y="185"/>
                  </a:lnTo>
                  <a:lnTo>
                    <a:pt x="1295" y="186"/>
                  </a:lnTo>
                  <a:lnTo>
                    <a:pt x="1295" y="186"/>
                  </a:lnTo>
                  <a:lnTo>
                    <a:pt x="1287" y="186"/>
                  </a:lnTo>
                  <a:lnTo>
                    <a:pt x="1279" y="185"/>
                  </a:lnTo>
                  <a:lnTo>
                    <a:pt x="1279" y="185"/>
                  </a:lnTo>
                  <a:lnTo>
                    <a:pt x="1277" y="183"/>
                  </a:lnTo>
                  <a:lnTo>
                    <a:pt x="1275" y="183"/>
                  </a:lnTo>
                  <a:lnTo>
                    <a:pt x="1271" y="186"/>
                  </a:lnTo>
                  <a:lnTo>
                    <a:pt x="1271" y="186"/>
                  </a:lnTo>
                  <a:lnTo>
                    <a:pt x="1268" y="187"/>
                  </a:lnTo>
                  <a:lnTo>
                    <a:pt x="1268" y="187"/>
                  </a:lnTo>
                  <a:lnTo>
                    <a:pt x="1265" y="187"/>
                  </a:lnTo>
                  <a:lnTo>
                    <a:pt x="1264" y="186"/>
                  </a:lnTo>
                  <a:lnTo>
                    <a:pt x="1262" y="183"/>
                  </a:lnTo>
                  <a:lnTo>
                    <a:pt x="1262" y="183"/>
                  </a:lnTo>
                  <a:lnTo>
                    <a:pt x="1261" y="182"/>
                  </a:lnTo>
                  <a:lnTo>
                    <a:pt x="1261" y="182"/>
                  </a:lnTo>
                  <a:lnTo>
                    <a:pt x="1254" y="180"/>
                  </a:lnTo>
                  <a:lnTo>
                    <a:pt x="1244" y="179"/>
                  </a:lnTo>
                  <a:lnTo>
                    <a:pt x="1244" y="179"/>
                  </a:lnTo>
                  <a:lnTo>
                    <a:pt x="1241" y="179"/>
                  </a:lnTo>
                  <a:lnTo>
                    <a:pt x="1241" y="179"/>
                  </a:lnTo>
                  <a:lnTo>
                    <a:pt x="1239" y="179"/>
                  </a:lnTo>
                  <a:lnTo>
                    <a:pt x="1239" y="179"/>
                  </a:lnTo>
                  <a:lnTo>
                    <a:pt x="1234" y="176"/>
                  </a:lnTo>
                  <a:lnTo>
                    <a:pt x="1229" y="175"/>
                  </a:lnTo>
                  <a:lnTo>
                    <a:pt x="1224" y="175"/>
                  </a:lnTo>
                  <a:lnTo>
                    <a:pt x="1224" y="175"/>
                  </a:lnTo>
                  <a:lnTo>
                    <a:pt x="1215" y="176"/>
                  </a:lnTo>
                  <a:lnTo>
                    <a:pt x="1211" y="176"/>
                  </a:lnTo>
                  <a:lnTo>
                    <a:pt x="1211" y="176"/>
                  </a:lnTo>
                  <a:lnTo>
                    <a:pt x="1209" y="177"/>
                  </a:lnTo>
                  <a:lnTo>
                    <a:pt x="1209" y="177"/>
                  </a:lnTo>
                  <a:lnTo>
                    <a:pt x="1204" y="177"/>
                  </a:lnTo>
                  <a:lnTo>
                    <a:pt x="1201" y="180"/>
                  </a:lnTo>
                  <a:lnTo>
                    <a:pt x="1198" y="183"/>
                  </a:lnTo>
                  <a:lnTo>
                    <a:pt x="1198" y="183"/>
                  </a:lnTo>
                  <a:lnTo>
                    <a:pt x="1197" y="185"/>
                  </a:lnTo>
                  <a:lnTo>
                    <a:pt x="1197" y="185"/>
                  </a:lnTo>
                  <a:lnTo>
                    <a:pt x="1197" y="185"/>
                  </a:lnTo>
                  <a:lnTo>
                    <a:pt x="1197" y="185"/>
                  </a:lnTo>
                  <a:lnTo>
                    <a:pt x="1192" y="185"/>
                  </a:lnTo>
                  <a:lnTo>
                    <a:pt x="1192" y="185"/>
                  </a:lnTo>
                  <a:lnTo>
                    <a:pt x="1188" y="187"/>
                  </a:lnTo>
                  <a:lnTo>
                    <a:pt x="1185" y="189"/>
                  </a:lnTo>
                  <a:lnTo>
                    <a:pt x="1182" y="195"/>
                  </a:lnTo>
                  <a:lnTo>
                    <a:pt x="1182" y="195"/>
                  </a:lnTo>
                  <a:lnTo>
                    <a:pt x="1181" y="196"/>
                  </a:lnTo>
                  <a:lnTo>
                    <a:pt x="1181" y="196"/>
                  </a:lnTo>
                  <a:lnTo>
                    <a:pt x="1178" y="195"/>
                  </a:lnTo>
                  <a:lnTo>
                    <a:pt x="1169" y="189"/>
                  </a:lnTo>
                  <a:lnTo>
                    <a:pt x="1169" y="189"/>
                  </a:lnTo>
                  <a:lnTo>
                    <a:pt x="1165" y="187"/>
                  </a:lnTo>
                  <a:lnTo>
                    <a:pt x="1162" y="186"/>
                  </a:lnTo>
                  <a:lnTo>
                    <a:pt x="1162" y="186"/>
                  </a:lnTo>
                  <a:lnTo>
                    <a:pt x="1157" y="187"/>
                  </a:lnTo>
                  <a:lnTo>
                    <a:pt x="1157" y="187"/>
                  </a:lnTo>
                  <a:lnTo>
                    <a:pt x="1154" y="189"/>
                  </a:lnTo>
                  <a:lnTo>
                    <a:pt x="1151" y="189"/>
                  </a:lnTo>
                  <a:lnTo>
                    <a:pt x="1151" y="189"/>
                  </a:lnTo>
                  <a:lnTo>
                    <a:pt x="1148" y="189"/>
                  </a:lnTo>
                  <a:lnTo>
                    <a:pt x="1148" y="189"/>
                  </a:lnTo>
                  <a:lnTo>
                    <a:pt x="1142" y="187"/>
                  </a:lnTo>
                  <a:lnTo>
                    <a:pt x="1141" y="186"/>
                  </a:lnTo>
                  <a:lnTo>
                    <a:pt x="1141" y="186"/>
                  </a:lnTo>
                  <a:lnTo>
                    <a:pt x="1135" y="182"/>
                  </a:lnTo>
                  <a:lnTo>
                    <a:pt x="1135" y="182"/>
                  </a:lnTo>
                  <a:lnTo>
                    <a:pt x="1128" y="179"/>
                  </a:lnTo>
                  <a:lnTo>
                    <a:pt x="1121" y="177"/>
                  </a:lnTo>
                  <a:lnTo>
                    <a:pt x="1121" y="177"/>
                  </a:lnTo>
                  <a:lnTo>
                    <a:pt x="1111" y="175"/>
                  </a:lnTo>
                  <a:lnTo>
                    <a:pt x="1111" y="175"/>
                  </a:lnTo>
                  <a:lnTo>
                    <a:pt x="1105" y="173"/>
                  </a:lnTo>
                  <a:lnTo>
                    <a:pt x="1102" y="172"/>
                  </a:lnTo>
                  <a:lnTo>
                    <a:pt x="1102" y="172"/>
                  </a:lnTo>
                  <a:lnTo>
                    <a:pt x="1097" y="169"/>
                  </a:lnTo>
                  <a:lnTo>
                    <a:pt x="1097" y="169"/>
                  </a:lnTo>
                  <a:lnTo>
                    <a:pt x="1094" y="169"/>
                  </a:lnTo>
                  <a:lnTo>
                    <a:pt x="1094" y="169"/>
                  </a:lnTo>
                  <a:lnTo>
                    <a:pt x="1091" y="169"/>
                  </a:lnTo>
                  <a:lnTo>
                    <a:pt x="1089" y="170"/>
                  </a:lnTo>
                  <a:lnTo>
                    <a:pt x="1087" y="173"/>
                  </a:lnTo>
                  <a:lnTo>
                    <a:pt x="1087" y="173"/>
                  </a:lnTo>
                  <a:lnTo>
                    <a:pt x="1085" y="175"/>
                  </a:lnTo>
                  <a:lnTo>
                    <a:pt x="1084" y="175"/>
                  </a:lnTo>
                  <a:lnTo>
                    <a:pt x="1084" y="175"/>
                  </a:lnTo>
                  <a:lnTo>
                    <a:pt x="1079" y="172"/>
                  </a:lnTo>
                  <a:lnTo>
                    <a:pt x="1079" y="172"/>
                  </a:lnTo>
                  <a:lnTo>
                    <a:pt x="1079" y="172"/>
                  </a:lnTo>
                  <a:lnTo>
                    <a:pt x="1079" y="172"/>
                  </a:lnTo>
                  <a:lnTo>
                    <a:pt x="1081" y="167"/>
                  </a:lnTo>
                  <a:lnTo>
                    <a:pt x="1081" y="165"/>
                  </a:lnTo>
                  <a:lnTo>
                    <a:pt x="1081" y="163"/>
                  </a:lnTo>
                  <a:lnTo>
                    <a:pt x="1081" y="163"/>
                  </a:lnTo>
                  <a:lnTo>
                    <a:pt x="1078" y="160"/>
                  </a:lnTo>
                  <a:lnTo>
                    <a:pt x="1075" y="160"/>
                  </a:lnTo>
                  <a:lnTo>
                    <a:pt x="1075" y="160"/>
                  </a:lnTo>
                  <a:lnTo>
                    <a:pt x="1065" y="162"/>
                  </a:lnTo>
                  <a:lnTo>
                    <a:pt x="1065" y="162"/>
                  </a:lnTo>
                  <a:lnTo>
                    <a:pt x="1058" y="162"/>
                  </a:lnTo>
                  <a:lnTo>
                    <a:pt x="1058" y="162"/>
                  </a:lnTo>
                  <a:lnTo>
                    <a:pt x="1057" y="162"/>
                  </a:lnTo>
                  <a:lnTo>
                    <a:pt x="1057" y="162"/>
                  </a:lnTo>
                  <a:lnTo>
                    <a:pt x="1057" y="162"/>
                  </a:lnTo>
                  <a:lnTo>
                    <a:pt x="1051" y="159"/>
                  </a:lnTo>
                  <a:lnTo>
                    <a:pt x="1042" y="156"/>
                  </a:lnTo>
                  <a:lnTo>
                    <a:pt x="1042" y="156"/>
                  </a:lnTo>
                  <a:lnTo>
                    <a:pt x="1039" y="155"/>
                  </a:lnTo>
                  <a:lnTo>
                    <a:pt x="1039" y="155"/>
                  </a:lnTo>
                  <a:lnTo>
                    <a:pt x="1035" y="153"/>
                  </a:lnTo>
                  <a:lnTo>
                    <a:pt x="1032" y="149"/>
                  </a:lnTo>
                  <a:lnTo>
                    <a:pt x="1032" y="149"/>
                  </a:lnTo>
                  <a:lnTo>
                    <a:pt x="1028" y="145"/>
                  </a:lnTo>
                  <a:lnTo>
                    <a:pt x="1024" y="142"/>
                  </a:lnTo>
                  <a:lnTo>
                    <a:pt x="1024" y="142"/>
                  </a:lnTo>
                  <a:lnTo>
                    <a:pt x="1017" y="136"/>
                  </a:lnTo>
                  <a:lnTo>
                    <a:pt x="1017" y="136"/>
                  </a:lnTo>
                  <a:lnTo>
                    <a:pt x="1012" y="135"/>
                  </a:lnTo>
                  <a:lnTo>
                    <a:pt x="1009" y="133"/>
                  </a:lnTo>
                  <a:lnTo>
                    <a:pt x="1004" y="132"/>
                  </a:lnTo>
                  <a:lnTo>
                    <a:pt x="1001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7" y="132"/>
                  </a:lnTo>
                  <a:lnTo>
                    <a:pt x="992" y="132"/>
                  </a:lnTo>
                  <a:lnTo>
                    <a:pt x="988" y="133"/>
                  </a:lnTo>
                  <a:lnTo>
                    <a:pt x="988" y="133"/>
                  </a:lnTo>
                  <a:lnTo>
                    <a:pt x="987" y="135"/>
                  </a:lnTo>
                  <a:lnTo>
                    <a:pt x="984" y="133"/>
                  </a:lnTo>
                  <a:lnTo>
                    <a:pt x="984" y="133"/>
                  </a:lnTo>
                  <a:lnTo>
                    <a:pt x="979" y="133"/>
                  </a:lnTo>
                  <a:lnTo>
                    <a:pt x="974" y="136"/>
                  </a:lnTo>
                  <a:lnTo>
                    <a:pt x="969" y="140"/>
                  </a:lnTo>
                  <a:lnTo>
                    <a:pt x="967" y="146"/>
                  </a:lnTo>
                  <a:lnTo>
                    <a:pt x="967" y="146"/>
                  </a:lnTo>
                  <a:lnTo>
                    <a:pt x="962" y="150"/>
                  </a:lnTo>
                  <a:lnTo>
                    <a:pt x="957" y="155"/>
                  </a:lnTo>
                  <a:lnTo>
                    <a:pt x="957" y="155"/>
                  </a:lnTo>
                  <a:lnTo>
                    <a:pt x="949" y="160"/>
                  </a:lnTo>
                  <a:lnTo>
                    <a:pt x="949" y="160"/>
                  </a:lnTo>
                  <a:lnTo>
                    <a:pt x="947" y="163"/>
                  </a:lnTo>
                  <a:lnTo>
                    <a:pt x="945" y="166"/>
                  </a:lnTo>
                  <a:lnTo>
                    <a:pt x="945" y="173"/>
                  </a:lnTo>
                  <a:lnTo>
                    <a:pt x="948" y="179"/>
                  </a:lnTo>
                  <a:lnTo>
                    <a:pt x="951" y="185"/>
                  </a:lnTo>
                  <a:lnTo>
                    <a:pt x="951" y="185"/>
                  </a:lnTo>
                  <a:lnTo>
                    <a:pt x="952" y="189"/>
                  </a:lnTo>
                  <a:lnTo>
                    <a:pt x="951" y="192"/>
                  </a:lnTo>
                  <a:lnTo>
                    <a:pt x="951" y="192"/>
                  </a:lnTo>
                  <a:lnTo>
                    <a:pt x="951" y="195"/>
                  </a:lnTo>
                  <a:lnTo>
                    <a:pt x="951" y="197"/>
                  </a:lnTo>
                  <a:lnTo>
                    <a:pt x="951" y="197"/>
                  </a:lnTo>
                  <a:lnTo>
                    <a:pt x="949" y="200"/>
                  </a:lnTo>
                  <a:lnTo>
                    <a:pt x="947" y="202"/>
                  </a:lnTo>
                  <a:lnTo>
                    <a:pt x="947" y="202"/>
                  </a:lnTo>
                  <a:lnTo>
                    <a:pt x="944" y="205"/>
                  </a:lnTo>
                  <a:lnTo>
                    <a:pt x="942" y="206"/>
                  </a:lnTo>
                  <a:lnTo>
                    <a:pt x="942" y="206"/>
                  </a:lnTo>
                  <a:lnTo>
                    <a:pt x="939" y="207"/>
                  </a:lnTo>
                  <a:lnTo>
                    <a:pt x="935" y="210"/>
                  </a:lnTo>
                  <a:lnTo>
                    <a:pt x="935" y="210"/>
                  </a:lnTo>
                  <a:lnTo>
                    <a:pt x="928" y="213"/>
                  </a:lnTo>
                  <a:lnTo>
                    <a:pt x="928" y="213"/>
                  </a:lnTo>
                  <a:lnTo>
                    <a:pt x="927" y="213"/>
                  </a:lnTo>
                  <a:lnTo>
                    <a:pt x="925" y="212"/>
                  </a:lnTo>
                  <a:lnTo>
                    <a:pt x="919" y="207"/>
                  </a:lnTo>
                  <a:lnTo>
                    <a:pt x="919" y="207"/>
                  </a:lnTo>
                  <a:lnTo>
                    <a:pt x="908" y="200"/>
                  </a:lnTo>
                  <a:lnTo>
                    <a:pt x="908" y="200"/>
                  </a:lnTo>
                  <a:lnTo>
                    <a:pt x="902" y="197"/>
                  </a:lnTo>
                  <a:lnTo>
                    <a:pt x="900" y="195"/>
                  </a:lnTo>
                  <a:lnTo>
                    <a:pt x="900" y="195"/>
                  </a:lnTo>
                  <a:lnTo>
                    <a:pt x="895" y="192"/>
                  </a:lnTo>
                  <a:lnTo>
                    <a:pt x="895" y="192"/>
                  </a:lnTo>
                  <a:lnTo>
                    <a:pt x="887" y="187"/>
                  </a:lnTo>
                  <a:lnTo>
                    <a:pt x="887" y="187"/>
                  </a:lnTo>
                  <a:lnTo>
                    <a:pt x="880" y="183"/>
                  </a:lnTo>
                  <a:lnTo>
                    <a:pt x="880" y="183"/>
                  </a:lnTo>
                  <a:lnTo>
                    <a:pt x="875" y="182"/>
                  </a:lnTo>
                  <a:lnTo>
                    <a:pt x="871" y="180"/>
                  </a:lnTo>
                  <a:lnTo>
                    <a:pt x="871" y="180"/>
                  </a:lnTo>
                  <a:lnTo>
                    <a:pt x="864" y="182"/>
                  </a:lnTo>
                  <a:lnTo>
                    <a:pt x="864" y="182"/>
                  </a:lnTo>
                  <a:lnTo>
                    <a:pt x="860" y="182"/>
                  </a:lnTo>
                  <a:lnTo>
                    <a:pt x="860" y="182"/>
                  </a:lnTo>
                  <a:lnTo>
                    <a:pt x="855" y="183"/>
                  </a:lnTo>
                  <a:lnTo>
                    <a:pt x="850" y="179"/>
                  </a:lnTo>
                  <a:lnTo>
                    <a:pt x="850" y="179"/>
                  </a:lnTo>
                  <a:lnTo>
                    <a:pt x="842" y="175"/>
                  </a:lnTo>
                  <a:lnTo>
                    <a:pt x="842" y="175"/>
                  </a:lnTo>
                  <a:lnTo>
                    <a:pt x="840" y="172"/>
                  </a:lnTo>
                  <a:lnTo>
                    <a:pt x="838" y="169"/>
                  </a:lnTo>
                  <a:lnTo>
                    <a:pt x="838" y="167"/>
                  </a:lnTo>
                  <a:lnTo>
                    <a:pt x="838" y="166"/>
                  </a:lnTo>
                  <a:lnTo>
                    <a:pt x="838" y="166"/>
                  </a:lnTo>
                  <a:lnTo>
                    <a:pt x="840" y="163"/>
                  </a:lnTo>
                  <a:lnTo>
                    <a:pt x="840" y="159"/>
                  </a:lnTo>
                  <a:lnTo>
                    <a:pt x="840" y="159"/>
                  </a:lnTo>
                  <a:lnTo>
                    <a:pt x="838" y="152"/>
                  </a:lnTo>
                  <a:lnTo>
                    <a:pt x="834" y="147"/>
                  </a:lnTo>
                  <a:lnTo>
                    <a:pt x="834" y="147"/>
                  </a:lnTo>
                  <a:lnTo>
                    <a:pt x="832" y="146"/>
                  </a:lnTo>
                  <a:lnTo>
                    <a:pt x="830" y="146"/>
                  </a:lnTo>
                  <a:lnTo>
                    <a:pt x="824" y="146"/>
                  </a:lnTo>
                  <a:lnTo>
                    <a:pt x="824" y="146"/>
                  </a:lnTo>
                  <a:lnTo>
                    <a:pt x="820" y="147"/>
                  </a:lnTo>
                  <a:lnTo>
                    <a:pt x="817" y="147"/>
                  </a:lnTo>
                  <a:lnTo>
                    <a:pt x="817" y="147"/>
                  </a:lnTo>
                  <a:lnTo>
                    <a:pt x="814" y="146"/>
                  </a:lnTo>
                  <a:lnTo>
                    <a:pt x="814" y="143"/>
                  </a:lnTo>
                  <a:lnTo>
                    <a:pt x="814" y="143"/>
                  </a:lnTo>
                  <a:lnTo>
                    <a:pt x="812" y="142"/>
                  </a:lnTo>
                  <a:lnTo>
                    <a:pt x="811" y="139"/>
                  </a:lnTo>
                  <a:lnTo>
                    <a:pt x="811" y="139"/>
                  </a:lnTo>
                  <a:lnTo>
                    <a:pt x="810" y="137"/>
                  </a:lnTo>
                  <a:lnTo>
                    <a:pt x="805" y="137"/>
                  </a:lnTo>
                  <a:lnTo>
                    <a:pt x="805" y="137"/>
                  </a:lnTo>
                  <a:lnTo>
                    <a:pt x="801" y="137"/>
                  </a:lnTo>
                  <a:lnTo>
                    <a:pt x="801" y="137"/>
                  </a:lnTo>
                  <a:lnTo>
                    <a:pt x="795" y="137"/>
                  </a:lnTo>
                  <a:lnTo>
                    <a:pt x="795" y="137"/>
                  </a:lnTo>
                  <a:lnTo>
                    <a:pt x="792" y="137"/>
                  </a:lnTo>
                  <a:lnTo>
                    <a:pt x="792" y="137"/>
                  </a:lnTo>
                  <a:lnTo>
                    <a:pt x="792" y="137"/>
                  </a:lnTo>
                  <a:lnTo>
                    <a:pt x="792" y="137"/>
                  </a:lnTo>
                  <a:lnTo>
                    <a:pt x="790" y="135"/>
                  </a:lnTo>
                  <a:lnTo>
                    <a:pt x="790" y="135"/>
                  </a:lnTo>
                  <a:lnTo>
                    <a:pt x="787" y="130"/>
                  </a:lnTo>
                  <a:lnTo>
                    <a:pt x="782" y="129"/>
                  </a:lnTo>
                  <a:lnTo>
                    <a:pt x="782" y="129"/>
                  </a:lnTo>
                  <a:lnTo>
                    <a:pt x="780" y="130"/>
                  </a:lnTo>
                  <a:lnTo>
                    <a:pt x="778" y="132"/>
                  </a:lnTo>
                  <a:lnTo>
                    <a:pt x="778" y="132"/>
                  </a:lnTo>
                  <a:lnTo>
                    <a:pt x="775" y="133"/>
                  </a:lnTo>
                  <a:lnTo>
                    <a:pt x="775" y="133"/>
                  </a:lnTo>
                  <a:lnTo>
                    <a:pt x="772" y="136"/>
                  </a:lnTo>
                  <a:lnTo>
                    <a:pt x="772" y="136"/>
                  </a:lnTo>
                  <a:lnTo>
                    <a:pt x="770" y="137"/>
                  </a:lnTo>
                  <a:lnTo>
                    <a:pt x="770" y="137"/>
                  </a:lnTo>
                  <a:lnTo>
                    <a:pt x="765" y="137"/>
                  </a:lnTo>
                  <a:lnTo>
                    <a:pt x="761" y="136"/>
                  </a:lnTo>
                  <a:lnTo>
                    <a:pt x="760" y="136"/>
                  </a:lnTo>
                  <a:lnTo>
                    <a:pt x="760" y="136"/>
                  </a:lnTo>
                  <a:lnTo>
                    <a:pt x="757" y="133"/>
                  </a:lnTo>
                  <a:lnTo>
                    <a:pt x="757" y="133"/>
                  </a:lnTo>
                  <a:lnTo>
                    <a:pt x="751" y="130"/>
                  </a:lnTo>
                  <a:lnTo>
                    <a:pt x="751" y="130"/>
                  </a:lnTo>
                  <a:lnTo>
                    <a:pt x="744" y="127"/>
                  </a:lnTo>
                  <a:lnTo>
                    <a:pt x="742" y="127"/>
                  </a:lnTo>
                  <a:lnTo>
                    <a:pt x="741" y="127"/>
                  </a:lnTo>
                  <a:lnTo>
                    <a:pt x="741" y="127"/>
                  </a:lnTo>
                  <a:lnTo>
                    <a:pt x="740" y="127"/>
                  </a:lnTo>
                  <a:lnTo>
                    <a:pt x="740" y="127"/>
                  </a:lnTo>
                  <a:lnTo>
                    <a:pt x="737" y="127"/>
                  </a:lnTo>
                  <a:lnTo>
                    <a:pt x="737" y="127"/>
                  </a:lnTo>
                  <a:lnTo>
                    <a:pt x="735" y="125"/>
                  </a:lnTo>
                  <a:lnTo>
                    <a:pt x="734" y="123"/>
                  </a:lnTo>
                  <a:lnTo>
                    <a:pt x="734" y="123"/>
                  </a:lnTo>
                  <a:lnTo>
                    <a:pt x="732" y="120"/>
                  </a:lnTo>
                  <a:lnTo>
                    <a:pt x="730" y="119"/>
                  </a:lnTo>
                  <a:lnTo>
                    <a:pt x="730" y="119"/>
                  </a:lnTo>
                  <a:lnTo>
                    <a:pt x="730" y="116"/>
                  </a:lnTo>
                  <a:lnTo>
                    <a:pt x="730" y="112"/>
                  </a:lnTo>
                  <a:lnTo>
                    <a:pt x="730" y="112"/>
                  </a:lnTo>
                  <a:lnTo>
                    <a:pt x="730" y="106"/>
                  </a:lnTo>
                  <a:lnTo>
                    <a:pt x="730" y="103"/>
                  </a:lnTo>
                  <a:lnTo>
                    <a:pt x="727" y="102"/>
                  </a:lnTo>
                  <a:lnTo>
                    <a:pt x="727" y="102"/>
                  </a:lnTo>
                  <a:lnTo>
                    <a:pt x="725" y="102"/>
                  </a:lnTo>
                  <a:lnTo>
                    <a:pt x="725" y="102"/>
                  </a:lnTo>
                  <a:lnTo>
                    <a:pt x="722" y="103"/>
                  </a:lnTo>
                  <a:lnTo>
                    <a:pt x="718" y="106"/>
                  </a:lnTo>
                  <a:lnTo>
                    <a:pt x="718" y="106"/>
                  </a:lnTo>
                  <a:lnTo>
                    <a:pt x="717" y="109"/>
                  </a:lnTo>
                  <a:lnTo>
                    <a:pt x="714" y="110"/>
                  </a:lnTo>
                  <a:lnTo>
                    <a:pt x="714" y="110"/>
                  </a:lnTo>
                  <a:lnTo>
                    <a:pt x="714" y="110"/>
                  </a:lnTo>
                  <a:lnTo>
                    <a:pt x="714" y="110"/>
                  </a:lnTo>
                  <a:lnTo>
                    <a:pt x="712" y="109"/>
                  </a:lnTo>
                  <a:lnTo>
                    <a:pt x="711" y="103"/>
                  </a:lnTo>
                  <a:lnTo>
                    <a:pt x="711" y="103"/>
                  </a:lnTo>
                  <a:lnTo>
                    <a:pt x="710" y="97"/>
                  </a:lnTo>
                  <a:lnTo>
                    <a:pt x="710" y="97"/>
                  </a:lnTo>
                  <a:lnTo>
                    <a:pt x="710" y="93"/>
                  </a:lnTo>
                  <a:lnTo>
                    <a:pt x="710" y="93"/>
                  </a:lnTo>
                  <a:lnTo>
                    <a:pt x="711" y="92"/>
                  </a:lnTo>
                  <a:lnTo>
                    <a:pt x="714" y="92"/>
                  </a:lnTo>
                  <a:lnTo>
                    <a:pt x="714" y="92"/>
                  </a:lnTo>
                  <a:lnTo>
                    <a:pt x="717" y="90"/>
                  </a:lnTo>
                  <a:lnTo>
                    <a:pt x="718" y="89"/>
                  </a:lnTo>
                  <a:lnTo>
                    <a:pt x="718" y="89"/>
                  </a:lnTo>
                  <a:lnTo>
                    <a:pt x="722" y="83"/>
                  </a:lnTo>
                  <a:lnTo>
                    <a:pt x="722" y="83"/>
                  </a:lnTo>
                  <a:lnTo>
                    <a:pt x="730" y="75"/>
                  </a:lnTo>
                  <a:lnTo>
                    <a:pt x="734" y="65"/>
                  </a:lnTo>
                  <a:lnTo>
                    <a:pt x="734" y="65"/>
                  </a:lnTo>
                  <a:lnTo>
                    <a:pt x="735" y="62"/>
                  </a:lnTo>
                  <a:lnTo>
                    <a:pt x="735" y="57"/>
                  </a:lnTo>
                  <a:lnTo>
                    <a:pt x="735" y="57"/>
                  </a:lnTo>
                  <a:lnTo>
                    <a:pt x="731" y="56"/>
                  </a:lnTo>
                  <a:lnTo>
                    <a:pt x="728" y="55"/>
                  </a:lnTo>
                  <a:lnTo>
                    <a:pt x="728" y="55"/>
                  </a:lnTo>
                  <a:lnTo>
                    <a:pt x="725" y="55"/>
                  </a:lnTo>
                  <a:lnTo>
                    <a:pt x="725" y="55"/>
                  </a:lnTo>
                  <a:lnTo>
                    <a:pt x="724" y="53"/>
                  </a:lnTo>
                  <a:lnTo>
                    <a:pt x="722" y="47"/>
                  </a:lnTo>
                  <a:lnTo>
                    <a:pt x="722" y="47"/>
                  </a:lnTo>
                  <a:lnTo>
                    <a:pt x="720" y="40"/>
                  </a:lnTo>
                  <a:lnTo>
                    <a:pt x="720" y="40"/>
                  </a:lnTo>
                  <a:lnTo>
                    <a:pt x="720" y="37"/>
                  </a:lnTo>
                  <a:lnTo>
                    <a:pt x="720" y="35"/>
                  </a:lnTo>
                  <a:lnTo>
                    <a:pt x="722" y="30"/>
                  </a:lnTo>
                  <a:lnTo>
                    <a:pt x="727" y="27"/>
                  </a:lnTo>
                  <a:lnTo>
                    <a:pt x="731" y="25"/>
                  </a:lnTo>
                  <a:lnTo>
                    <a:pt x="731" y="25"/>
                  </a:lnTo>
                  <a:lnTo>
                    <a:pt x="732" y="23"/>
                  </a:lnTo>
                  <a:lnTo>
                    <a:pt x="732" y="23"/>
                  </a:lnTo>
                  <a:lnTo>
                    <a:pt x="734" y="20"/>
                  </a:lnTo>
                  <a:lnTo>
                    <a:pt x="734" y="17"/>
                  </a:lnTo>
                  <a:lnTo>
                    <a:pt x="734" y="17"/>
                  </a:lnTo>
                  <a:lnTo>
                    <a:pt x="732" y="13"/>
                  </a:lnTo>
                  <a:lnTo>
                    <a:pt x="728" y="10"/>
                  </a:lnTo>
                  <a:lnTo>
                    <a:pt x="728" y="10"/>
                  </a:lnTo>
                  <a:lnTo>
                    <a:pt x="727" y="10"/>
                  </a:lnTo>
                  <a:lnTo>
                    <a:pt x="727" y="10"/>
                  </a:lnTo>
                  <a:lnTo>
                    <a:pt x="724" y="10"/>
                  </a:lnTo>
                  <a:lnTo>
                    <a:pt x="722" y="12"/>
                  </a:lnTo>
                  <a:lnTo>
                    <a:pt x="720" y="16"/>
                  </a:lnTo>
                  <a:lnTo>
                    <a:pt x="720" y="16"/>
                  </a:lnTo>
                  <a:lnTo>
                    <a:pt x="715" y="19"/>
                  </a:lnTo>
                  <a:lnTo>
                    <a:pt x="715" y="19"/>
                  </a:lnTo>
                  <a:lnTo>
                    <a:pt x="714" y="19"/>
                  </a:lnTo>
                  <a:lnTo>
                    <a:pt x="712" y="19"/>
                  </a:lnTo>
                  <a:lnTo>
                    <a:pt x="712" y="19"/>
                  </a:lnTo>
                  <a:lnTo>
                    <a:pt x="712" y="17"/>
                  </a:lnTo>
                  <a:lnTo>
                    <a:pt x="712" y="17"/>
                  </a:lnTo>
                  <a:lnTo>
                    <a:pt x="711" y="12"/>
                  </a:lnTo>
                  <a:lnTo>
                    <a:pt x="708" y="5"/>
                  </a:lnTo>
                  <a:lnTo>
                    <a:pt x="708" y="5"/>
                  </a:lnTo>
                  <a:lnTo>
                    <a:pt x="707" y="2"/>
                  </a:lnTo>
                  <a:lnTo>
                    <a:pt x="704" y="0"/>
                  </a:lnTo>
                  <a:lnTo>
                    <a:pt x="704" y="0"/>
                  </a:lnTo>
                  <a:lnTo>
                    <a:pt x="700" y="2"/>
                  </a:lnTo>
                  <a:lnTo>
                    <a:pt x="700" y="2"/>
                  </a:lnTo>
                  <a:lnTo>
                    <a:pt x="695" y="3"/>
                  </a:lnTo>
                  <a:lnTo>
                    <a:pt x="695" y="3"/>
                  </a:lnTo>
                  <a:lnTo>
                    <a:pt x="691" y="3"/>
                  </a:lnTo>
                  <a:lnTo>
                    <a:pt x="688" y="5"/>
                  </a:lnTo>
                  <a:lnTo>
                    <a:pt x="688" y="5"/>
                  </a:lnTo>
                  <a:lnTo>
                    <a:pt x="684" y="6"/>
                  </a:lnTo>
                  <a:lnTo>
                    <a:pt x="684" y="6"/>
                  </a:lnTo>
                  <a:lnTo>
                    <a:pt x="680" y="7"/>
                  </a:lnTo>
                  <a:lnTo>
                    <a:pt x="678" y="12"/>
                  </a:lnTo>
                  <a:lnTo>
                    <a:pt x="678" y="12"/>
                  </a:lnTo>
                  <a:lnTo>
                    <a:pt x="677" y="13"/>
                  </a:lnTo>
                  <a:lnTo>
                    <a:pt x="677" y="13"/>
                  </a:lnTo>
                  <a:lnTo>
                    <a:pt x="672" y="15"/>
                  </a:lnTo>
                  <a:lnTo>
                    <a:pt x="672" y="15"/>
                  </a:lnTo>
                  <a:lnTo>
                    <a:pt x="670" y="15"/>
                  </a:lnTo>
                  <a:lnTo>
                    <a:pt x="670" y="15"/>
                  </a:lnTo>
                  <a:lnTo>
                    <a:pt x="668" y="15"/>
                  </a:lnTo>
                  <a:lnTo>
                    <a:pt x="668" y="15"/>
                  </a:lnTo>
                  <a:lnTo>
                    <a:pt x="664" y="16"/>
                  </a:lnTo>
                  <a:lnTo>
                    <a:pt x="664" y="16"/>
                  </a:lnTo>
                  <a:lnTo>
                    <a:pt x="658" y="17"/>
                  </a:lnTo>
                  <a:lnTo>
                    <a:pt x="658" y="17"/>
                  </a:lnTo>
                  <a:lnTo>
                    <a:pt x="655" y="17"/>
                  </a:lnTo>
                  <a:lnTo>
                    <a:pt x="654" y="16"/>
                  </a:lnTo>
                  <a:lnTo>
                    <a:pt x="654" y="16"/>
                  </a:lnTo>
                  <a:lnTo>
                    <a:pt x="652" y="15"/>
                  </a:lnTo>
                  <a:lnTo>
                    <a:pt x="651" y="15"/>
                  </a:lnTo>
                  <a:lnTo>
                    <a:pt x="651" y="15"/>
                  </a:lnTo>
                  <a:lnTo>
                    <a:pt x="648" y="12"/>
                  </a:lnTo>
                  <a:lnTo>
                    <a:pt x="644" y="10"/>
                  </a:lnTo>
                  <a:lnTo>
                    <a:pt x="644" y="10"/>
                  </a:lnTo>
                  <a:lnTo>
                    <a:pt x="641" y="12"/>
                  </a:lnTo>
                  <a:lnTo>
                    <a:pt x="638" y="13"/>
                  </a:lnTo>
                  <a:lnTo>
                    <a:pt x="638" y="13"/>
                  </a:lnTo>
                  <a:lnTo>
                    <a:pt x="631" y="16"/>
                  </a:lnTo>
                  <a:lnTo>
                    <a:pt x="631" y="16"/>
                  </a:lnTo>
                  <a:lnTo>
                    <a:pt x="628" y="15"/>
                  </a:lnTo>
                  <a:lnTo>
                    <a:pt x="625" y="13"/>
                  </a:lnTo>
                  <a:lnTo>
                    <a:pt x="625" y="13"/>
                  </a:lnTo>
                  <a:lnTo>
                    <a:pt x="621" y="10"/>
                  </a:lnTo>
                  <a:lnTo>
                    <a:pt x="618" y="10"/>
                  </a:lnTo>
                  <a:lnTo>
                    <a:pt x="618" y="10"/>
                  </a:lnTo>
                  <a:lnTo>
                    <a:pt x="615" y="12"/>
                  </a:lnTo>
                  <a:lnTo>
                    <a:pt x="615" y="12"/>
                  </a:lnTo>
                  <a:lnTo>
                    <a:pt x="611" y="13"/>
                  </a:lnTo>
                  <a:lnTo>
                    <a:pt x="607" y="16"/>
                  </a:lnTo>
                  <a:lnTo>
                    <a:pt x="607" y="16"/>
                  </a:lnTo>
                  <a:lnTo>
                    <a:pt x="604" y="17"/>
                  </a:lnTo>
                  <a:lnTo>
                    <a:pt x="600" y="19"/>
                  </a:lnTo>
                  <a:lnTo>
                    <a:pt x="600" y="19"/>
                  </a:lnTo>
                  <a:lnTo>
                    <a:pt x="595" y="20"/>
                  </a:lnTo>
                  <a:lnTo>
                    <a:pt x="595" y="20"/>
                  </a:lnTo>
                  <a:lnTo>
                    <a:pt x="592" y="22"/>
                  </a:lnTo>
                  <a:lnTo>
                    <a:pt x="591" y="23"/>
                  </a:lnTo>
                  <a:lnTo>
                    <a:pt x="591" y="23"/>
                  </a:lnTo>
                  <a:lnTo>
                    <a:pt x="590" y="23"/>
                  </a:lnTo>
                  <a:lnTo>
                    <a:pt x="590" y="23"/>
                  </a:lnTo>
                  <a:lnTo>
                    <a:pt x="585" y="22"/>
                  </a:lnTo>
                  <a:lnTo>
                    <a:pt x="584" y="20"/>
                  </a:lnTo>
                  <a:lnTo>
                    <a:pt x="584" y="20"/>
                  </a:lnTo>
                  <a:lnTo>
                    <a:pt x="581" y="17"/>
                  </a:lnTo>
                  <a:lnTo>
                    <a:pt x="581" y="17"/>
                  </a:lnTo>
                  <a:lnTo>
                    <a:pt x="577" y="17"/>
                  </a:lnTo>
                  <a:lnTo>
                    <a:pt x="577" y="17"/>
                  </a:lnTo>
                  <a:lnTo>
                    <a:pt x="562" y="17"/>
                  </a:lnTo>
                  <a:lnTo>
                    <a:pt x="551" y="19"/>
                  </a:lnTo>
                  <a:lnTo>
                    <a:pt x="544" y="20"/>
                  </a:lnTo>
                  <a:lnTo>
                    <a:pt x="544" y="20"/>
                  </a:lnTo>
                  <a:lnTo>
                    <a:pt x="542" y="22"/>
                  </a:lnTo>
                  <a:lnTo>
                    <a:pt x="540" y="22"/>
                  </a:lnTo>
                  <a:lnTo>
                    <a:pt x="540" y="22"/>
                  </a:lnTo>
                  <a:lnTo>
                    <a:pt x="535" y="22"/>
                  </a:lnTo>
                  <a:lnTo>
                    <a:pt x="532" y="25"/>
                  </a:lnTo>
                  <a:lnTo>
                    <a:pt x="532" y="25"/>
                  </a:lnTo>
                  <a:lnTo>
                    <a:pt x="528" y="26"/>
                  </a:lnTo>
                  <a:lnTo>
                    <a:pt x="520" y="26"/>
                  </a:lnTo>
                  <a:lnTo>
                    <a:pt x="502" y="27"/>
                  </a:lnTo>
                  <a:lnTo>
                    <a:pt x="502" y="27"/>
                  </a:lnTo>
                  <a:lnTo>
                    <a:pt x="490" y="27"/>
                  </a:lnTo>
                  <a:lnTo>
                    <a:pt x="485" y="29"/>
                  </a:lnTo>
                  <a:lnTo>
                    <a:pt x="485" y="29"/>
                  </a:lnTo>
                  <a:lnTo>
                    <a:pt x="481" y="30"/>
                  </a:lnTo>
                  <a:lnTo>
                    <a:pt x="481" y="30"/>
                  </a:lnTo>
                  <a:lnTo>
                    <a:pt x="467" y="39"/>
                  </a:lnTo>
                  <a:lnTo>
                    <a:pt x="461" y="45"/>
                  </a:lnTo>
                  <a:lnTo>
                    <a:pt x="458" y="49"/>
                  </a:lnTo>
                  <a:lnTo>
                    <a:pt x="458" y="49"/>
                  </a:lnTo>
                  <a:lnTo>
                    <a:pt x="457" y="49"/>
                  </a:lnTo>
                  <a:lnTo>
                    <a:pt x="457" y="49"/>
                  </a:lnTo>
                  <a:lnTo>
                    <a:pt x="455" y="49"/>
                  </a:lnTo>
                  <a:lnTo>
                    <a:pt x="455" y="49"/>
                  </a:lnTo>
                  <a:lnTo>
                    <a:pt x="452" y="47"/>
                  </a:lnTo>
                  <a:lnTo>
                    <a:pt x="450" y="46"/>
                  </a:lnTo>
                  <a:lnTo>
                    <a:pt x="450" y="46"/>
                  </a:lnTo>
                  <a:lnTo>
                    <a:pt x="447" y="47"/>
                  </a:lnTo>
                  <a:lnTo>
                    <a:pt x="447" y="47"/>
                  </a:lnTo>
                  <a:lnTo>
                    <a:pt x="444" y="49"/>
                  </a:lnTo>
                  <a:lnTo>
                    <a:pt x="442" y="50"/>
                  </a:lnTo>
                  <a:lnTo>
                    <a:pt x="442" y="55"/>
                  </a:lnTo>
                  <a:lnTo>
                    <a:pt x="442" y="55"/>
                  </a:lnTo>
                  <a:lnTo>
                    <a:pt x="441" y="52"/>
                  </a:lnTo>
                  <a:lnTo>
                    <a:pt x="440" y="50"/>
                  </a:lnTo>
                  <a:lnTo>
                    <a:pt x="438" y="50"/>
                  </a:lnTo>
                  <a:lnTo>
                    <a:pt x="438" y="50"/>
                  </a:lnTo>
                  <a:lnTo>
                    <a:pt x="435" y="52"/>
                  </a:lnTo>
                  <a:lnTo>
                    <a:pt x="435" y="52"/>
                  </a:lnTo>
                  <a:lnTo>
                    <a:pt x="431" y="55"/>
                  </a:lnTo>
                  <a:lnTo>
                    <a:pt x="428" y="60"/>
                  </a:lnTo>
                  <a:lnTo>
                    <a:pt x="428" y="60"/>
                  </a:lnTo>
                  <a:lnTo>
                    <a:pt x="422" y="66"/>
                  </a:lnTo>
                  <a:lnTo>
                    <a:pt x="420" y="69"/>
                  </a:lnTo>
                  <a:lnTo>
                    <a:pt x="418" y="70"/>
                  </a:lnTo>
                  <a:lnTo>
                    <a:pt x="418" y="70"/>
                  </a:lnTo>
                  <a:lnTo>
                    <a:pt x="414" y="69"/>
                  </a:lnTo>
                  <a:lnTo>
                    <a:pt x="414" y="69"/>
                  </a:lnTo>
                  <a:lnTo>
                    <a:pt x="410" y="67"/>
                  </a:lnTo>
                  <a:lnTo>
                    <a:pt x="408" y="69"/>
                  </a:lnTo>
                  <a:lnTo>
                    <a:pt x="408" y="69"/>
                  </a:lnTo>
                  <a:lnTo>
                    <a:pt x="407" y="70"/>
                  </a:lnTo>
                  <a:lnTo>
                    <a:pt x="407" y="70"/>
                  </a:lnTo>
                  <a:lnTo>
                    <a:pt x="404" y="70"/>
                  </a:lnTo>
                  <a:lnTo>
                    <a:pt x="404" y="70"/>
                  </a:lnTo>
                  <a:lnTo>
                    <a:pt x="400" y="70"/>
                  </a:lnTo>
                  <a:lnTo>
                    <a:pt x="395" y="70"/>
                  </a:lnTo>
                  <a:lnTo>
                    <a:pt x="395" y="70"/>
                  </a:lnTo>
                  <a:lnTo>
                    <a:pt x="392" y="72"/>
                  </a:lnTo>
                  <a:lnTo>
                    <a:pt x="392" y="72"/>
                  </a:lnTo>
                  <a:lnTo>
                    <a:pt x="392" y="72"/>
                  </a:lnTo>
                  <a:lnTo>
                    <a:pt x="392" y="72"/>
                  </a:lnTo>
                  <a:lnTo>
                    <a:pt x="392" y="69"/>
                  </a:lnTo>
                  <a:lnTo>
                    <a:pt x="392" y="69"/>
                  </a:lnTo>
                  <a:lnTo>
                    <a:pt x="394" y="66"/>
                  </a:lnTo>
                  <a:lnTo>
                    <a:pt x="392" y="65"/>
                  </a:lnTo>
                  <a:lnTo>
                    <a:pt x="391" y="63"/>
                  </a:lnTo>
                  <a:lnTo>
                    <a:pt x="391" y="63"/>
                  </a:lnTo>
                  <a:lnTo>
                    <a:pt x="390" y="62"/>
                  </a:lnTo>
                  <a:lnTo>
                    <a:pt x="390" y="62"/>
                  </a:lnTo>
                  <a:lnTo>
                    <a:pt x="387" y="63"/>
                  </a:lnTo>
                  <a:lnTo>
                    <a:pt x="384" y="65"/>
                  </a:lnTo>
                  <a:lnTo>
                    <a:pt x="384" y="65"/>
                  </a:lnTo>
                  <a:lnTo>
                    <a:pt x="380" y="67"/>
                  </a:lnTo>
                  <a:lnTo>
                    <a:pt x="380" y="67"/>
                  </a:lnTo>
                  <a:lnTo>
                    <a:pt x="380" y="67"/>
                  </a:lnTo>
                  <a:lnTo>
                    <a:pt x="380" y="67"/>
                  </a:lnTo>
                  <a:lnTo>
                    <a:pt x="374" y="66"/>
                  </a:lnTo>
                  <a:lnTo>
                    <a:pt x="374" y="66"/>
                  </a:lnTo>
                  <a:lnTo>
                    <a:pt x="365" y="67"/>
                  </a:lnTo>
                  <a:lnTo>
                    <a:pt x="365" y="67"/>
                  </a:lnTo>
                  <a:lnTo>
                    <a:pt x="354" y="67"/>
                  </a:lnTo>
                  <a:lnTo>
                    <a:pt x="354" y="67"/>
                  </a:lnTo>
                  <a:lnTo>
                    <a:pt x="348" y="66"/>
                  </a:lnTo>
                  <a:lnTo>
                    <a:pt x="348" y="66"/>
                  </a:lnTo>
                  <a:lnTo>
                    <a:pt x="345" y="66"/>
                  </a:lnTo>
                  <a:lnTo>
                    <a:pt x="345" y="66"/>
                  </a:lnTo>
                  <a:lnTo>
                    <a:pt x="341" y="66"/>
                  </a:lnTo>
                  <a:lnTo>
                    <a:pt x="340" y="63"/>
                  </a:lnTo>
                  <a:lnTo>
                    <a:pt x="338" y="60"/>
                  </a:lnTo>
                  <a:lnTo>
                    <a:pt x="338" y="60"/>
                  </a:lnTo>
                  <a:lnTo>
                    <a:pt x="337" y="57"/>
                  </a:lnTo>
                  <a:lnTo>
                    <a:pt x="337" y="57"/>
                  </a:lnTo>
                  <a:lnTo>
                    <a:pt x="337" y="57"/>
                  </a:lnTo>
                  <a:lnTo>
                    <a:pt x="338" y="56"/>
                  </a:lnTo>
                  <a:lnTo>
                    <a:pt x="338" y="56"/>
                  </a:lnTo>
                  <a:lnTo>
                    <a:pt x="337" y="55"/>
                  </a:lnTo>
                  <a:lnTo>
                    <a:pt x="334" y="52"/>
                  </a:lnTo>
                  <a:lnTo>
                    <a:pt x="334" y="52"/>
                  </a:lnTo>
                  <a:lnTo>
                    <a:pt x="327" y="47"/>
                  </a:lnTo>
                  <a:lnTo>
                    <a:pt x="321" y="46"/>
                  </a:lnTo>
                  <a:lnTo>
                    <a:pt x="321" y="46"/>
                  </a:lnTo>
                  <a:lnTo>
                    <a:pt x="318" y="47"/>
                  </a:lnTo>
                  <a:lnTo>
                    <a:pt x="318" y="47"/>
                  </a:lnTo>
                  <a:lnTo>
                    <a:pt x="317" y="47"/>
                  </a:lnTo>
                  <a:lnTo>
                    <a:pt x="317" y="47"/>
                  </a:lnTo>
                  <a:lnTo>
                    <a:pt x="314" y="49"/>
                  </a:lnTo>
                  <a:lnTo>
                    <a:pt x="312" y="50"/>
                  </a:lnTo>
                  <a:lnTo>
                    <a:pt x="312" y="52"/>
                  </a:lnTo>
                  <a:lnTo>
                    <a:pt x="312" y="52"/>
                  </a:lnTo>
                  <a:lnTo>
                    <a:pt x="312" y="53"/>
                  </a:lnTo>
                  <a:lnTo>
                    <a:pt x="312" y="53"/>
                  </a:lnTo>
                  <a:lnTo>
                    <a:pt x="312" y="57"/>
                  </a:lnTo>
                  <a:lnTo>
                    <a:pt x="310" y="66"/>
                  </a:lnTo>
                  <a:lnTo>
                    <a:pt x="310" y="66"/>
                  </a:lnTo>
                  <a:lnTo>
                    <a:pt x="307" y="75"/>
                  </a:lnTo>
                  <a:lnTo>
                    <a:pt x="307" y="75"/>
                  </a:lnTo>
                  <a:lnTo>
                    <a:pt x="304" y="82"/>
                  </a:lnTo>
                  <a:lnTo>
                    <a:pt x="302" y="85"/>
                  </a:lnTo>
                  <a:lnTo>
                    <a:pt x="301" y="86"/>
                  </a:lnTo>
                  <a:lnTo>
                    <a:pt x="301" y="86"/>
                  </a:lnTo>
                  <a:lnTo>
                    <a:pt x="291" y="95"/>
                  </a:lnTo>
                  <a:lnTo>
                    <a:pt x="285" y="100"/>
                  </a:lnTo>
                  <a:lnTo>
                    <a:pt x="285" y="100"/>
                  </a:lnTo>
                  <a:lnTo>
                    <a:pt x="282" y="105"/>
                  </a:lnTo>
                  <a:lnTo>
                    <a:pt x="277" y="107"/>
                  </a:lnTo>
                  <a:lnTo>
                    <a:pt x="267" y="113"/>
                  </a:lnTo>
                  <a:lnTo>
                    <a:pt x="267" y="113"/>
                  </a:lnTo>
                  <a:lnTo>
                    <a:pt x="262" y="115"/>
                  </a:lnTo>
                  <a:lnTo>
                    <a:pt x="262" y="115"/>
                  </a:lnTo>
                  <a:lnTo>
                    <a:pt x="255" y="119"/>
                  </a:lnTo>
                  <a:lnTo>
                    <a:pt x="255" y="119"/>
                  </a:lnTo>
                  <a:lnTo>
                    <a:pt x="251" y="120"/>
                  </a:lnTo>
                  <a:lnTo>
                    <a:pt x="251" y="120"/>
                  </a:lnTo>
                  <a:lnTo>
                    <a:pt x="248" y="122"/>
                  </a:lnTo>
                  <a:lnTo>
                    <a:pt x="245" y="125"/>
                  </a:lnTo>
                  <a:lnTo>
                    <a:pt x="245" y="125"/>
                  </a:lnTo>
                  <a:lnTo>
                    <a:pt x="241" y="132"/>
                  </a:lnTo>
                  <a:lnTo>
                    <a:pt x="240" y="135"/>
                  </a:lnTo>
                  <a:lnTo>
                    <a:pt x="237" y="135"/>
                  </a:lnTo>
                  <a:lnTo>
                    <a:pt x="237" y="135"/>
                  </a:lnTo>
                  <a:lnTo>
                    <a:pt x="234" y="136"/>
                  </a:lnTo>
                  <a:lnTo>
                    <a:pt x="231" y="137"/>
                  </a:lnTo>
                  <a:lnTo>
                    <a:pt x="230" y="140"/>
                  </a:lnTo>
                  <a:lnTo>
                    <a:pt x="228" y="145"/>
                  </a:lnTo>
                  <a:lnTo>
                    <a:pt x="228" y="145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4" y="156"/>
                  </a:lnTo>
                  <a:lnTo>
                    <a:pt x="224" y="156"/>
                  </a:lnTo>
                  <a:lnTo>
                    <a:pt x="221" y="160"/>
                  </a:lnTo>
                  <a:lnTo>
                    <a:pt x="221" y="160"/>
                  </a:lnTo>
                  <a:lnTo>
                    <a:pt x="217" y="163"/>
                  </a:lnTo>
                  <a:lnTo>
                    <a:pt x="214" y="166"/>
                  </a:lnTo>
                  <a:lnTo>
                    <a:pt x="214" y="169"/>
                  </a:lnTo>
                  <a:lnTo>
                    <a:pt x="214" y="169"/>
                  </a:lnTo>
                  <a:lnTo>
                    <a:pt x="210" y="175"/>
                  </a:lnTo>
                  <a:lnTo>
                    <a:pt x="210" y="175"/>
                  </a:lnTo>
                  <a:lnTo>
                    <a:pt x="207" y="183"/>
                  </a:lnTo>
                  <a:lnTo>
                    <a:pt x="207" y="187"/>
                  </a:lnTo>
                  <a:lnTo>
                    <a:pt x="208" y="190"/>
                  </a:lnTo>
                  <a:lnTo>
                    <a:pt x="208" y="190"/>
                  </a:lnTo>
                  <a:lnTo>
                    <a:pt x="211" y="196"/>
                  </a:lnTo>
                  <a:lnTo>
                    <a:pt x="212" y="200"/>
                  </a:lnTo>
                  <a:lnTo>
                    <a:pt x="214" y="206"/>
                  </a:lnTo>
                  <a:lnTo>
                    <a:pt x="212" y="213"/>
                  </a:lnTo>
                  <a:lnTo>
                    <a:pt x="212" y="213"/>
                  </a:lnTo>
                  <a:lnTo>
                    <a:pt x="208" y="225"/>
                  </a:lnTo>
                  <a:lnTo>
                    <a:pt x="204" y="230"/>
                  </a:lnTo>
                  <a:lnTo>
                    <a:pt x="200" y="235"/>
                  </a:lnTo>
                  <a:lnTo>
                    <a:pt x="200" y="235"/>
                  </a:lnTo>
                  <a:lnTo>
                    <a:pt x="197" y="239"/>
                  </a:lnTo>
                  <a:lnTo>
                    <a:pt x="194" y="243"/>
                  </a:lnTo>
                  <a:lnTo>
                    <a:pt x="194" y="243"/>
                  </a:lnTo>
                  <a:lnTo>
                    <a:pt x="190" y="249"/>
                  </a:lnTo>
                  <a:lnTo>
                    <a:pt x="188" y="252"/>
                  </a:lnTo>
                  <a:lnTo>
                    <a:pt x="185" y="252"/>
                  </a:lnTo>
                  <a:lnTo>
                    <a:pt x="185" y="252"/>
                  </a:lnTo>
                  <a:lnTo>
                    <a:pt x="178" y="255"/>
                  </a:lnTo>
                  <a:lnTo>
                    <a:pt x="174" y="259"/>
                  </a:lnTo>
                  <a:lnTo>
                    <a:pt x="174" y="260"/>
                  </a:lnTo>
                  <a:lnTo>
                    <a:pt x="174" y="260"/>
                  </a:lnTo>
                  <a:lnTo>
                    <a:pt x="168" y="267"/>
                  </a:lnTo>
                  <a:lnTo>
                    <a:pt x="165" y="269"/>
                  </a:lnTo>
                  <a:lnTo>
                    <a:pt x="162" y="270"/>
                  </a:lnTo>
                  <a:lnTo>
                    <a:pt x="157" y="272"/>
                  </a:lnTo>
                  <a:lnTo>
                    <a:pt x="157" y="272"/>
                  </a:lnTo>
                  <a:lnTo>
                    <a:pt x="137" y="277"/>
                  </a:lnTo>
                  <a:lnTo>
                    <a:pt x="137" y="277"/>
                  </a:lnTo>
                  <a:lnTo>
                    <a:pt x="130" y="280"/>
                  </a:lnTo>
                  <a:lnTo>
                    <a:pt x="124" y="285"/>
                  </a:lnTo>
                  <a:lnTo>
                    <a:pt x="124" y="285"/>
                  </a:lnTo>
                  <a:lnTo>
                    <a:pt x="121" y="286"/>
                  </a:lnTo>
                  <a:lnTo>
                    <a:pt x="121" y="286"/>
                  </a:lnTo>
                  <a:lnTo>
                    <a:pt x="118" y="289"/>
                  </a:lnTo>
                  <a:lnTo>
                    <a:pt x="117" y="293"/>
                  </a:lnTo>
                  <a:lnTo>
                    <a:pt x="117" y="293"/>
                  </a:lnTo>
                  <a:lnTo>
                    <a:pt x="115" y="300"/>
                  </a:lnTo>
                  <a:lnTo>
                    <a:pt x="112" y="309"/>
                  </a:lnTo>
                  <a:lnTo>
                    <a:pt x="112" y="309"/>
                  </a:lnTo>
                  <a:lnTo>
                    <a:pt x="111" y="312"/>
                  </a:lnTo>
                  <a:lnTo>
                    <a:pt x="110" y="314"/>
                  </a:lnTo>
                  <a:lnTo>
                    <a:pt x="110" y="314"/>
                  </a:lnTo>
                  <a:lnTo>
                    <a:pt x="110" y="317"/>
                  </a:lnTo>
                  <a:lnTo>
                    <a:pt x="105" y="320"/>
                  </a:lnTo>
                  <a:lnTo>
                    <a:pt x="105" y="320"/>
                  </a:lnTo>
                  <a:lnTo>
                    <a:pt x="100" y="320"/>
                  </a:lnTo>
                  <a:lnTo>
                    <a:pt x="100" y="320"/>
                  </a:lnTo>
                  <a:lnTo>
                    <a:pt x="97" y="322"/>
                  </a:lnTo>
                  <a:lnTo>
                    <a:pt x="94" y="323"/>
                  </a:lnTo>
                  <a:lnTo>
                    <a:pt x="91" y="326"/>
                  </a:lnTo>
                  <a:lnTo>
                    <a:pt x="88" y="330"/>
                  </a:lnTo>
                  <a:lnTo>
                    <a:pt x="88" y="330"/>
                  </a:lnTo>
                  <a:lnTo>
                    <a:pt x="82" y="344"/>
                  </a:lnTo>
                  <a:lnTo>
                    <a:pt x="82" y="344"/>
                  </a:lnTo>
                  <a:lnTo>
                    <a:pt x="78" y="353"/>
                  </a:lnTo>
                  <a:lnTo>
                    <a:pt x="78" y="353"/>
                  </a:lnTo>
                  <a:lnTo>
                    <a:pt x="77" y="357"/>
                  </a:lnTo>
                  <a:lnTo>
                    <a:pt x="77" y="360"/>
                  </a:lnTo>
                  <a:lnTo>
                    <a:pt x="77" y="360"/>
                  </a:lnTo>
                  <a:lnTo>
                    <a:pt x="77" y="364"/>
                  </a:lnTo>
                  <a:lnTo>
                    <a:pt x="74" y="372"/>
                  </a:lnTo>
                  <a:lnTo>
                    <a:pt x="74" y="372"/>
                  </a:lnTo>
                  <a:lnTo>
                    <a:pt x="72" y="376"/>
                  </a:lnTo>
                  <a:lnTo>
                    <a:pt x="72" y="379"/>
                  </a:lnTo>
                  <a:lnTo>
                    <a:pt x="72" y="379"/>
                  </a:lnTo>
                  <a:lnTo>
                    <a:pt x="72" y="380"/>
                  </a:lnTo>
                  <a:lnTo>
                    <a:pt x="72" y="382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57" y="390"/>
                  </a:lnTo>
                  <a:lnTo>
                    <a:pt x="51" y="394"/>
                  </a:lnTo>
                  <a:lnTo>
                    <a:pt x="48" y="400"/>
                  </a:lnTo>
                  <a:lnTo>
                    <a:pt x="47" y="404"/>
                  </a:lnTo>
                  <a:lnTo>
                    <a:pt x="47" y="404"/>
                  </a:lnTo>
                  <a:lnTo>
                    <a:pt x="47" y="404"/>
                  </a:lnTo>
                  <a:lnTo>
                    <a:pt x="45" y="412"/>
                  </a:lnTo>
                  <a:lnTo>
                    <a:pt x="45" y="412"/>
                  </a:lnTo>
                  <a:lnTo>
                    <a:pt x="42" y="420"/>
                  </a:lnTo>
                  <a:lnTo>
                    <a:pt x="42" y="420"/>
                  </a:lnTo>
                  <a:lnTo>
                    <a:pt x="41" y="423"/>
                  </a:lnTo>
                  <a:lnTo>
                    <a:pt x="41" y="423"/>
                  </a:lnTo>
                  <a:lnTo>
                    <a:pt x="40" y="426"/>
                  </a:lnTo>
                  <a:lnTo>
                    <a:pt x="38" y="432"/>
                  </a:lnTo>
                  <a:lnTo>
                    <a:pt x="38" y="432"/>
                  </a:lnTo>
                  <a:lnTo>
                    <a:pt x="38" y="437"/>
                  </a:lnTo>
                  <a:lnTo>
                    <a:pt x="35" y="440"/>
                  </a:lnTo>
                  <a:lnTo>
                    <a:pt x="34" y="440"/>
                  </a:lnTo>
                  <a:lnTo>
                    <a:pt x="34" y="440"/>
                  </a:lnTo>
                  <a:lnTo>
                    <a:pt x="28" y="444"/>
                  </a:lnTo>
                  <a:lnTo>
                    <a:pt x="28" y="444"/>
                  </a:lnTo>
                  <a:lnTo>
                    <a:pt x="21" y="449"/>
                  </a:lnTo>
                  <a:lnTo>
                    <a:pt x="20" y="452"/>
                  </a:lnTo>
                  <a:lnTo>
                    <a:pt x="18" y="456"/>
                  </a:lnTo>
                  <a:lnTo>
                    <a:pt x="18" y="456"/>
                  </a:lnTo>
                  <a:lnTo>
                    <a:pt x="15" y="474"/>
                  </a:lnTo>
                  <a:lnTo>
                    <a:pt x="15" y="474"/>
                  </a:lnTo>
                  <a:lnTo>
                    <a:pt x="14" y="477"/>
                  </a:lnTo>
                  <a:lnTo>
                    <a:pt x="14" y="480"/>
                  </a:lnTo>
                  <a:lnTo>
                    <a:pt x="14" y="480"/>
                  </a:lnTo>
                  <a:lnTo>
                    <a:pt x="17" y="486"/>
                  </a:lnTo>
                  <a:lnTo>
                    <a:pt x="20" y="490"/>
                  </a:lnTo>
                  <a:lnTo>
                    <a:pt x="24" y="494"/>
                  </a:lnTo>
                  <a:lnTo>
                    <a:pt x="28" y="497"/>
                  </a:lnTo>
                  <a:lnTo>
                    <a:pt x="28" y="497"/>
                  </a:lnTo>
                  <a:lnTo>
                    <a:pt x="30" y="499"/>
                  </a:lnTo>
                  <a:lnTo>
                    <a:pt x="31" y="500"/>
                  </a:lnTo>
                  <a:lnTo>
                    <a:pt x="31" y="500"/>
                  </a:lnTo>
                  <a:lnTo>
                    <a:pt x="31" y="503"/>
                  </a:lnTo>
                  <a:lnTo>
                    <a:pt x="32" y="506"/>
                  </a:lnTo>
                  <a:lnTo>
                    <a:pt x="32" y="506"/>
                  </a:lnTo>
                  <a:lnTo>
                    <a:pt x="34" y="506"/>
                  </a:lnTo>
                  <a:lnTo>
                    <a:pt x="34" y="506"/>
                  </a:lnTo>
                  <a:lnTo>
                    <a:pt x="34" y="507"/>
                  </a:lnTo>
                  <a:lnTo>
                    <a:pt x="34" y="507"/>
                  </a:lnTo>
                  <a:lnTo>
                    <a:pt x="34" y="512"/>
                  </a:lnTo>
                  <a:lnTo>
                    <a:pt x="34" y="512"/>
                  </a:lnTo>
                  <a:lnTo>
                    <a:pt x="32" y="514"/>
                  </a:lnTo>
                  <a:lnTo>
                    <a:pt x="30" y="519"/>
                  </a:lnTo>
                  <a:lnTo>
                    <a:pt x="25" y="524"/>
                  </a:lnTo>
                  <a:lnTo>
                    <a:pt x="25" y="524"/>
                  </a:lnTo>
                  <a:lnTo>
                    <a:pt x="24" y="527"/>
                  </a:lnTo>
                  <a:lnTo>
                    <a:pt x="24" y="530"/>
                  </a:lnTo>
                  <a:lnTo>
                    <a:pt x="24" y="530"/>
                  </a:lnTo>
                  <a:lnTo>
                    <a:pt x="24" y="533"/>
                  </a:lnTo>
                  <a:lnTo>
                    <a:pt x="28" y="539"/>
                  </a:lnTo>
                  <a:lnTo>
                    <a:pt x="28" y="539"/>
                  </a:lnTo>
                  <a:lnTo>
                    <a:pt x="30" y="540"/>
                  </a:lnTo>
                  <a:lnTo>
                    <a:pt x="31" y="543"/>
                  </a:lnTo>
                  <a:lnTo>
                    <a:pt x="31" y="543"/>
                  </a:lnTo>
                  <a:lnTo>
                    <a:pt x="31" y="544"/>
                  </a:lnTo>
                  <a:lnTo>
                    <a:pt x="34" y="547"/>
                  </a:lnTo>
                  <a:lnTo>
                    <a:pt x="34" y="547"/>
                  </a:lnTo>
                  <a:lnTo>
                    <a:pt x="35" y="552"/>
                  </a:lnTo>
                  <a:lnTo>
                    <a:pt x="35" y="556"/>
                  </a:lnTo>
                  <a:lnTo>
                    <a:pt x="35" y="556"/>
                  </a:lnTo>
                  <a:lnTo>
                    <a:pt x="37" y="563"/>
                  </a:lnTo>
                  <a:lnTo>
                    <a:pt x="37" y="563"/>
                  </a:lnTo>
                  <a:lnTo>
                    <a:pt x="37" y="569"/>
                  </a:lnTo>
                  <a:lnTo>
                    <a:pt x="37" y="570"/>
                  </a:lnTo>
                  <a:lnTo>
                    <a:pt x="37" y="570"/>
                  </a:lnTo>
                  <a:lnTo>
                    <a:pt x="35" y="572"/>
                  </a:lnTo>
                  <a:lnTo>
                    <a:pt x="35" y="574"/>
                  </a:lnTo>
                  <a:lnTo>
                    <a:pt x="34" y="580"/>
                  </a:lnTo>
                  <a:lnTo>
                    <a:pt x="34" y="580"/>
                  </a:lnTo>
                  <a:lnTo>
                    <a:pt x="34" y="586"/>
                  </a:lnTo>
                  <a:lnTo>
                    <a:pt x="34" y="586"/>
                  </a:lnTo>
                  <a:lnTo>
                    <a:pt x="32" y="593"/>
                  </a:lnTo>
                  <a:lnTo>
                    <a:pt x="32" y="593"/>
                  </a:lnTo>
                  <a:lnTo>
                    <a:pt x="31" y="599"/>
                  </a:lnTo>
                  <a:lnTo>
                    <a:pt x="28" y="604"/>
                  </a:lnTo>
                  <a:lnTo>
                    <a:pt x="28" y="604"/>
                  </a:lnTo>
                  <a:lnTo>
                    <a:pt x="25" y="610"/>
                  </a:lnTo>
                  <a:lnTo>
                    <a:pt x="24" y="613"/>
                  </a:lnTo>
                  <a:lnTo>
                    <a:pt x="24" y="613"/>
                  </a:lnTo>
                  <a:lnTo>
                    <a:pt x="22" y="616"/>
                  </a:lnTo>
                  <a:lnTo>
                    <a:pt x="21" y="617"/>
                  </a:lnTo>
                  <a:lnTo>
                    <a:pt x="21" y="617"/>
                  </a:lnTo>
                  <a:lnTo>
                    <a:pt x="20" y="622"/>
                  </a:lnTo>
                  <a:lnTo>
                    <a:pt x="18" y="626"/>
                  </a:lnTo>
                  <a:lnTo>
                    <a:pt x="21" y="634"/>
                  </a:lnTo>
                  <a:lnTo>
                    <a:pt x="21" y="634"/>
                  </a:lnTo>
                  <a:lnTo>
                    <a:pt x="12" y="649"/>
                  </a:lnTo>
                  <a:lnTo>
                    <a:pt x="7" y="659"/>
                  </a:lnTo>
                  <a:lnTo>
                    <a:pt x="1" y="666"/>
                  </a:lnTo>
                  <a:lnTo>
                    <a:pt x="0" y="667"/>
                  </a:lnTo>
                  <a:lnTo>
                    <a:pt x="1" y="669"/>
                  </a:lnTo>
                  <a:lnTo>
                    <a:pt x="1" y="669"/>
                  </a:lnTo>
                  <a:lnTo>
                    <a:pt x="12" y="692"/>
                  </a:lnTo>
                  <a:lnTo>
                    <a:pt x="15" y="694"/>
                  </a:lnTo>
                  <a:lnTo>
                    <a:pt x="17" y="694"/>
                  </a:lnTo>
                  <a:lnTo>
                    <a:pt x="17" y="694"/>
                  </a:lnTo>
                  <a:lnTo>
                    <a:pt x="18" y="693"/>
                  </a:lnTo>
                  <a:lnTo>
                    <a:pt x="22" y="690"/>
                  </a:lnTo>
                  <a:lnTo>
                    <a:pt x="22" y="690"/>
                  </a:lnTo>
                  <a:lnTo>
                    <a:pt x="21" y="697"/>
                  </a:lnTo>
                  <a:lnTo>
                    <a:pt x="21" y="702"/>
                  </a:lnTo>
                  <a:lnTo>
                    <a:pt x="21" y="702"/>
                  </a:lnTo>
                  <a:lnTo>
                    <a:pt x="18" y="704"/>
                  </a:lnTo>
                  <a:lnTo>
                    <a:pt x="18" y="704"/>
                  </a:lnTo>
                  <a:lnTo>
                    <a:pt x="15" y="707"/>
                  </a:lnTo>
                  <a:lnTo>
                    <a:pt x="14" y="710"/>
                  </a:lnTo>
                  <a:lnTo>
                    <a:pt x="14" y="713"/>
                  </a:lnTo>
                  <a:lnTo>
                    <a:pt x="14" y="713"/>
                  </a:lnTo>
                  <a:lnTo>
                    <a:pt x="12" y="719"/>
                  </a:lnTo>
                  <a:lnTo>
                    <a:pt x="12" y="719"/>
                  </a:lnTo>
                  <a:lnTo>
                    <a:pt x="11" y="727"/>
                  </a:lnTo>
                  <a:lnTo>
                    <a:pt x="12" y="733"/>
                  </a:lnTo>
                  <a:lnTo>
                    <a:pt x="14" y="739"/>
                  </a:lnTo>
                  <a:lnTo>
                    <a:pt x="14" y="739"/>
                  </a:lnTo>
                  <a:lnTo>
                    <a:pt x="17" y="743"/>
                  </a:lnTo>
                  <a:lnTo>
                    <a:pt x="17" y="743"/>
                  </a:lnTo>
                  <a:lnTo>
                    <a:pt x="20" y="746"/>
                  </a:lnTo>
                  <a:lnTo>
                    <a:pt x="21" y="749"/>
                  </a:lnTo>
                  <a:lnTo>
                    <a:pt x="21" y="749"/>
                  </a:lnTo>
                  <a:lnTo>
                    <a:pt x="24" y="753"/>
                  </a:lnTo>
                  <a:lnTo>
                    <a:pt x="28" y="756"/>
                  </a:lnTo>
                  <a:lnTo>
                    <a:pt x="28" y="756"/>
                  </a:lnTo>
                  <a:lnTo>
                    <a:pt x="32" y="756"/>
                  </a:lnTo>
                  <a:lnTo>
                    <a:pt x="32" y="756"/>
                  </a:lnTo>
                  <a:lnTo>
                    <a:pt x="35" y="756"/>
                  </a:lnTo>
                  <a:lnTo>
                    <a:pt x="37" y="754"/>
                  </a:lnTo>
                  <a:lnTo>
                    <a:pt x="37" y="754"/>
                  </a:lnTo>
                  <a:lnTo>
                    <a:pt x="38" y="753"/>
                  </a:lnTo>
                  <a:lnTo>
                    <a:pt x="38" y="753"/>
                  </a:lnTo>
                  <a:lnTo>
                    <a:pt x="41" y="751"/>
                  </a:lnTo>
                  <a:lnTo>
                    <a:pt x="47" y="750"/>
                  </a:lnTo>
                  <a:lnTo>
                    <a:pt x="47" y="750"/>
                  </a:lnTo>
                  <a:lnTo>
                    <a:pt x="47" y="750"/>
                  </a:lnTo>
                  <a:lnTo>
                    <a:pt x="48" y="750"/>
                  </a:lnTo>
                  <a:lnTo>
                    <a:pt x="48" y="750"/>
                  </a:lnTo>
                  <a:lnTo>
                    <a:pt x="52" y="750"/>
                  </a:lnTo>
                  <a:lnTo>
                    <a:pt x="52" y="750"/>
                  </a:lnTo>
                  <a:lnTo>
                    <a:pt x="54" y="750"/>
                  </a:lnTo>
                  <a:lnTo>
                    <a:pt x="54" y="750"/>
                  </a:lnTo>
                  <a:lnTo>
                    <a:pt x="55" y="750"/>
                  </a:lnTo>
                  <a:lnTo>
                    <a:pt x="55" y="750"/>
                  </a:lnTo>
                  <a:lnTo>
                    <a:pt x="55" y="750"/>
                  </a:lnTo>
                  <a:lnTo>
                    <a:pt x="55" y="750"/>
                  </a:lnTo>
                  <a:lnTo>
                    <a:pt x="55" y="753"/>
                  </a:lnTo>
                  <a:lnTo>
                    <a:pt x="55" y="754"/>
                  </a:lnTo>
                  <a:lnTo>
                    <a:pt x="55" y="754"/>
                  </a:lnTo>
                  <a:lnTo>
                    <a:pt x="52" y="757"/>
                  </a:lnTo>
                  <a:lnTo>
                    <a:pt x="52" y="757"/>
                  </a:lnTo>
                  <a:lnTo>
                    <a:pt x="51" y="760"/>
                  </a:lnTo>
                  <a:lnTo>
                    <a:pt x="50" y="764"/>
                  </a:lnTo>
                  <a:lnTo>
                    <a:pt x="50" y="764"/>
                  </a:lnTo>
                  <a:lnTo>
                    <a:pt x="50" y="767"/>
                  </a:lnTo>
                  <a:lnTo>
                    <a:pt x="50" y="767"/>
                  </a:lnTo>
                  <a:lnTo>
                    <a:pt x="48" y="770"/>
                  </a:lnTo>
                  <a:lnTo>
                    <a:pt x="50" y="773"/>
                  </a:lnTo>
                  <a:lnTo>
                    <a:pt x="50" y="773"/>
                  </a:lnTo>
                  <a:lnTo>
                    <a:pt x="52" y="777"/>
                  </a:lnTo>
                  <a:lnTo>
                    <a:pt x="58" y="779"/>
                  </a:lnTo>
                  <a:lnTo>
                    <a:pt x="58" y="779"/>
                  </a:lnTo>
                  <a:lnTo>
                    <a:pt x="58" y="780"/>
                  </a:lnTo>
                  <a:lnTo>
                    <a:pt x="60" y="779"/>
                  </a:lnTo>
                  <a:lnTo>
                    <a:pt x="60" y="779"/>
                  </a:lnTo>
                  <a:lnTo>
                    <a:pt x="60" y="779"/>
                  </a:lnTo>
                  <a:lnTo>
                    <a:pt x="60" y="779"/>
                  </a:lnTo>
                  <a:lnTo>
                    <a:pt x="61" y="779"/>
                  </a:lnTo>
                  <a:lnTo>
                    <a:pt x="61" y="779"/>
                  </a:lnTo>
                  <a:lnTo>
                    <a:pt x="62" y="780"/>
                  </a:lnTo>
                  <a:lnTo>
                    <a:pt x="64" y="781"/>
                  </a:lnTo>
                  <a:lnTo>
                    <a:pt x="64" y="781"/>
                  </a:lnTo>
                  <a:lnTo>
                    <a:pt x="64" y="784"/>
                  </a:lnTo>
                  <a:lnTo>
                    <a:pt x="64" y="787"/>
                  </a:lnTo>
                  <a:lnTo>
                    <a:pt x="64" y="787"/>
                  </a:lnTo>
                  <a:lnTo>
                    <a:pt x="62" y="790"/>
                  </a:lnTo>
                  <a:lnTo>
                    <a:pt x="64" y="794"/>
                  </a:lnTo>
                  <a:lnTo>
                    <a:pt x="64" y="794"/>
                  </a:lnTo>
                  <a:lnTo>
                    <a:pt x="67" y="799"/>
                  </a:lnTo>
                  <a:lnTo>
                    <a:pt x="71" y="801"/>
                  </a:lnTo>
                  <a:lnTo>
                    <a:pt x="71" y="801"/>
                  </a:lnTo>
                  <a:lnTo>
                    <a:pt x="77" y="806"/>
                  </a:lnTo>
                  <a:lnTo>
                    <a:pt x="77" y="806"/>
                  </a:lnTo>
                  <a:lnTo>
                    <a:pt x="82" y="809"/>
                  </a:lnTo>
                  <a:lnTo>
                    <a:pt x="87" y="810"/>
                  </a:lnTo>
                  <a:lnTo>
                    <a:pt x="87" y="810"/>
                  </a:lnTo>
                  <a:lnTo>
                    <a:pt x="90" y="811"/>
                  </a:lnTo>
                  <a:lnTo>
                    <a:pt x="90" y="813"/>
                  </a:lnTo>
                  <a:lnTo>
                    <a:pt x="90" y="813"/>
                  </a:lnTo>
                  <a:lnTo>
                    <a:pt x="91" y="819"/>
                  </a:lnTo>
                  <a:lnTo>
                    <a:pt x="92" y="823"/>
                  </a:lnTo>
                  <a:lnTo>
                    <a:pt x="97" y="829"/>
                  </a:lnTo>
                  <a:lnTo>
                    <a:pt x="101" y="833"/>
                  </a:lnTo>
                  <a:lnTo>
                    <a:pt x="101" y="833"/>
                  </a:lnTo>
                  <a:lnTo>
                    <a:pt x="104" y="834"/>
                  </a:lnTo>
                  <a:lnTo>
                    <a:pt x="107" y="836"/>
                  </a:lnTo>
                  <a:lnTo>
                    <a:pt x="107" y="836"/>
                  </a:lnTo>
                  <a:lnTo>
                    <a:pt x="105" y="840"/>
                  </a:lnTo>
                  <a:lnTo>
                    <a:pt x="105" y="840"/>
                  </a:lnTo>
                  <a:lnTo>
                    <a:pt x="104" y="844"/>
                  </a:lnTo>
                  <a:lnTo>
                    <a:pt x="104" y="846"/>
                  </a:lnTo>
                  <a:lnTo>
                    <a:pt x="105" y="849"/>
                  </a:lnTo>
                  <a:lnTo>
                    <a:pt x="105" y="849"/>
                  </a:lnTo>
                  <a:lnTo>
                    <a:pt x="107" y="850"/>
                  </a:lnTo>
                  <a:lnTo>
                    <a:pt x="110" y="851"/>
                  </a:lnTo>
                  <a:lnTo>
                    <a:pt x="110" y="851"/>
                  </a:lnTo>
                  <a:lnTo>
                    <a:pt x="107" y="854"/>
                  </a:lnTo>
                  <a:lnTo>
                    <a:pt x="107" y="854"/>
                  </a:lnTo>
                  <a:lnTo>
                    <a:pt x="104" y="859"/>
                  </a:lnTo>
                  <a:lnTo>
                    <a:pt x="104" y="859"/>
                  </a:lnTo>
                  <a:lnTo>
                    <a:pt x="105" y="860"/>
                  </a:lnTo>
                  <a:lnTo>
                    <a:pt x="105" y="861"/>
                  </a:lnTo>
                  <a:lnTo>
                    <a:pt x="108" y="863"/>
                  </a:lnTo>
                  <a:lnTo>
                    <a:pt x="108" y="863"/>
                  </a:lnTo>
                  <a:lnTo>
                    <a:pt x="110" y="864"/>
                  </a:lnTo>
                  <a:lnTo>
                    <a:pt x="110" y="864"/>
                  </a:lnTo>
                  <a:lnTo>
                    <a:pt x="108" y="866"/>
                  </a:lnTo>
                  <a:lnTo>
                    <a:pt x="108" y="866"/>
                  </a:lnTo>
                  <a:lnTo>
                    <a:pt x="107" y="867"/>
                  </a:lnTo>
                  <a:lnTo>
                    <a:pt x="107" y="870"/>
                  </a:lnTo>
                  <a:lnTo>
                    <a:pt x="107" y="870"/>
                  </a:lnTo>
                  <a:lnTo>
                    <a:pt x="107" y="871"/>
                  </a:lnTo>
                  <a:lnTo>
                    <a:pt x="110" y="874"/>
                  </a:lnTo>
                  <a:lnTo>
                    <a:pt x="110" y="874"/>
                  </a:lnTo>
                  <a:lnTo>
                    <a:pt x="110" y="874"/>
                  </a:lnTo>
                  <a:lnTo>
                    <a:pt x="115" y="879"/>
                  </a:lnTo>
                  <a:lnTo>
                    <a:pt x="118" y="879"/>
                  </a:lnTo>
                  <a:lnTo>
                    <a:pt x="118" y="879"/>
                  </a:lnTo>
                  <a:lnTo>
                    <a:pt x="122" y="879"/>
                  </a:lnTo>
                  <a:lnTo>
                    <a:pt x="122" y="879"/>
                  </a:lnTo>
                  <a:lnTo>
                    <a:pt x="125" y="877"/>
                  </a:lnTo>
                  <a:lnTo>
                    <a:pt x="125" y="879"/>
                  </a:lnTo>
                  <a:lnTo>
                    <a:pt x="125" y="879"/>
                  </a:lnTo>
                  <a:lnTo>
                    <a:pt x="127" y="884"/>
                  </a:lnTo>
                  <a:lnTo>
                    <a:pt x="128" y="886"/>
                  </a:lnTo>
                  <a:lnTo>
                    <a:pt x="130" y="887"/>
                  </a:lnTo>
                  <a:lnTo>
                    <a:pt x="130" y="887"/>
                  </a:lnTo>
                  <a:lnTo>
                    <a:pt x="134" y="887"/>
                  </a:lnTo>
                  <a:lnTo>
                    <a:pt x="134" y="887"/>
                  </a:lnTo>
                  <a:lnTo>
                    <a:pt x="137" y="887"/>
                  </a:lnTo>
                  <a:lnTo>
                    <a:pt x="137" y="887"/>
                  </a:lnTo>
                  <a:lnTo>
                    <a:pt x="137" y="889"/>
                  </a:lnTo>
                  <a:lnTo>
                    <a:pt x="137" y="889"/>
                  </a:lnTo>
                  <a:lnTo>
                    <a:pt x="138" y="894"/>
                  </a:lnTo>
                  <a:lnTo>
                    <a:pt x="138" y="896"/>
                  </a:lnTo>
                  <a:lnTo>
                    <a:pt x="140" y="897"/>
                  </a:lnTo>
                  <a:lnTo>
                    <a:pt x="140" y="897"/>
                  </a:lnTo>
                  <a:lnTo>
                    <a:pt x="144" y="899"/>
                  </a:lnTo>
                  <a:lnTo>
                    <a:pt x="144" y="899"/>
                  </a:lnTo>
                  <a:lnTo>
                    <a:pt x="144" y="900"/>
                  </a:lnTo>
                  <a:lnTo>
                    <a:pt x="144" y="900"/>
                  </a:lnTo>
                  <a:lnTo>
                    <a:pt x="147" y="904"/>
                  </a:lnTo>
                  <a:lnTo>
                    <a:pt x="150" y="907"/>
                  </a:lnTo>
                  <a:lnTo>
                    <a:pt x="158" y="911"/>
                  </a:lnTo>
                  <a:lnTo>
                    <a:pt x="158" y="911"/>
                  </a:lnTo>
                  <a:lnTo>
                    <a:pt x="162" y="914"/>
                  </a:lnTo>
                  <a:lnTo>
                    <a:pt x="162" y="914"/>
                  </a:lnTo>
                  <a:lnTo>
                    <a:pt x="165" y="916"/>
                  </a:lnTo>
                  <a:lnTo>
                    <a:pt x="165" y="916"/>
                  </a:lnTo>
                  <a:lnTo>
                    <a:pt x="167" y="917"/>
                  </a:lnTo>
                  <a:lnTo>
                    <a:pt x="167" y="917"/>
                  </a:lnTo>
                  <a:lnTo>
                    <a:pt x="167" y="920"/>
                  </a:lnTo>
                  <a:lnTo>
                    <a:pt x="168" y="923"/>
                  </a:lnTo>
                  <a:lnTo>
                    <a:pt x="168" y="923"/>
                  </a:lnTo>
                  <a:lnTo>
                    <a:pt x="170" y="924"/>
                  </a:lnTo>
                  <a:lnTo>
                    <a:pt x="172" y="926"/>
                  </a:lnTo>
                  <a:lnTo>
                    <a:pt x="172" y="926"/>
                  </a:lnTo>
                  <a:lnTo>
                    <a:pt x="175" y="926"/>
                  </a:lnTo>
                  <a:lnTo>
                    <a:pt x="178" y="924"/>
                  </a:lnTo>
                  <a:lnTo>
                    <a:pt x="178" y="924"/>
                  </a:lnTo>
                  <a:lnTo>
                    <a:pt x="190" y="940"/>
                  </a:lnTo>
                  <a:lnTo>
                    <a:pt x="201" y="951"/>
                  </a:lnTo>
                  <a:lnTo>
                    <a:pt x="212" y="961"/>
                  </a:lnTo>
                  <a:lnTo>
                    <a:pt x="222" y="967"/>
                  </a:lnTo>
                  <a:lnTo>
                    <a:pt x="231" y="971"/>
                  </a:lnTo>
                  <a:lnTo>
                    <a:pt x="240" y="974"/>
                  </a:lnTo>
                  <a:lnTo>
                    <a:pt x="250" y="976"/>
                  </a:lnTo>
                  <a:lnTo>
                    <a:pt x="250" y="979"/>
                  </a:lnTo>
                  <a:lnTo>
                    <a:pt x="252" y="977"/>
                  </a:lnTo>
                  <a:lnTo>
                    <a:pt x="254" y="977"/>
                  </a:lnTo>
                  <a:lnTo>
                    <a:pt x="254" y="976"/>
                  </a:lnTo>
                  <a:lnTo>
                    <a:pt x="254" y="976"/>
                  </a:lnTo>
                  <a:lnTo>
                    <a:pt x="264" y="970"/>
                  </a:lnTo>
                  <a:lnTo>
                    <a:pt x="275" y="964"/>
                  </a:lnTo>
                  <a:lnTo>
                    <a:pt x="288" y="960"/>
                  </a:lnTo>
                  <a:lnTo>
                    <a:pt x="300" y="957"/>
                  </a:lnTo>
                  <a:lnTo>
                    <a:pt x="322" y="954"/>
                  </a:lnTo>
                  <a:lnTo>
                    <a:pt x="342" y="953"/>
                  </a:lnTo>
                  <a:lnTo>
                    <a:pt x="342" y="953"/>
                  </a:lnTo>
                  <a:lnTo>
                    <a:pt x="360" y="953"/>
                  </a:lnTo>
                  <a:lnTo>
                    <a:pt x="370" y="954"/>
                  </a:lnTo>
                  <a:lnTo>
                    <a:pt x="370" y="954"/>
                  </a:lnTo>
                  <a:lnTo>
                    <a:pt x="372" y="957"/>
                  </a:lnTo>
                  <a:lnTo>
                    <a:pt x="378" y="960"/>
                  </a:lnTo>
                  <a:lnTo>
                    <a:pt x="378" y="960"/>
                  </a:lnTo>
                  <a:lnTo>
                    <a:pt x="382" y="963"/>
                  </a:lnTo>
                  <a:lnTo>
                    <a:pt x="385" y="964"/>
                  </a:lnTo>
                  <a:lnTo>
                    <a:pt x="385" y="964"/>
                  </a:lnTo>
                  <a:lnTo>
                    <a:pt x="387" y="967"/>
                  </a:lnTo>
                  <a:lnTo>
                    <a:pt x="390" y="969"/>
                  </a:lnTo>
                  <a:lnTo>
                    <a:pt x="390" y="969"/>
                  </a:lnTo>
                  <a:lnTo>
                    <a:pt x="394" y="967"/>
                  </a:lnTo>
                  <a:lnTo>
                    <a:pt x="394" y="967"/>
                  </a:lnTo>
                  <a:lnTo>
                    <a:pt x="397" y="963"/>
                  </a:lnTo>
                  <a:lnTo>
                    <a:pt x="397" y="963"/>
                  </a:lnTo>
                  <a:lnTo>
                    <a:pt x="400" y="960"/>
                  </a:lnTo>
                  <a:lnTo>
                    <a:pt x="402" y="959"/>
                  </a:lnTo>
                  <a:lnTo>
                    <a:pt x="402" y="959"/>
                  </a:lnTo>
                  <a:lnTo>
                    <a:pt x="405" y="957"/>
                  </a:lnTo>
                  <a:lnTo>
                    <a:pt x="405" y="957"/>
                  </a:lnTo>
                  <a:lnTo>
                    <a:pt x="415" y="956"/>
                  </a:lnTo>
                  <a:lnTo>
                    <a:pt x="415" y="956"/>
                  </a:lnTo>
                  <a:lnTo>
                    <a:pt x="422" y="954"/>
                  </a:lnTo>
                  <a:lnTo>
                    <a:pt x="428" y="951"/>
                  </a:lnTo>
                  <a:lnTo>
                    <a:pt x="428" y="951"/>
                  </a:lnTo>
                  <a:lnTo>
                    <a:pt x="431" y="950"/>
                  </a:lnTo>
                  <a:lnTo>
                    <a:pt x="431" y="950"/>
                  </a:lnTo>
                  <a:lnTo>
                    <a:pt x="434" y="949"/>
                  </a:lnTo>
                  <a:lnTo>
                    <a:pt x="434" y="949"/>
                  </a:lnTo>
                  <a:lnTo>
                    <a:pt x="440" y="943"/>
                  </a:lnTo>
                  <a:lnTo>
                    <a:pt x="440" y="943"/>
                  </a:lnTo>
                  <a:lnTo>
                    <a:pt x="445" y="940"/>
                  </a:lnTo>
                  <a:lnTo>
                    <a:pt x="445" y="940"/>
                  </a:lnTo>
                  <a:lnTo>
                    <a:pt x="450" y="937"/>
                  </a:lnTo>
                  <a:lnTo>
                    <a:pt x="451" y="936"/>
                  </a:lnTo>
                  <a:lnTo>
                    <a:pt x="452" y="936"/>
                  </a:lnTo>
                  <a:lnTo>
                    <a:pt x="452" y="936"/>
                  </a:lnTo>
                  <a:lnTo>
                    <a:pt x="458" y="937"/>
                  </a:lnTo>
                  <a:lnTo>
                    <a:pt x="462" y="937"/>
                  </a:lnTo>
                  <a:lnTo>
                    <a:pt x="462" y="937"/>
                  </a:lnTo>
                  <a:lnTo>
                    <a:pt x="467" y="937"/>
                  </a:lnTo>
                  <a:lnTo>
                    <a:pt x="470" y="936"/>
                  </a:lnTo>
                  <a:lnTo>
                    <a:pt x="471" y="934"/>
                  </a:lnTo>
                  <a:lnTo>
                    <a:pt x="471" y="934"/>
                  </a:lnTo>
                  <a:lnTo>
                    <a:pt x="475" y="930"/>
                  </a:lnTo>
                  <a:lnTo>
                    <a:pt x="480" y="926"/>
                  </a:lnTo>
                  <a:lnTo>
                    <a:pt x="480" y="926"/>
                  </a:lnTo>
                  <a:lnTo>
                    <a:pt x="480" y="926"/>
                  </a:lnTo>
                  <a:lnTo>
                    <a:pt x="480" y="926"/>
                  </a:lnTo>
                  <a:lnTo>
                    <a:pt x="480" y="926"/>
                  </a:lnTo>
                  <a:lnTo>
                    <a:pt x="480" y="926"/>
                  </a:lnTo>
                  <a:lnTo>
                    <a:pt x="485" y="924"/>
                  </a:lnTo>
                  <a:lnTo>
                    <a:pt x="488" y="923"/>
                  </a:lnTo>
                  <a:lnTo>
                    <a:pt x="488" y="923"/>
                  </a:lnTo>
                  <a:lnTo>
                    <a:pt x="492" y="920"/>
                  </a:lnTo>
                  <a:lnTo>
                    <a:pt x="492" y="920"/>
                  </a:lnTo>
                  <a:lnTo>
                    <a:pt x="492" y="920"/>
                  </a:lnTo>
                  <a:lnTo>
                    <a:pt x="494" y="920"/>
                  </a:lnTo>
                  <a:lnTo>
                    <a:pt x="494" y="920"/>
                  </a:lnTo>
                  <a:lnTo>
                    <a:pt x="498" y="920"/>
                  </a:lnTo>
                  <a:lnTo>
                    <a:pt x="498" y="920"/>
                  </a:lnTo>
                  <a:lnTo>
                    <a:pt x="501" y="920"/>
                  </a:lnTo>
                  <a:lnTo>
                    <a:pt x="504" y="919"/>
                  </a:lnTo>
                  <a:lnTo>
                    <a:pt x="504" y="919"/>
                  </a:lnTo>
                  <a:lnTo>
                    <a:pt x="505" y="916"/>
                  </a:lnTo>
                  <a:lnTo>
                    <a:pt x="505" y="914"/>
                  </a:lnTo>
                  <a:lnTo>
                    <a:pt x="505" y="914"/>
                  </a:lnTo>
                  <a:lnTo>
                    <a:pt x="505" y="913"/>
                  </a:lnTo>
                  <a:lnTo>
                    <a:pt x="505" y="913"/>
                  </a:lnTo>
                  <a:lnTo>
                    <a:pt x="507" y="913"/>
                  </a:lnTo>
                  <a:lnTo>
                    <a:pt x="507" y="913"/>
                  </a:lnTo>
                  <a:lnTo>
                    <a:pt x="511" y="914"/>
                  </a:lnTo>
                  <a:lnTo>
                    <a:pt x="511" y="914"/>
                  </a:lnTo>
                  <a:lnTo>
                    <a:pt x="514" y="913"/>
                  </a:lnTo>
                  <a:lnTo>
                    <a:pt x="514" y="913"/>
                  </a:lnTo>
                  <a:lnTo>
                    <a:pt x="515" y="916"/>
                  </a:lnTo>
                  <a:lnTo>
                    <a:pt x="517" y="917"/>
                  </a:lnTo>
                  <a:lnTo>
                    <a:pt x="517" y="917"/>
                  </a:lnTo>
                  <a:lnTo>
                    <a:pt x="522" y="917"/>
                  </a:lnTo>
                  <a:lnTo>
                    <a:pt x="522" y="917"/>
                  </a:lnTo>
                  <a:lnTo>
                    <a:pt x="528" y="917"/>
                  </a:lnTo>
                  <a:lnTo>
                    <a:pt x="528" y="917"/>
                  </a:lnTo>
                  <a:lnTo>
                    <a:pt x="534" y="917"/>
                  </a:lnTo>
                  <a:lnTo>
                    <a:pt x="534" y="917"/>
                  </a:lnTo>
                  <a:lnTo>
                    <a:pt x="542" y="916"/>
                  </a:lnTo>
                  <a:lnTo>
                    <a:pt x="542" y="916"/>
                  </a:lnTo>
                  <a:lnTo>
                    <a:pt x="547" y="914"/>
                  </a:lnTo>
                  <a:lnTo>
                    <a:pt x="551" y="914"/>
                  </a:lnTo>
                  <a:lnTo>
                    <a:pt x="551" y="914"/>
                  </a:lnTo>
                  <a:lnTo>
                    <a:pt x="555" y="919"/>
                  </a:lnTo>
                  <a:lnTo>
                    <a:pt x="555" y="919"/>
                  </a:lnTo>
                  <a:lnTo>
                    <a:pt x="570" y="927"/>
                  </a:lnTo>
                  <a:lnTo>
                    <a:pt x="575" y="934"/>
                  </a:lnTo>
                  <a:lnTo>
                    <a:pt x="578" y="937"/>
                  </a:lnTo>
                  <a:lnTo>
                    <a:pt x="578" y="940"/>
                  </a:lnTo>
                  <a:lnTo>
                    <a:pt x="578" y="940"/>
                  </a:lnTo>
                  <a:lnTo>
                    <a:pt x="580" y="949"/>
                  </a:lnTo>
                  <a:lnTo>
                    <a:pt x="582" y="954"/>
                  </a:lnTo>
                  <a:lnTo>
                    <a:pt x="582" y="954"/>
                  </a:lnTo>
                  <a:lnTo>
                    <a:pt x="585" y="961"/>
                  </a:lnTo>
                  <a:lnTo>
                    <a:pt x="585" y="963"/>
                  </a:lnTo>
                  <a:lnTo>
                    <a:pt x="585" y="963"/>
                  </a:lnTo>
                  <a:lnTo>
                    <a:pt x="587" y="967"/>
                  </a:lnTo>
                  <a:lnTo>
                    <a:pt x="588" y="971"/>
                  </a:lnTo>
                  <a:lnTo>
                    <a:pt x="591" y="974"/>
                  </a:lnTo>
                  <a:lnTo>
                    <a:pt x="597" y="976"/>
                  </a:lnTo>
                  <a:lnTo>
                    <a:pt x="597" y="976"/>
                  </a:lnTo>
                  <a:lnTo>
                    <a:pt x="604" y="977"/>
                  </a:lnTo>
                  <a:lnTo>
                    <a:pt x="604" y="977"/>
                  </a:lnTo>
                  <a:lnTo>
                    <a:pt x="608" y="976"/>
                  </a:lnTo>
                  <a:lnTo>
                    <a:pt x="608" y="976"/>
                  </a:lnTo>
                  <a:lnTo>
                    <a:pt x="612" y="976"/>
                  </a:lnTo>
                  <a:lnTo>
                    <a:pt x="612" y="976"/>
                  </a:lnTo>
                  <a:lnTo>
                    <a:pt x="615" y="974"/>
                  </a:lnTo>
                  <a:lnTo>
                    <a:pt x="618" y="973"/>
                  </a:lnTo>
                  <a:lnTo>
                    <a:pt x="622" y="967"/>
                  </a:lnTo>
                  <a:lnTo>
                    <a:pt x="622" y="967"/>
                  </a:lnTo>
                  <a:lnTo>
                    <a:pt x="625" y="964"/>
                  </a:lnTo>
                  <a:lnTo>
                    <a:pt x="627" y="964"/>
                  </a:lnTo>
                  <a:lnTo>
                    <a:pt x="627" y="964"/>
                  </a:lnTo>
                  <a:lnTo>
                    <a:pt x="627" y="964"/>
                  </a:lnTo>
                  <a:lnTo>
                    <a:pt x="627" y="964"/>
                  </a:lnTo>
                  <a:lnTo>
                    <a:pt x="630" y="966"/>
                  </a:lnTo>
                  <a:lnTo>
                    <a:pt x="630" y="966"/>
                  </a:lnTo>
                  <a:lnTo>
                    <a:pt x="632" y="969"/>
                  </a:lnTo>
                  <a:lnTo>
                    <a:pt x="638" y="970"/>
                  </a:lnTo>
                  <a:lnTo>
                    <a:pt x="638" y="970"/>
                  </a:lnTo>
                  <a:lnTo>
                    <a:pt x="641" y="970"/>
                  </a:lnTo>
                  <a:lnTo>
                    <a:pt x="641" y="970"/>
                  </a:lnTo>
                  <a:lnTo>
                    <a:pt x="645" y="970"/>
                  </a:lnTo>
                  <a:lnTo>
                    <a:pt x="650" y="969"/>
                  </a:lnTo>
                  <a:lnTo>
                    <a:pt x="657" y="966"/>
                  </a:lnTo>
                  <a:lnTo>
                    <a:pt x="657" y="966"/>
                  </a:lnTo>
                  <a:lnTo>
                    <a:pt x="657" y="966"/>
                  </a:lnTo>
                  <a:lnTo>
                    <a:pt x="658" y="963"/>
                  </a:lnTo>
                  <a:lnTo>
                    <a:pt x="660" y="960"/>
                  </a:lnTo>
                  <a:lnTo>
                    <a:pt x="660" y="960"/>
                  </a:lnTo>
                  <a:lnTo>
                    <a:pt x="660" y="959"/>
                  </a:lnTo>
                  <a:lnTo>
                    <a:pt x="660" y="957"/>
                  </a:lnTo>
                  <a:lnTo>
                    <a:pt x="660" y="957"/>
                  </a:lnTo>
                  <a:lnTo>
                    <a:pt x="664" y="959"/>
                  </a:lnTo>
                  <a:lnTo>
                    <a:pt x="664" y="959"/>
                  </a:lnTo>
                  <a:lnTo>
                    <a:pt x="665" y="960"/>
                  </a:lnTo>
                  <a:lnTo>
                    <a:pt x="668" y="960"/>
                  </a:lnTo>
                  <a:lnTo>
                    <a:pt x="668" y="960"/>
                  </a:lnTo>
                  <a:lnTo>
                    <a:pt x="670" y="964"/>
                  </a:lnTo>
                  <a:lnTo>
                    <a:pt x="674" y="969"/>
                  </a:lnTo>
                  <a:lnTo>
                    <a:pt x="674" y="969"/>
                  </a:lnTo>
                  <a:lnTo>
                    <a:pt x="674" y="969"/>
                  </a:lnTo>
                  <a:lnTo>
                    <a:pt x="674" y="969"/>
                  </a:lnTo>
                  <a:lnTo>
                    <a:pt x="674" y="970"/>
                  </a:lnTo>
                  <a:lnTo>
                    <a:pt x="674" y="970"/>
                  </a:lnTo>
                  <a:lnTo>
                    <a:pt x="672" y="974"/>
                  </a:lnTo>
                  <a:lnTo>
                    <a:pt x="672" y="977"/>
                  </a:lnTo>
                  <a:lnTo>
                    <a:pt x="672" y="979"/>
                  </a:lnTo>
                  <a:lnTo>
                    <a:pt x="672" y="979"/>
                  </a:lnTo>
                  <a:lnTo>
                    <a:pt x="674" y="981"/>
                  </a:lnTo>
                  <a:lnTo>
                    <a:pt x="675" y="981"/>
                  </a:lnTo>
                  <a:lnTo>
                    <a:pt x="675" y="981"/>
                  </a:lnTo>
                  <a:lnTo>
                    <a:pt x="678" y="986"/>
                  </a:lnTo>
                  <a:lnTo>
                    <a:pt x="682" y="989"/>
                  </a:lnTo>
                  <a:lnTo>
                    <a:pt x="682" y="989"/>
                  </a:lnTo>
                  <a:lnTo>
                    <a:pt x="688" y="989"/>
                  </a:lnTo>
                  <a:lnTo>
                    <a:pt x="688" y="989"/>
                  </a:lnTo>
                  <a:lnTo>
                    <a:pt x="691" y="989"/>
                  </a:lnTo>
                  <a:lnTo>
                    <a:pt x="695" y="987"/>
                  </a:lnTo>
                  <a:lnTo>
                    <a:pt x="695" y="987"/>
                  </a:lnTo>
                  <a:lnTo>
                    <a:pt x="694" y="989"/>
                  </a:lnTo>
                  <a:lnTo>
                    <a:pt x="694" y="989"/>
                  </a:lnTo>
                  <a:lnTo>
                    <a:pt x="692" y="996"/>
                  </a:lnTo>
                  <a:lnTo>
                    <a:pt x="692" y="999"/>
                  </a:lnTo>
                  <a:lnTo>
                    <a:pt x="692" y="1001"/>
                  </a:lnTo>
                  <a:lnTo>
                    <a:pt x="692" y="1001"/>
                  </a:lnTo>
                  <a:lnTo>
                    <a:pt x="697" y="1003"/>
                  </a:lnTo>
                  <a:lnTo>
                    <a:pt x="697" y="1003"/>
                  </a:lnTo>
                  <a:lnTo>
                    <a:pt x="698" y="1004"/>
                  </a:lnTo>
                  <a:lnTo>
                    <a:pt x="698" y="1007"/>
                  </a:lnTo>
                  <a:lnTo>
                    <a:pt x="698" y="1007"/>
                  </a:lnTo>
                  <a:lnTo>
                    <a:pt x="698" y="1030"/>
                  </a:lnTo>
                  <a:lnTo>
                    <a:pt x="698" y="1030"/>
                  </a:lnTo>
                  <a:lnTo>
                    <a:pt x="695" y="1031"/>
                  </a:lnTo>
                  <a:lnTo>
                    <a:pt x="695" y="1031"/>
                  </a:lnTo>
                  <a:lnTo>
                    <a:pt x="694" y="1034"/>
                  </a:lnTo>
                  <a:lnTo>
                    <a:pt x="694" y="1034"/>
                  </a:lnTo>
                  <a:lnTo>
                    <a:pt x="694" y="1037"/>
                  </a:lnTo>
                  <a:lnTo>
                    <a:pt x="694" y="1037"/>
                  </a:lnTo>
                  <a:lnTo>
                    <a:pt x="695" y="1041"/>
                  </a:lnTo>
                  <a:lnTo>
                    <a:pt x="697" y="1044"/>
                  </a:lnTo>
                  <a:lnTo>
                    <a:pt x="695" y="1047"/>
                  </a:lnTo>
                  <a:lnTo>
                    <a:pt x="695" y="1047"/>
                  </a:lnTo>
                  <a:lnTo>
                    <a:pt x="692" y="1053"/>
                  </a:lnTo>
                  <a:lnTo>
                    <a:pt x="692" y="1053"/>
                  </a:lnTo>
                  <a:lnTo>
                    <a:pt x="688" y="1059"/>
                  </a:lnTo>
                  <a:lnTo>
                    <a:pt x="687" y="1061"/>
                  </a:lnTo>
                  <a:lnTo>
                    <a:pt x="685" y="1066"/>
                  </a:lnTo>
                  <a:lnTo>
                    <a:pt x="685" y="1066"/>
                  </a:lnTo>
                  <a:lnTo>
                    <a:pt x="687" y="1069"/>
                  </a:lnTo>
                  <a:lnTo>
                    <a:pt x="688" y="1071"/>
                  </a:lnTo>
                  <a:lnTo>
                    <a:pt x="691" y="1073"/>
                  </a:lnTo>
                  <a:lnTo>
                    <a:pt x="691" y="1073"/>
                  </a:lnTo>
                  <a:lnTo>
                    <a:pt x="692" y="1074"/>
                  </a:lnTo>
                  <a:lnTo>
                    <a:pt x="692" y="1074"/>
                  </a:lnTo>
                  <a:lnTo>
                    <a:pt x="694" y="1074"/>
                  </a:lnTo>
                  <a:lnTo>
                    <a:pt x="694" y="1074"/>
                  </a:lnTo>
                  <a:lnTo>
                    <a:pt x="694" y="1074"/>
                  </a:lnTo>
                  <a:lnTo>
                    <a:pt x="694" y="1074"/>
                  </a:lnTo>
                  <a:lnTo>
                    <a:pt x="694" y="1076"/>
                  </a:lnTo>
                  <a:lnTo>
                    <a:pt x="694" y="1076"/>
                  </a:lnTo>
                  <a:lnTo>
                    <a:pt x="694" y="1083"/>
                  </a:lnTo>
                  <a:lnTo>
                    <a:pt x="692" y="1087"/>
                  </a:lnTo>
                  <a:lnTo>
                    <a:pt x="692" y="1087"/>
                  </a:lnTo>
                  <a:lnTo>
                    <a:pt x="691" y="1090"/>
                  </a:lnTo>
                  <a:lnTo>
                    <a:pt x="692" y="1093"/>
                  </a:lnTo>
                  <a:lnTo>
                    <a:pt x="692" y="1093"/>
                  </a:lnTo>
                  <a:lnTo>
                    <a:pt x="694" y="1096"/>
                  </a:lnTo>
                  <a:lnTo>
                    <a:pt x="697" y="1097"/>
                  </a:lnTo>
                  <a:lnTo>
                    <a:pt x="697" y="1097"/>
                  </a:lnTo>
                  <a:lnTo>
                    <a:pt x="700" y="1099"/>
                  </a:lnTo>
                  <a:lnTo>
                    <a:pt x="701" y="1100"/>
                  </a:lnTo>
                  <a:lnTo>
                    <a:pt x="701" y="1100"/>
                  </a:lnTo>
                  <a:lnTo>
                    <a:pt x="698" y="1100"/>
                  </a:lnTo>
                  <a:lnTo>
                    <a:pt x="698" y="1100"/>
                  </a:lnTo>
                  <a:lnTo>
                    <a:pt x="697" y="1100"/>
                  </a:lnTo>
                  <a:lnTo>
                    <a:pt x="697" y="1100"/>
                  </a:lnTo>
                  <a:lnTo>
                    <a:pt x="692" y="1100"/>
                  </a:lnTo>
                  <a:lnTo>
                    <a:pt x="688" y="1101"/>
                  </a:lnTo>
                  <a:lnTo>
                    <a:pt x="688" y="1101"/>
                  </a:lnTo>
                  <a:lnTo>
                    <a:pt x="687" y="1103"/>
                  </a:lnTo>
                  <a:lnTo>
                    <a:pt x="685" y="1106"/>
                  </a:lnTo>
                  <a:lnTo>
                    <a:pt x="684" y="1113"/>
                  </a:lnTo>
                  <a:lnTo>
                    <a:pt x="684" y="1113"/>
                  </a:lnTo>
                  <a:lnTo>
                    <a:pt x="684" y="1117"/>
                  </a:lnTo>
                  <a:lnTo>
                    <a:pt x="684" y="1117"/>
                  </a:lnTo>
                  <a:lnTo>
                    <a:pt x="682" y="1120"/>
                  </a:lnTo>
                  <a:lnTo>
                    <a:pt x="680" y="1123"/>
                  </a:lnTo>
                  <a:lnTo>
                    <a:pt x="680" y="1123"/>
                  </a:lnTo>
                  <a:lnTo>
                    <a:pt x="677" y="1126"/>
                  </a:lnTo>
                  <a:lnTo>
                    <a:pt x="677" y="1126"/>
                  </a:lnTo>
                  <a:lnTo>
                    <a:pt x="675" y="1127"/>
                  </a:lnTo>
                  <a:lnTo>
                    <a:pt x="672" y="1131"/>
                  </a:lnTo>
                  <a:lnTo>
                    <a:pt x="672" y="1131"/>
                  </a:lnTo>
                  <a:lnTo>
                    <a:pt x="674" y="1134"/>
                  </a:lnTo>
                  <a:lnTo>
                    <a:pt x="675" y="1137"/>
                  </a:lnTo>
                  <a:lnTo>
                    <a:pt x="684" y="1147"/>
                  </a:lnTo>
                  <a:lnTo>
                    <a:pt x="684" y="1147"/>
                  </a:lnTo>
                  <a:lnTo>
                    <a:pt x="687" y="1150"/>
                  </a:lnTo>
                  <a:lnTo>
                    <a:pt x="687" y="1150"/>
                  </a:lnTo>
                  <a:lnTo>
                    <a:pt x="684" y="1151"/>
                  </a:lnTo>
                  <a:lnTo>
                    <a:pt x="682" y="1151"/>
                  </a:lnTo>
                  <a:lnTo>
                    <a:pt x="682" y="1154"/>
                  </a:lnTo>
                  <a:lnTo>
                    <a:pt x="682" y="1154"/>
                  </a:lnTo>
                  <a:lnTo>
                    <a:pt x="684" y="1156"/>
                  </a:lnTo>
                  <a:lnTo>
                    <a:pt x="687" y="1159"/>
                  </a:lnTo>
                  <a:lnTo>
                    <a:pt x="687" y="1159"/>
                  </a:lnTo>
                  <a:lnTo>
                    <a:pt x="691" y="1163"/>
                  </a:lnTo>
                  <a:lnTo>
                    <a:pt x="691" y="1163"/>
                  </a:lnTo>
                  <a:lnTo>
                    <a:pt x="691" y="1167"/>
                  </a:lnTo>
                  <a:lnTo>
                    <a:pt x="691" y="1167"/>
                  </a:lnTo>
                  <a:lnTo>
                    <a:pt x="691" y="1173"/>
                  </a:lnTo>
                  <a:lnTo>
                    <a:pt x="691" y="1173"/>
                  </a:lnTo>
                  <a:lnTo>
                    <a:pt x="694" y="1176"/>
                  </a:lnTo>
                  <a:lnTo>
                    <a:pt x="695" y="1178"/>
                  </a:lnTo>
                  <a:lnTo>
                    <a:pt x="702" y="1180"/>
                  </a:lnTo>
                  <a:lnTo>
                    <a:pt x="702" y="1180"/>
                  </a:lnTo>
                  <a:lnTo>
                    <a:pt x="702" y="1180"/>
                  </a:lnTo>
                  <a:lnTo>
                    <a:pt x="702" y="1180"/>
                  </a:lnTo>
                  <a:lnTo>
                    <a:pt x="702" y="1183"/>
                  </a:lnTo>
                  <a:lnTo>
                    <a:pt x="704" y="1186"/>
                  </a:lnTo>
                  <a:lnTo>
                    <a:pt x="704" y="1186"/>
                  </a:lnTo>
                  <a:lnTo>
                    <a:pt x="708" y="1191"/>
                  </a:lnTo>
                  <a:lnTo>
                    <a:pt x="715" y="1200"/>
                  </a:lnTo>
                  <a:lnTo>
                    <a:pt x="730" y="1217"/>
                  </a:lnTo>
                  <a:lnTo>
                    <a:pt x="730" y="1217"/>
                  </a:lnTo>
                  <a:lnTo>
                    <a:pt x="731" y="1217"/>
                  </a:lnTo>
                  <a:lnTo>
                    <a:pt x="731" y="1217"/>
                  </a:lnTo>
                  <a:lnTo>
                    <a:pt x="731" y="1218"/>
                  </a:lnTo>
                  <a:lnTo>
                    <a:pt x="732" y="1220"/>
                  </a:lnTo>
                  <a:lnTo>
                    <a:pt x="732" y="1220"/>
                  </a:lnTo>
                  <a:lnTo>
                    <a:pt x="732" y="1220"/>
                  </a:lnTo>
                  <a:lnTo>
                    <a:pt x="741" y="1230"/>
                  </a:lnTo>
                  <a:lnTo>
                    <a:pt x="745" y="1236"/>
                  </a:lnTo>
                  <a:lnTo>
                    <a:pt x="745" y="1236"/>
                  </a:lnTo>
                  <a:lnTo>
                    <a:pt x="747" y="1244"/>
                  </a:lnTo>
                  <a:lnTo>
                    <a:pt x="750" y="1248"/>
                  </a:lnTo>
                  <a:lnTo>
                    <a:pt x="750" y="1248"/>
                  </a:lnTo>
                  <a:lnTo>
                    <a:pt x="751" y="1248"/>
                  </a:lnTo>
                  <a:lnTo>
                    <a:pt x="751" y="1248"/>
                  </a:lnTo>
                  <a:lnTo>
                    <a:pt x="751" y="1248"/>
                  </a:lnTo>
                  <a:lnTo>
                    <a:pt x="751" y="1248"/>
                  </a:lnTo>
                  <a:lnTo>
                    <a:pt x="751" y="1248"/>
                  </a:lnTo>
                  <a:lnTo>
                    <a:pt x="751" y="1248"/>
                  </a:lnTo>
                  <a:lnTo>
                    <a:pt x="754" y="1251"/>
                  </a:lnTo>
                  <a:lnTo>
                    <a:pt x="755" y="1254"/>
                  </a:lnTo>
                  <a:lnTo>
                    <a:pt x="755" y="1254"/>
                  </a:lnTo>
                  <a:lnTo>
                    <a:pt x="761" y="1280"/>
                  </a:lnTo>
                  <a:lnTo>
                    <a:pt x="761" y="1280"/>
                  </a:lnTo>
                  <a:lnTo>
                    <a:pt x="762" y="1287"/>
                  </a:lnTo>
                  <a:lnTo>
                    <a:pt x="765" y="1294"/>
                  </a:lnTo>
                  <a:lnTo>
                    <a:pt x="770" y="1300"/>
                  </a:lnTo>
                  <a:lnTo>
                    <a:pt x="774" y="1303"/>
                  </a:lnTo>
                  <a:lnTo>
                    <a:pt x="774" y="1303"/>
                  </a:lnTo>
                  <a:lnTo>
                    <a:pt x="775" y="1304"/>
                  </a:lnTo>
                  <a:lnTo>
                    <a:pt x="775" y="1304"/>
                  </a:lnTo>
                  <a:lnTo>
                    <a:pt x="775" y="1306"/>
                  </a:lnTo>
                  <a:lnTo>
                    <a:pt x="775" y="1306"/>
                  </a:lnTo>
                  <a:lnTo>
                    <a:pt x="775" y="1306"/>
                  </a:lnTo>
                  <a:lnTo>
                    <a:pt x="775" y="1306"/>
                  </a:lnTo>
                  <a:lnTo>
                    <a:pt x="774" y="1311"/>
                  </a:lnTo>
                  <a:lnTo>
                    <a:pt x="774" y="1311"/>
                  </a:lnTo>
                  <a:lnTo>
                    <a:pt x="775" y="1317"/>
                  </a:lnTo>
                  <a:lnTo>
                    <a:pt x="777" y="1320"/>
                  </a:lnTo>
                  <a:lnTo>
                    <a:pt x="777" y="1320"/>
                  </a:lnTo>
                  <a:lnTo>
                    <a:pt x="778" y="1324"/>
                  </a:lnTo>
                  <a:lnTo>
                    <a:pt x="778" y="1324"/>
                  </a:lnTo>
                  <a:lnTo>
                    <a:pt x="784" y="1336"/>
                  </a:lnTo>
                  <a:lnTo>
                    <a:pt x="787" y="1340"/>
                  </a:lnTo>
                  <a:lnTo>
                    <a:pt x="787" y="1340"/>
                  </a:lnTo>
                  <a:lnTo>
                    <a:pt x="787" y="1340"/>
                  </a:lnTo>
                  <a:lnTo>
                    <a:pt x="790" y="1350"/>
                  </a:lnTo>
                  <a:lnTo>
                    <a:pt x="790" y="1360"/>
                  </a:lnTo>
                  <a:lnTo>
                    <a:pt x="790" y="1360"/>
                  </a:lnTo>
                  <a:lnTo>
                    <a:pt x="790" y="1361"/>
                  </a:lnTo>
                  <a:lnTo>
                    <a:pt x="787" y="1363"/>
                  </a:lnTo>
                  <a:lnTo>
                    <a:pt x="787" y="1363"/>
                  </a:lnTo>
                  <a:lnTo>
                    <a:pt x="782" y="1364"/>
                  </a:lnTo>
                  <a:lnTo>
                    <a:pt x="778" y="1367"/>
                  </a:lnTo>
                  <a:lnTo>
                    <a:pt x="778" y="1367"/>
                  </a:lnTo>
                  <a:lnTo>
                    <a:pt x="777" y="1370"/>
                  </a:lnTo>
                  <a:lnTo>
                    <a:pt x="775" y="1373"/>
                  </a:lnTo>
                  <a:lnTo>
                    <a:pt x="775" y="1373"/>
                  </a:lnTo>
                  <a:lnTo>
                    <a:pt x="778" y="1376"/>
                  </a:lnTo>
                  <a:lnTo>
                    <a:pt x="781" y="1378"/>
                  </a:lnTo>
                  <a:lnTo>
                    <a:pt x="781" y="1378"/>
                  </a:lnTo>
                  <a:lnTo>
                    <a:pt x="784" y="1381"/>
                  </a:lnTo>
                  <a:lnTo>
                    <a:pt x="784" y="1381"/>
                  </a:lnTo>
                  <a:lnTo>
                    <a:pt x="785" y="1386"/>
                  </a:lnTo>
                  <a:lnTo>
                    <a:pt x="785" y="1386"/>
                  </a:lnTo>
                  <a:lnTo>
                    <a:pt x="785" y="1388"/>
                  </a:lnTo>
                  <a:lnTo>
                    <a:pt x="787" y="1391"/>
                  </a:lnTo>
                  <a:lnTo>
                    <a:pt x="787" y="1391"/>
                  </a:lnTo>
                  <a:lnTo>
                    <a:pt x="788" y="1398"/>
                  </a:lnTo>
                  <a:lnTo>
                    <a:pt x="788" y="1398"/>
                  </a:lnTo>
                  <a:lnTo>
                    <a:pt x="790" y="1403"/>
                  </a:lnTo>
                  <a:lnTo>
                    <a:pt x="790" y="1403"/>
                  </a:lnTo>
                  <a:lnTo>
                    <a:pt x="792" y="1410"/>
                  </a:lnTo>
                  <a:lnTo>
                    <a:pt x="797" y="1416"/>
                  </a:lnTo>
                  <a:lnTo>
                    <a:pt x="797" y="1416"/>
                  </a:lnTo>
                  <a:lnTo>
                    <a:pt x="800" y="1421"/>
                  </a:lnTo>
                  <a:lnTo>
                    <a:pt x="800" y="1421"/>
                  </a:lnTo>
                  <a:lnTo>
                    <a:pt x="801" y="1430"/>
                  </a:lnTo>
                  <a:lnTo>
                    <a:pt x="801" y="1440"/>
                  </a:lnTo>
                  <a:lnTo>
                    <a:pt x="801" y="1443"/>
                  </a:lnTo>
                  <a:lnTo>
                    <a:pt x="801" y="1443"/>
                  </a:lnTo>
                  <a:lnTo>
                    <a:pt x="800" y="1448"/>
                  </a:lnTo>
                  <a:lnTo>
                    <a:pt x="797" y="1456"/>
                  </a:lnTo>
                  <a:lnTo>
                    <a:pt x="794" y="1463"/>
                  </a:lnTo>
                  <a:lnTo>
                    <a:pt x="791" y="1468"/>
                  </a:lnTo>
                  <a:lnTo>
                    <a:pt x="791" y="1468"/>
                  </a:lnTo>
                  <a:lnTo>
                    <a:pt x="788" y="1470"/>
                  </a:lnTo>
                  <a:lnTo>
                    <a:pt x="788" y="1470"/>
                  </a:lnTo>
                  <a:lnTo>
                    <a:pt x="788" y="1470"/>
                  </a:lnTo>
                  <a:lnTo>
                    <a:pt x="787" y="1470"/>
                  </a:lnTo>
                  <a:lnTo>
                    <a:pt x="787" y="1470"/>
                  </a:lnTo>
                  <a:lnTo>
                    <a:pt x="787" y="1470"/>
                  </a:lnTo>
                  <a:lnTo>
                    <a:pt x="787" y="1470"/>
                  </a:lnTo>
                  <a:lnTo>
                    <a:pt x="784" y="1470"/>
                  </a:lnTo>
                  <a:lnTo>
                    <a:pt x="781" y="1471"/>
                  </a:lnTo>
                  <a:lnTo>
                    <a:pt x="781" y="1471"/>
                  </a:lnTo>
                  <a:lnTo>
                    <a:pt x="777" y="1478"/>
                  </a:lnTo>
                  <a:lnTo>
                    <a:pt x="775" y="1486"/>
                  </a:lnTo>
                  <a:lnTo>
                    <a:pt x="775" y="1486"/>
                  </a:lnTo>
                  <a:lnTo>
                    <a:pt x="774" y="1488"/>
                  </a:lnTo>
                  <a:lnTo>
                    <a:pt x="774" y="1488"/>
                  </a:lnTo>
                  <a:lnTo>
                    <a:pt x="774" y="1488"/>
                  </a:lnTo>
                  <a:lnTo>
                    <a:pt x="774" y="1488"/>
                  </a:lnTo>
                  <a:lnTo>
                    <a:pt x="771" y="1490"/>
                  </a:lnTo>
                  <a:lnTo>
                    <a:pt x="768" y="1491"/>
                  </a:lnTo>
                  <a:lnTo>
                    <a:pt x="768" y="1491"/>
                  </a:lnTo>
                  <a:lnTo>
                    <a:pt x="765" y="1497"/>
                  </a:lnTo>
                  <a:lnTo>
                    <a:pt x="765" y="1501"/>
                  </a:lnTo>
                  <a:lnTo>
                    <a:pt x="765" y="1501"/>
                  </a:lnTo>
                  <a:lnTo>
                    <a:pt x="765" y="1507"/>
                  </a:lnTo>
                  <a:lnTo>
                    <a:pt x="765" y="1507"/>
                  </a:lnTo>
                  <a:lnTo>
                    <a:pt x="762" y="1511"/>
                  </a:lnTo>
                  <a:lnTo>
                    <a:pt x="762" y="1511"/>
                  </a:lnTo>
                  <a:lnTo>
                    <a:pt x="761" y="1514"/>
                  </a:lnTo>
                  <a:lnTo>
                    <a:pt x="761" y="1518"/>
                  </a:lnTo>
                  <a:lnTo>
                    <a:pt x="761" y="1518"/>
                  </a:lnTo>
                  <a:lnTo>
                    <a:pt x="760" y="1526"/>
                  </a:lnTo>
                  <a:lnTo>
                    <a:pt x="760" y="1526"/>
                  </a:lnTo>
                  <a:lnTo>
                    <a:pt x="760" y="1531"/>
                  </a:lnTo>
                  <a:lnTo>
                    <a:pt x="760" y="1540"/>
                  </a:lnTo>
                  <a:lnTo>
                    <a:pt x="760" y="1540"/>
                  </a:lnTo>
                  <a:lnTo>
                    <a:pt x="760" y="1543"/>
                  </a:lnTo>
                  <a:lnTo>
                    <a:pt x="757" y="1544"/>
                  </a:lnTo>
                  <a:lnTo>
                    <a:pt x="757" y="1544"/>
                  </a:lnTo>
                  <a:lnTo>
                    <a:pt x="755" y="1547"/>
                  </a:lnTo>
                  <a:lnTo>
                    <a:pt x="754" y="1550"/>
                  </a:lnTo>
                  <a:lnTo>
                    <a:pt x="754" y="1550"/>
                  </a:lnTo>
                  <a:lnTo>
                    <a:pt x="754" y="1556"/>
                  </a:lnTo>
                  <a:lnTo>
                    <a:pt x="754" y="1556"/>
                  </a:lnTo>
                  <a:lnTo>
                    <a:pt x="754" y="1560"/>
                  </a:lnTo>
                  <a:lnTo>
                    <a:pt x="754" y="1560"/>
                  </a:lnTo>
                  <a:lnTo>
                    <a:pt x="752" y="1560"/>
                  </a:lnTo>
                  <a:lnTo>
                    <a:pt x="752" y="1560"/>
                  </a:lnTo>
                  <a:lnTo>
                    <a:pt x="750" y="1561"/>
                  </a:lnTo>
                  <a:lnTo>
                    <a:pt x="748" y="1563"/>
                  </a:lnTo>
                  <a:lnTo>
                    <a:pt x="748" y="1563"/>
                  </a:lnTo>
                  <a:lnTo>
                    <a:pt x="747" y="1566"/>
                  </a:lnTo>
                  <a:lnTo>
                    <a:pt x="747" y="1571"/>
                  </a:lnTo>
                  <a:lnTo>
                    <a:pt x="747" y="1571"/>
                  </a:lnTo>
                  <a:lnTo>
                    <a:pt x="748" y="1578"/>
                  </a:lnTo>
                  <a:lnTo>
                    <a:pt x="745" y="1586"/>
                  </a:lnTo>
                  <a:lnTo>
                    <a:pt x="745" y="1586"/>
                  </a:lnTo>
                  <a:lnTo>
                    <a:pt x="745" y="1590"/>
                  </a:lnTo>
                  <a:lnTo>
                    <a:pt x="745" y="1593"/>
                  </a:lnTo>
                  <a:lnTo>
                    <a:pt x="745" y="1593"/>
                  </a:lnTo>
                  <a:lnTo>
                    <a:pt x="745" y="1594"/>
                  </a:lnTo>
                  <a:lnTo>
                    <a:pt x="745" y="1596"/>
                  </a:lnTo>
                  <a:lnTo>
                    <a:pt x="745" y="1596"/>
                  </a:lnTo>
                  <a:lnTo>
                    <a:pt x="747" y="1601"/>
                  </a:lnTo>
                  <a:lnTo>
                    <a:pt x="747" y="1601"/>
                  </a:lnTo>
                  <a:lnTo>
                    <a:pt x="745" y="1606"/>
                  </a:lnTo>
                  <a:lnTo>
                    <a:pt x="744" y="1614"/>
                  </a:lnTo>
                  <a:lnTo>
                    <a:pt x="744" y="1624"/>
                  </a:lnTo>
                  <a:lnTo>
                    <a:pt x="745" y="1628"/>
                  </a:lnTo>
                  <a:lnTo>
                    <a:pt x="748" y="1633"/>
                  </a:lnTo>
                  <a:lnTo>
                    <a:pt x="748" y="1633"/>
                  </a:lnTo>
                  <a:lnTo>
                    <a:pt x="754" y="1638"/>
                  </a:lnTo>
                  <a:lnTo>
                    <a:pt x="755" y="1643"/>
                  </a:lnTo>
                  <a:lnTo>
                    <a:pt x="755" y="1643"/>
                  </a:lnTo>
                  <a:lnTo>
                    <a:pt x="758" y="1648"/>
                  </a:lnTo>
                  <a:lnTo>
                    <a:pt x="758" y="1648"/>
                  </a:lnTo>
                  <a:lnTo>
                    <a:pt x="762" y="1657"/>
                  </a:lnTo>
                  <a:lnTo>
                    <a:pt x="764" y="1663"/>
                  </a:lnTo>
                  <a:lnTo>
                    <a:pt x="764" y="1663"/>
                  </a:lnTo>
                  <a:lnTo>
                    <a:pt x="767" y="1667"/>
                  </a:lnTo>
                  <a:lnTo>
                    <a:pt x="767" y="1667"/>
                  </a:lnTo>
                  <a:lnTo>
                    <a:pt x="768" y="1671"/>
                  </a:lnTo>
                  <a:lnTo>
                    <a:pt x="771" y="1674"/>
                  </a:lnTo>
                  <a:lnTo>
                    <a:pt x="771" y="1674"/>
                  </a:lnTo>
                  <a:lnTo>
                    <a:pt x="774" y="1678"/>
                  </a:lnTo>
                  <a:lnTo>
                    <a:pt x="777" y="1684"/>
                  </a:lnTo>
                  <a:lnTo>
                    <a:pt x="777" y="1684"/>
                  </a:lnTo>
                  <a:lnTo>
                    <a:pt x="782" y="1694"/>
                  </a:lnTo>
                  <a:lnTo>
                    <a:pt x="782" y="1694"/>
                  </a:lnTo>
                  <a:lnTo>
                    <a:pt x="785" y="1698"/>
                  </a:lnTo>
                  <a:lnTo>
                    <a:pt x="787" y="1704"/>
                  </a:lnTo>
                  <a:lnTo>
                    <a:pt x="787" y="1704"/>
                  </a:lnTo>
                  <a:lnTo>
                    <a:pt x="787" y="1707"/>
                  </a:lnTo>
                  <a:lnTo>
                    <a:pt x="785" y="1710"/>
                  </a:lnTo>
                  <a:lnTo>
                    <a:pt x="785" y="1710"/>
                  </a:lnTo>
                  <a:lnTo>
                    <a:pt x="784" y="1711"/>
                  </a:lnTo>
                  <a:lnTo>
                    <a:pt x="784" y="1715"/>
                  </a:lnTo>
                  <a:lnTo>
                    <a:pt x="784" y="1718"/>
                  </a:lnTo>
                  <a:lnTo>
                    <a:pt x="788" y="1723"/>
                  </a:lnTo>
                  <a:lnTo>
                    <a:pt x="788" y="1723"/>
                  </a:lnTo>
                  <a:lnTo>
                    <a:pt x="794" y="1727"/>
                  </a:lnTo>
                  <a:lnTo>
                    <a:pt x="800" y="1733"/>
                  </a:lnTo>
                  <a:lnTo>
                    <a:pt x="804" y="1741"/>
                  </a:lnTo>
                  <a:lnTo>
                    <a:pt x="804" y="1741"/>
                  </a:lnTo>
                  <a:lnTo>
                    <a:pt x="808" y="1747"/>
                  </a:lnTo>
                  <a:lnTo>
                    <a:pt x="808" y="1747"/>
                  </a:lnTo>
                  <a:lnTo>
                    <a:pt x="812" y="1754"/>
                  </a:lnTo>
                  <a:lnTo>
                    <a:pt x="814" y="1758"/>
                  </a:lnTo>
                  <a:lnTo>
                    <a:pt x="815" y="1764"/>
                  </a:lnTo>
                  <a:lnTo>
                    <a:pt x="815" y="1764"/>
                  </a:lnTo>
                  <a:lnTo>
                    <a:pt x="814" y="1780"/>
                  </a:lnTo>
                  <a:lnTo>
                    <a:pt x="814" y="1780"/>
                  </a:lnTo>
                  <a:lnTo>
                    <a:pt x="812" y="1804"/>
                  </a:lnTo>
                  <a:lnTo>
                    <a:pt x="814" y="1813"/>
                  </a:lnTo>
                  <a:lnTo>
                    <a:pt x="815" y="1817"/>
                  </a:lnTo>
                  <a:lnTo>
                    <a:pt x="815" y="1817"/>
                  </a:lnTo>
                  <a:lnTo>
                    <a:pt x="818" y="1820"/>
                  </a:lnTo>
                  <a:lnTo>
                    <a:pt x="821" y="1824"/>
                  </a:lnTo>
                  <a:lnTo>
                    <a:pt x="822" y="1833"/>
                  </a:lnTo>
                  <a:lnTo>
                    <a:pt x="822" y="1833"/>
                  </a:lnTo>
                  <a:lnTo>
                    <a:pt x="821" y="1840"/>
                  </a:lnTo>
                  <a:lnTo>
                    <a:pt x="821" y="1840"/>
                  </a:lnTo>
                  <a:lnTo>
                    <a:pt x="820" y="1848"/>
                  </a:lnTo>
                  <a:lnTo>
                    <a:pt x="821" y="1853"/>
                  </a:lnTo>
                  <a:lnTo>
                    <a:pt x="822" y="1857"/>
                  </a:lnTo>
                  <a:lnTo>
                    <a:pt x="822" y="1857"/>
                  </a:lnTo>
                  <a:lnTo>
                    <a:pt x="825" y="1864"/>
                  </a:lnTo>
                  <a:lnTo>
                    <a:pt x="827" y="1871"/>
                  </a:lnTo>
                  <a:lnTo>
                    <a:pt x="827" y="1871"/>
                  </a:lnTo>
                  <a:lnTo>
                    <a:pt x="828" y="1880"/>
                  </a:lnTo>
                  <a:lnTo>
                    <a:pt x="828" y="1880"/>
                  </a:lnTo>
                  <a:lnTo>
                    <a:pt x="830" y="1885"/>
                  </a:lnTo>
                  <a:lnTo>
                    <a:pt x="830" y="1885"/>
                  </a:lnTo>
                  <a:lnTo>
                    <a:pt x="830" y="1891"/>
                  </a:lnTo>
                  <a:lnTo>
                    <a:pt x="832" y="1900"/>
                  </a:lnTo>
                  <a:lnTo>
                    <a:pt x="832" y="1900"/>
                  </a:lnTo>
                  <a:lnTo>
                    <a:pt x="838" y="1913"/>
                  </a:lnTo>
                  <a:lnTo>
                    <a:pt x="842" y="1920"/>
                  </a:lnTo>
                  <a:lnTo>
                    <a:pt x="842" y="1920"/>
                  </a:lnTo>
                  <a:lnTo>
                    <a:pt x="844" y="1923"/>
                  </a:lnTo>
                  <a:lnTo>
                    <a:pt x="844" y="1923"/>
                  </a:lnTo>
                  <a:lnTo>
                    <a:pt x="852" y="1933"/>
                  </a:lnTo>
                  <a:lnTo>
                    <a:pt x="862" y="1940"/>
                  </a:lnTo>
                  <a:lnTo>
                    <a:pt x="862" y="1940"/>
                  </a:lnTo>
                  <a:lnTo>
                    <a:pt x="864" y="1941"/>
                  </a:lnTo>
                  <a:lnTo>
                    <a:pt x="864" y="1941"/>
                  </a:lnTo>
                  <a:lnTo>
                    <a:pt x="867" y="1943"/>
                  </a:lnTo>
                  <a:lnTo>
                    <a:pt x="867" y="1943"/>
                  </a:lnTo>
                  <a:lnTo>
                    <a:pt x="870" y="1951"/>
                  </a:lnTo>
                  <a:lnTo>
                    <a:pt x="875" y="1965"/>
                  </a:lnTo>
                  <a:lnTo>
                    <a:pt x="875" y="1965"/>
                  </a:lnTo>
                  <a:lnTo>
                    <a:pt x="877" y="1973"/>
                  </a:lnTo>
                  <a:lnTo>
                    <a:pt x="877" y="1973"/>
                  </a:lnTo>
                  <a:lnTo>
                    <a:pt x="880" y="1987"/>
                  </a:lnTo>
                  <a:lnTo>
                    <a:pt x="884" y="1995"/>
                  </a:lnTo>
                  <a:lnTo>
                    <a:pt x="890" y="2005"/>
                  </a:lnTo>
                  <a:lnTo>
                    <a:pt x="890" y="2005"/>
                  </a:lnTo>
                  <a:lnTo>
                    <a:pt x="894" y="2011"/>
                  </a:lnTo>
                  <a:lnTo>
                    <a:pt x="894" y="2011"/>
                  </a:lnTo>
                  <a:lnTo>
                    <a:pt x="902" y="2027"/>
                  </a:lnTo>
                  <a:lnTo>
                    <a:pt x="905" y="2033"/>
                  </a:lnTo>
                  <a:lnTo>
                    <a:pt x="907" y="2037"/>
                  </a:lnTo>
                  <a:lnTo>
                    <a:pt x="907" y="2037"/>
                  </a:lnTo>
                  <a:lnTo>
                    <a:pt x="907" y="2043"/>
                  </a:lnTo>
                  <a:lnTo>
                    <a:pt x="907" y="2043"/>
                  </a:lnTo>
                  <a:lnTo>
                    <a:pt x="908" y="2051"/>
                  </a:lnTo>
                  <a:lnTo>
                    <a:pt x="907" y="2054"/>
                  </a:lnTo>
                  <a:lnTo>
                    <a:pt x="905" y="2057"/>
                  </a:lnTo>
                  <a:lnTo>
                    <a:pt x="905" y="2057"/>
                  </a:lnTo>
                  <a:lnTo>
                    <a:pt x="902" y="2060"/>
                  </a:lnTo>
                  <a:lnTo>
                    <a:pt x="900" y="2058"/>
                  </a:lnTo>
                  <a:lnTo>
                    <a:pt x="900" y="2058"/>
                  </a:lnTo>
                  <a:lnTo>
                    <a:pt x="898" y="2058"/>
                  </a:lnTo>
                  <a:lnTo>
                    <a:pt x="895" y="2060"/>
                  </a:lnTo>
                  <a:lnTo>
                    <a:pt x="895" y="2060"/>
                  </a:lnTo>
                  <a:lnTo>
                    <a:pt x="895" y="2061"/>
                  </a:lnTo>
                  <a:lnTo>
                    <a:pt x="895" y="2065"/>
                  </a:lnTo>
                  <a:lnTo>
                    <a:pt x="895" y="2065"/>
                  </a:lnTo>
                  <a:lnTo>
                    <a:pt x="897" y="2071"/>
                  </a:lnTo>
                  <a:lnTo>
                    <a:pt x="901" y="2077"/>
                  </a:lnTo>
                  <a:lnTo>
                    <a:pt x="901" y="2077"/>
                  </a:lnTo>
                  <a:lnTo>
                    <a:pt x="904" y="2082"/>
                  </a:lnTo>
                  <a:lnTo>
                    <a:pt x="905" y="2090"/>
                  </a:lnTo>
                  <a:lnTo>
                    <a:pt x="905" y="2090"/>
                  </a:lnTo>
                  <a:lnTo>
                    <a:pt x="905" y="2100"/>
                  </a:lnTo>
                  <a:lnTo>
                    <a:pt x="905" y="2100"/>
                  </a:lnTo>
                  <a:lnTo>
                    <a:pt x="907" y="2108"/>
                  </a:lnTo>
                  <a:lnTo>
                    <a:pt x="908" y="2111"/>
                  </a:lnTo>
                  <a:lnTo>
                    <a:pt x="910" y="2112"/>
                  </a:lnTo>
                  <a:lnTo>
                    <a:pt x="911" y="2112"/>
                  </a:lnTo>
                  <a:lnTo>
                    <a:pt x="911" y="2112"/>
                  </a:lnTo>
                  <a:lnTo>
                    <a:pt x="912" y="2111"/>
                  </a:lnTo>
                  <a:lnTo>
                    <a:pt x="912" y="2111"/>
                  </a:lnTo>
                  <a:lnTo>
                    <a:pt x="914" y="2110"/>
                  </a:lnTo>
                  <a:lnTo>
                    <a:pt x="914" y="2107"/>
                  </a:lnTo>
                  <a:lnTo>
                    <a:pt x="914" y="2107"/>
                  </a:lnTo>
                  <a:lnTo>
                    <a:pt x="915" y="2104"/>
                  </a:lnTo>
                  <a:lnTo>
                    <a:pt x="915" y="2104"/>
                  </a:lnTo>
                  <a:lnTo>
                    <a:pt x="917" y="2105"/>
                  </a:lnTo>
                  <a:lnTo>
                    <a:pt x="918" y="2107"/>
                  </a:lnTo>
                  <a:lnTo>
                    <a:pt x="918" y="2107"/>
                  </a:lnTo>
                  <a:lnTo>
                    <a:pt x="931" y="2120"/>
                  </a:lnTo>
                  <a:lnTo>
                    <a:pt x="938" y="2124"/>
                  </a:lnTo>
                  <a:lnTo>
                    <a:pt x="945" y="2125"/>
                  </a:lnTo>
                  <a:lnTo>
                    <a:pt x="945" y="2125"/>
                  </a:lnTo>
                  <a:lnTo>
                    <a:pt x="948" y="2125"/>
                  </a:lnTo>
                  <a:lnTo>
                    <a:pt x="948" y="2125"/>
                  </a:lnTo>
                  <a:lnTo>
                    <a:pt x="954" y="2122"/>
                  </a:lnTo>
                  <a:lnTo>
                    <a:pt x="957" y="2120"/>
                  </a:lnTo>
                  <a:lnTo>
                    <a:pt x="957" y="2120"/>
                  </a:lnTo>
                  <a:lnTo>
                    <a:pt x="958" y="2117"/>
                  </a:lnTo>
                  <a:lnTo>
                    <a:pt x="964" y="2115"/>
                  </a:lnTo>
                  <a:lnTo>
                    <a:pt x="965" y="2115"/>
                  </a:lnTo>
                  <a:lnTo>
                    <a:pt x="965" y="2115"/>
                  </a:lnTo>
                  <a:lnTo>
                    <a:pt x="977" y="2117"/>
                  </a:lnTo>
                  <a:lnTo>
                    <a:pt x="977" y="2117"/>
                  </a:lnTo>
                  <a:lnTo>
                    <a:pt x="987" y="2118"/>
                  </a:lnTo>
                  <a:lnTo>
                    <a:pt x="987" y="2118"/>
                  </a:lnTo>
                  <a:lnTo>
                    <a:pt x="992" y="2118"/>
                  </a:lnTo>
                  <a:lnTo>
                    <a:pt x="995" y="2115"/>
                  </a:lnTo>
                  <a:lnTo>
                    <a:pt x="995" y="2115"/>
                  </a:lnTo>
                  <a:lnTo>
                    <a:pt x="1001" y="2110"/>
                  </a:lnTo>
                  <a:lnTo>
                    <a:pt x="1001" y="2110"/>
                  </a:lnTo>
                  <a:lnTo>
                    <a:pt x="1002" y="2107"/>
                  </a:lnTo>
                  <a:lnTo>
                    <a:pt x="1004" y="2107"/>
                  </a:lnTo>
                  <a:lnTo>
                    <a:pt x="1004" y="2107"/>
                  </a:lnTo>
                  <a:lnTo>
                    <a:pt x="1008" y="2105"/>
                  </a:lnTo>
                  <a:lnTo>
                    <a:pt x="1008" y="2105"/>
                  </a:lnTo>
                  <a:lnTo>
                    <a:pt x="1022" y="2104"/>
                  </a:lnTo>
                  <a:lnTo>
                    <a:pt x="1039" y="2102"/>
                  </a:lnTo>
                  <a:lnTo>
                    <a:pt x="1039" y="2102"/>
                  </a:lnTo>
                  <a:lnTo>
                    <a:pt x="1047" y="2102"/>
                  </a:lnTo>
                  <a:lnTo>
                    <a:pt x="1049" y="2104"/>
                  </a:lnTo>
                  <a:lnTo>
                    <a:pt x="1049" y="2104"/>
                  </a:lnTo>
                  <a:lnTo>
                    <a:pt x="1057" y="2108"/>
                  </a:lnTo>
                  <a:lnTo>
                    <a:pt x="1061" y="2110"/>
                  </a:lnTo>
                  <a:lnTo>
                    <a:pt x="1065" y="2111"/>
                  </a:lnTo>
                  <a:lnTo>
                    <a:pt x="1065" y="2111"/>
                  </a:lnTo>
                  <a:lnTo>
                    <a:pt x="1067" y="2110"/>
                  </a:lnTo>
                  <a:lnTo>
                    <a:pt x="1067" y="2110"/>
                  </a:lnTo>
                  <a:lnTo>
                    <a:pt x="1069" y="2110"/>
                  </a:lnTo>
                  <a:lnTo>
                    <a:pt x="1071" y="2107"/>
                  </a:lnTo>
                  <a:lnTo>
                    <a:pt x="1071" y="2107"/>
                  </a:lnTo>
                  <a:lnTo>
                    <a:pt x="1071" y="2102"/>
                  </a:lnTo>
                  <a:lnTo>
                    <a:pt x="1071" y="2102"/>
                  </a:lnTo>
                  <a:lnTo>
                    <a:pt x="1071" y="2102"/>
                  </a:lnTo>
                  <a:lnTo>
                    <a:pt x="1074" y="2102"/>
                  </a:lnTo>
                  <a:lnTo>
                    <a:pt x="1078" y="2104"/>
                  </a:lnTo>
                  <a:lnTo>
                    <a:pt x="1078" y="2104"/>
                  </a:lnTo>
                  <a:lnTo>
                    <a:pt x="1082" y="2104"/>
                  </a:lnTo>
                  <a:lnTo>
                    <a:pt x="1082" y="2104"/>
                  </a:lnTo>
                  <a:lnTo>
                    <a:pt x="1085" y="2104"/>
                  </a:lnTo>
                  <a:lnTo>
                    <a:pt x="1088" y="2101"/>
                  </a:lnTo>
                  <a:lnTo>
                    <a:pt x="1088" y="2101"/>
                  </a:lnTo>
                  <a:lnTo>
                    <a:pt x="1089" y="2097"/>
                  </a:lnTo>
                  <a:lnTo>
                    <a:pt x="1089" y="2094"/>
                  </a:lnTo>
                  <a:lnTo>
                    <a:pt x="1089" y="2094"/>
                  </a:lnTo>
                  <a:lnTo>
                    <a:pt x="1089" y="2092"/>
                  </a:lnTo>
                  <a:lnTo>
                    <a:pt x="1089" y="2092"/>
                  </a:lnTo>
                  <a:lnTo>
                    <a:pt x="1091" y="2092"/>
                  </a:lnTo>
                  <a:lnTo>
                    <a:pt x="1091" y="2092"/>
                  </a:lnTo>
                  <a:lnTo>
                    <a:pt x="1094" y="2094"/>
                  </a:lnTo>
                  <a:lnTo>
                    <a:pt x="1094" y="2094"/>
                  </a:lnTo>
                  <a:lnTo>
                    <a:pt x="1098" y="2097"/>
                  </a:lnTo>
                  <a:lnTo>
                    <a:pt x="1105" y="2097"/>
                  </a:lnTo>
                  <a:lnTo>
                    <a:pt x="1105" y="2097"/>
                  </a:lnTo>
                  <a:lnTo>
                    <a:pt x="1114" y="2095"/>
                  </a:lnTo>
                  <a:lnTo>
                    <a:pt x="1114" y="2095"/>
                  </a:lnTo>
                  <a:lnTo>
                    <a:pt x="1124" y="2090"/>
                  </a:lnTo>
                  <a:lnTo>
                    <a:pt x="1138" y="2078"/>
                  </a:lnTo>
                  <a:lnTo>
                    <a:pt x="1157" y="2064"/>
                  </a:lnTo>
                  <a:lnTo>
                    <a:pt x="1177" y="2045"/>
                  </a:lnTo>
                  <a:lnTo>
                    <a:pt x="1195" y="2027"/>
                  </a:lnTo>
                  <a:lnTo>
                    <a:pt x="1211" y="2010"/>
                  </a:lnTo>
                  <a:lnTo>
                    <a:pt x="1222" y="1995"/>
                  </a:lnTo>
                  <a:lnTo>
                    <a:pt x="1225" y="1990"/>
                  </a:lnTo>
                  <a:lnTo>
                    <a:pt x="1227" y="1985"/>
                  </a:lnTo>
                  <a:lnTo>
                    <a:pt x="1227" y="1985"/>
                  </a:lnTo>
                  <a:lnTo>
                    <a:pt x="1228" y="1977"/>
                  </a:lnTo>
                  <a:lnTo>
                    <a:pt x="1231" y="1971"/>
                  </a:lnTo>
                  <a:lnTo>
                    <a:pt x="1235" y="1967"/>
                  </a:lnTo>
                  <a:lnTo>
                    <a:pt x="1241" y="1964"/>
                  </a:lnTo>
                  <a:lnTo>
                    <a:pt x="1241" y="1964"/>
                  </a:lnTo>
                  <a:lnTo>
                    <a:pt x="1244" y="1961"/>
                  </a:lnTo>
                  <a:lnTo>
                    <a:pt x="1244" y="1961"/>
                  </a:lnTo>
                  <a:lnTo>
                    <a:pt x="1249" y="1958"/>
                  </a:lnTo>
                  <a:lnTo>
                    <a:pt x="1249" y="1958"/>
                  </a:lnTo>
                  <a:lnTo>
                    <a:pt x="1255" y="1955"/>
                  </a:lnTo>
                  <a:lnTo>
                    <a:pt x="1261" y="1951"/>
                  </a:lnTo>
                  <a:lnTo>
                    <a:pt x="1265" y="1945"/>
                  </a:lnTo>
                  <a:lnTo>
                    <a:pt x="1267" y="1943"/>
                  </a:lnTo>
                  <a:lnTo>
                    <a:pt x="1268" y="1938"/>
                  </a:lnTo>
                  <a:lnTo>
                    <a:pt x="1268" y="1938"/>
                  </a:lnTo>
                  <a:lnTo>
                    <a:pt x="1269" y="1930"/>
                  </a:lnTo>
                  <a:lnTo>
                    <a:pt x="1274" y="1921"/>
                  </a:lnTo>
                  <a:lnTo>
                    <a:pt x="1274" y="1921"/>
                  </a:lnTo>
                  <a:lnTo>
                    <a:pt x="1277" y="1911"/>
                  </a:lnTo>
                  <a:lnTo>
                    <a:pt x="1281" y="1901"/>
                  </a:lnTo>
                  <a:lnTo>
                    <a:pt x="1281" y="1891"/>
                  </a:lnTo>
                  <a:lnTo>
                    <a:pt x="1279" y="1881"/>
                  </a:lnTo>
                  <a:lnTo>
                    <a:pt x="1279" y="1881"/>
                  </a:lnTo>
                  <a:lnTo>
                    <a:pt x="1282" y="1875"/>
                  </a:lnTo>
                  <a:lnTo>
                    <a:pt x="1282" y="1875"/>
                  </a:lnTo>
                  <a:lnTo>
                    <a:pt x="1284" y="1874"/>
                  </a:lnTo>
                  <a:lnTo>
                    <a:pt x="1284" y="1874"/>
                  </a:lnTo>
                  <a:lnTo>
                    <a:pt x="1284" y="1871"/>
                  </a:lnTo>
                  <a:lnTo>
                    <a:pt x="1282" y="1868"/>
                  </a:lnTo>
                  <a:lnTo>
                    <a:pt x="1279" y="1865"/>
                  </a:lnTo>
                  <a:lnTo>
                    <a:pt x="1279" y="1865"/>
                  </a:lnTo>
                  <a:lnTo>
                    <a:pt x="1277" y="1864"/>
                  </a:lnTo>
                  <a:lnTo>
                    <a:pt x="1275" y="1861"/>
                  </a:lnTo>
                  <a:lnTo>
                    <a:pt x="1275" y="1861"/>
                  </a:lnTo>
                  <a:lnTo>
                    <a:pt x="1277" y="1858"/>
                  </a:lnTo>
                  <a:lnTo>
                    <a:pt x="1278" y="1857"/>
                  </a:lnTo>
                  <a:lnTo>
                    <a:pt x="1287" y="1851"/>
                  </a:lnTo>
                  <a:lnTo>
                    <a:pt x="1287" y="1851"/>
                  </a:lnTo>
                  <a:lnTo>
                    <a:pt x="1292" y="1847"/>
                  </a:lnTo>
                  <a:lnTo>
                    <a:pt x="1292" y="1847"/>
                  </a:lnTo>
                  <a:lnTo>
                    <a:pt x="1317" y="1834"/>
                  </a:lnTo>
                  <a:lnTo>
                    <a:pt x="1317" y="1834"/>
                  </a:lnTo>
                  <a:lnTo>
                    <a:pt x="1335" y="1824"/>
                  </a:lnTo>
                  <a:lnTo>
                    <a:pt x="1342" y="1820"/>
                  </a:lnTo>
                  <a:lnTo>
                    <a:pt x="1342" y="1820"/>
                  </a:lnTo>
                  <a:lnTo>
                    <a:pt x="1344" y="1818"/>
                  </a:lnTo>
                  <a:lnTo>
                    <a:pt x="1344" y="1818"/>
                  </a:lnTo>
                  <a:lnTo>
                    <a:pt x="1347" y="1815"/>
                  </a:lnTo>
                  <a:lnTo>
                    <a:pt x="1349" y="1811"/>
                  </a:lnTo>
                  <a:lnTo>
                    <a:pt x="1351" y="1805"/>
                  </a:lnTo>
                  <a:lnTo>
                    <a:pt x="1349" y="1798"/>
                  </a:lnTo>
                  <a:lnTo>
                    <a:pt x="1349" y="1798"/>
                  </a:lnTo>
                  <a:lnTo>
                    <a:pt x="1348" y="1793"/>
                  </a:lnTo>
                  <a:lnTo>
                    <a:pt x="1348" y="1787"/>
                  </a:lnTo>
                  <a:lnTo>
                    <a:pt x="1352" y="1775"/>
                  </a:lnTo>
                  <a:lnTo>
                    <a:pt x="1352" y="1775"/>
                  </a:lnTo>
                  <a:lnTo>
                    <a:pt x="1355" y="1768"/>
                  </a:lnTo>
                  <a:lnTo>
                    <a:pt x="1355" y="1768"/>
                  </a:lnTo>
                  <a:lnTo>
                    <a:pt x="1355" y="1765"/>
                  </a:lnTo>
                  <a:lnTo>
                    <a:pt x="1355" y="1763"/>
                  </a:lnTo>
                  <a:lnTo>
                    <a:pt x="1352" y="1757"/>
                  </a:lnTo>
                  <a:lnTo>
                    <a:pt x="1352" y="1757"/>
                  </a:lnTo>
                  <a:lnTo>
                    <a:pt x="1349" y="1754"/>
                  </a:lnTo>
                  <a:lnTo>
                    <a:pt x="1349" y="1751"/>
                  </a:lnTo>
                  <a:lnTo>
                    <a:pt x="1349" y="1751"/>
                  </a:lnTo>
                  <a:lnTo>
                    <a:pt x="1349" y="1743"/>
                  </a:lnTo>
                  <a:lnTo>
                    <a:pt x="1349" y="1743"/>
                  </a:lnTo>
                  <a:lnTo>
                    <a:pt x="1349" y="1735"/>
                  </a:lnTo>
                  <a:lnTo>
                    <a:pt x="1349" y="1735"/>
                  </a:lnTo>
                  <a:lnTo>
                    <a:pt x="1347" y="1730"/>
                  </a:lnTo>
                  <a:lnTo>
                    <a:pt x="1342" y="1718"/>
                  </a:lnTo>
                  <a:lnTo>
                    <a:pt x="1332" y="1700"/>
                  </a:lnTo>
                  <a:lnTo>
                    <a:pt x="1332" y="1700"/>
                  </a:lnTo>
                  <a:lnTo>
                    <a:pt x="1332" y="1695"/>
                  </a:lnTo>
                  <a:lnTo>
                    <a:pt x="1334" y="1691"/>
                  </a:lnTo>
                  <a:lnTo>
                    <a:pt x="1337" y="1684"/>
                  </a:lnTo>
                  <a:lnTo>
                    <a:pt x="1348" y="1678"/>
                  </a:lnTo>
                  <a:lnTo>
                    <a:pt x="1348" y="1678"/>
                  </a:lnTo>
                  <a:lnTo>
                    <a:pt x="1354" y="1674"/>
                  </a:lnTo>
                  <a:lnTo>
                    <a:pt x="1361" y="1667"/>
                  </a:lnTo>
                  <a:lnTo>
                    <a:pt x="1361" y="1667"/>
                  </a:lnTo>
                  <a:lnTo>
                    <a:pt x="1367" y="1660"/>
                  </a:lnTo>
                  <a:lnTo>
                    <a:pt x="1367" y="1660"/>
                  </a:lnTo>
                  <a:lnTo>
                    <a:pt x="1371" y="1658"/>
                  </a:lnTo>
                  <a:lnTo>
                    <a:pt x="1371" y="1658"/>
                  </a:lnTo>
                  <a:lnTo>
                    <a:pt x="1375" y="1657"/>
                  </a:lnTo>
                  <a:lnTo>
                    <a:pt x="1381" y="1651"/>
                  </a:lnTo>
                  <a:lnTo>
                    <a:pt x="1381" y="1651"/>
                  </a:lnTo>
                  <a:lnTo>
                    <a:pt x="1382" y="1648"/>
                  </a:lnTo>
                  <a:lnTo>
                    <a:pt x="1385" y="1647"/>
                  </a:lnTo>
                  <a:lnTo>
                    <a:pt x="1385" y="1647"/>
                  </a:lnTo>
                  <a:lnTo>
                    <a:pt x="1389" y="1644"/>
                  </a:lnTo>
                  <a:lnTo>
                    <a:pt x="1392" y="1640"/>
                  </a:lnTo>
                  <a:lnTo>
                    <a:pt x="1395" y="1634"/>
                  </a:lnTo>
                  <a:lnTo>
                    <a:pt x="1395" y="1634"/>
                  </a:lnTo>
                  <a:lnTo>
                    <a:pt x="1398" y="1630"/>
                  </a:lnTo>
                  <a:lnTo>
                    <a:pt x="1404" y="1625"/>
                  </a:lnTo>
                  <a:lnTo>
                    <a:pt x="1417" y="1616"/>
                  </a:lnTo>
                  <a:lnTo>
                    <a:pt x="1429" y="1610"/>
                  </a:lnTo>
                  <a:lnTo>
                    <a:pt x="1438" y="1607"/>
                  </a:lnTo>
                  <a:lnTo>
                    <a:pt x="1438" y="1607"/>
                  </a:lnTo>
                  <a:lnTo>
                    <a:pt x="1441" y="1606"/>
                  </a:lnTo>
                  <a:lnTo>
                    <a:pt x="1444" y="1604"/>
                  </a:lnTo>
                  <a:lnTo>
                    <a:pt x="1444" y="1604"/>
                  </a:lnTo>
                  <a:lnTo>
                    <a:pt x="1454" y="1598"/>
                  </a:lnTo>
                  <a:lnTo>
                    <a:pt x="1454" y="1598"/>
                  </a:lnTo>
                  <a:lnTo>
                    <a:pt x="1459" y="1594"/>
                  </a:lnTo>
                  <a:lnTo>
                    <a:pt x="1465" y="1590"/>
                  </a:lnTo>
                  <a:lnTo>
                    <a:pt x="1472" y="1581"/>
                  </a:lnTo>
                  <a:lnTo>
                    <a:pt x="1472" y="1580"/>
                  </a:lnTo>
                  <a:lnTo>
                    <a:pt x="1472" y="1580"/>
                  </a:lnTo>
                  <a:lnTo>
                    <a:pt x="1478" y="1574"/>
                  </a:lnTo>
                  <a:lnTo>
                    <a:pt x="1482" y="1570"/>
                  </a:lnTo>
                  <a:lnTo>
                    <a:pt x="1482" y="1570"/>
                  </a:lnTo>
                  <a:lnTo>
                    <a:pt x="1482" y="1570"/>
                  </a:lnTo>
                  <a:lnTo>
                    <a:pt x="1485" y="1568"/>
                  </a:lnTo>
                  <a:lnTo>
                    <a:pt x="1485" y="1568"/>
                  </a:lnTo>
                  <a:lnTo>
                    <a:pt x="1489" y="1566"/>
                  </a:lnTo>
                  <a:lnTo>
                    <a:pt x="1491" y="1561"/>
                  </a:lnTo>
                  <a:lnTo>
                    <a:pt x="1492" y="1557"/>
                  </a:lnTo>
                  <a:lnTo>
                    <a:pt x="1491" y="1551"/>
                  </a:lnTo>
                  <a:lnTo>
                    <a:pt x="1491" y="1551"/>
                  </a:lnTo>
                  <a:lnTo>
                    <a:pt x="1492" y="1546"/>
                  </a:lnTo>
                  <a:lnTo>
                    <a:pt x="1494" y="1541"/>
                  </a:lnTo>
                  <a:lnTo>
                    <a:pt x="1494" y="1541"/>
                  </a:lnTo>
                  <a:lnTo>
                    <a:pt x="1497" y="1534"/>
                  </a:lnTo>
                  <a:lnTo>
                    <a:pt x="1498" y="1531"/>
                  </a:lnTo>
                  <a:lnTo>
                    <a:pt x="1497" y="1527"/>
                  </a:lnTo>
                  <a:lnTo>
                    <a:pt x="1497" y="1527"/>
                  </a:lnTo>
                  <a:lnTo>
                    <a:pt x="1495" y="1523"/>
                  </a:lnTo>
                  <a:lnTo>
                    <a:pt x="1495" y="1518"/>
                  </a:lnTo>
                  <a:lnTo>
                    <a:pt x="1495" y="1518"/>
                  </a:lnTo>
                  <a:lnTo>
                    <a:pt x="1494" y="1507"/>
                  </a:lnTo>
                  <a:lnTo>
                    <a:pt x="1494" y="1507"/>
                  </a:lnTo>
                  <a:lnTo>
                    <a:pt x="1494" y="1500"/>
                  </a:lnTo>
                  <a:lnTo>
                    <a:pt x="1494" y="1500"/>
                  </a:lnTo>
                  <a:lnTo>
                    <a:pt x="1491" y="1483"/>
                  </a:lnTo>
                  <a:lnTo>
                    <a:pt x="1491" y="1483"/>
                  </a:lnTo>
                  <a:lnTo>
                    <a:pt x="1492" y="1468"/>
                  </a:lnTo>
                  <a:lnTo>
                    <a:pt x="1492" y="1468"/>
                  </a:lnTo>
                  <a:lnTo>
                    <a:pt x="1492" y="1461"/>
                  </a:lnTo>
                  <a:lnTo>
                    <a:pt x="1491" y="1457"/>
                  </a:lnTo>
                  <a:lnTo>
                    <a:pt x="1491" y="1457"/>
                  </a:lnTo>
                  <a:lnTo>
                    <a:pt x="1491" y="1446"/>
                  </a:lnTo>
                  <a:lnTo>
                    <a:pt x="1491" y="1446"/>
                  </a:lnTo>
                  <a:lnTo>
                    <a:pt x="1491" y="1437"/>
                  </a:lnTo>
                  <a:lnTo>
                    <a:pt x="1491" y="1437"/>
                  </a:lnTo>
                  <a:lnTo>
                    <a:pt x="1492" y="1433"/>
                  </a:lnTo>
                  <a:lnTo>
                    <a:pt x="1492" y="1430"/>
                  </a:lnTo>
                  <a:lnTo>
                    <a:pt x="1492" y="1430"/>
                  </a:lnTo>
                  <a:lnTo>
                    <a:pt x="1494" y="1424"/>
                  </a:lnTo>
                  <a:lnTo>
                    <a:pt x="1494" y="1424"/>
                  </a:lnTo>
                  <a:lnTo>
                    <a:pt x="1495" y="1420"/>
                  </a:lnTo>
                  <a:lnTo>
                    <a:pt x="1495" y="1420"/>
                  </a:lnTo>
                  <a:lnTo>
                    <a:pt x="1497" y="1416"/>
                  </a:lnTo>
                  <a:lnTo>
                    <a:pt x="1497" y="1411"/>
                  </a:lnTo>
                  <a:lnTo>
                    <a:pt x="1497" y="1411"/>
                  </a:lnTo>
                  <a:lnTo>
                    <a:pt x="1497" y="1408"/>
                  </a:lnTo>
                  <a:lnTo>
                    <a:pt x="1495" y="1407"/>
                  </a:lnTo>
                  <a:lnTo>
                    <a:pt x="1495" y="1407"/>
                  </a:lnTo>
                  <a:lnTo>
                    <a:pt x="1491" y="1406"/>
                  </a:lnTo>
                  <a:lnTo>
                    <a:pt x="1491" y="1406"/>
                  </a:lnTo>
                  <a:lnTo>
                    <a:pt x="1491" y="1404"/>
                  </a:lnTo>
                  <a:lnTo>
                    <a:pt x="1491" y="1404"/>
                  </a:lnTo>
                  <a:lnTo>
                    <a:pt x="1491" y="1401"/>
                  </a:lnTo>
                  <a:lnTo>
                    <a:pt x="1488" y="1400"/>
                  </a:lnTo>
                  <a:lnTo>
                    <a:pt x="1482" y="1397"/>
                  </a:lnTo>
                  <a:lnTo>
                    <a:pt x="1482" y="1397"/>
                  </a:lnTo>
                  <a:lnTo>
                    <a:pt x="1477" y="1396"/>
                  </a:lnTo>
                  <a:lnTo>
                    <a:pt x="1477" y="1396"/>
                  </a:lnTo>
                  <a:lnTo>
                    <a:pt x="1474" y="1393"/>
                  </a:lnTo>
                  <a:lnTo>
                    <a:pt x="1474" y="1387"/>
                  </a:lnTo>
                  <a:lnTo>
                    <a:pt x="1474" y="1387"/>
                  </a:lnTo>
                  <a:lnTo>
                    <a:pt x="1474" y="1381"/>
                  </a:lnTo>
                  <a:lnTo>
                    <a:pt x="1474" y="1381"/>
                  </a:lnTo>
                  <a:lnTo>
                    <a:pt x="1474" y="1373"/>
                  </a:lnTo>
                  <a:lnTo>
                    <a:pt x="1471" y="1367"/>
                  </a:lnTo>
                  <a:lnTo>
                    <a:pt x="1465" y="1357"/>
                  </a:lnTo>
                  <a:lnTo>
                    <a:pt x="1464" y="1356"/>
                  </a:lnTo>
                  <a:lnTo>
                    <a:pt x="1464" y="1356"/>
                  </a:lnTo>
                  <a:lnTo>
                    <a:pt x="1464" y="1354"/>
                  </a:lnTo>
                  <a:lnTo>
                    <a:pt x="1464" y="1353"/>
                  </a:lnTo>
                  <a:lnTo>
                    <a:pt x="1467" y="1343"/>
                  </a:lnTo>
                  <a:lnTo>
                    <a:pt x="1467" y="1343"/>
                  </a:lnTo>
                  <a:lnTo>
                    <a:pt x="1468" y="1336"/>
                  </a:lnTo>
                  <a:lnTo>
                    <a:pt x="1467" y="1334"/>
                  </a:lnTo>
                  <a:lnTo>
                    <a:pt x="1465" y="1331"/>
                  </a:lnTo>
                  <a:lnTo>
                    <a:pt x="1465" y="1331"/>
                  </a:lnTo>
                  <a:lnTo>
                    <a:pt x="1461" y="1327"/>
                  </a:lnTo>
                  <a:lnTo>
                    <a:pt x="1461" y="1327"/>
                  </a:lnTo>
                  <a:lnTo>
                    <a:pt x="1461" y="1326"/>
                  </a:lnTo>
                  <a:lnTo>
                    <a:pt x="1461" y="1324"/>
                  </a:lnTo>
                  <a:lnTo>
                    <a:pt x="1465" y="1320"/>
                  </a:lnTo>
                  <a:lnTo>
                    <a:pt x="1465" y="1320"/>
                  </a:lnTo>
                  <a:lnTo>
                    <a:pt x="1469" y="1316"/>
                  </a:lnTo>
                  <a:lnTo>
                    <a:pt x="1472" y="1313"/>
                  </a:lnTo>
                  <a:lnTo>
                    <a:pt x="1472" y="1313"/>
                  </a:lnTo>
                  <a:lnTo>
                    <a:pt x="1474" y="1307"/>
                  </a:lnTo>
                  <a:lnTo>
                    <a:pt x="1472" y="1303"/>
                  </a:lnTo>
                  <a:lnTo>
                    <a:pt x="1469" y="1300"/>
                  </a:lnTo>
                  <a:lnTo>
                    <a:pt x="1465" y="1296"/>
                  </a:lnTo>
                  <a:lnTo>
                    <a:pt x="1462" y="1294"/>
                  </a:lnTo>
                  <a:lnTo>
                    <a:pt x="1462" y="1294"/>
                  </a:lnTo>
                  <a:lnTo>
                    <a:pt x="1458" y="1291"/>
                  </a:lnTo>
                  <a:lnTo>
                    <a:pt x="1455" y="1287"/>
                  </a:lnTo>
                  <a:lnTo>
                    <a:pt x="1455" y="1287"/>
                  </a:lnTo>
                  <a:lnTo>
                    <a:pt x="1452" y="1284"/>
                  </a:lnTo>
                  <a:lnTo>
                    <a:pt x="1449" y="1281"/>
                  </a:lnTo>
                  <a:lnTo>
                    <a:pt x="1449" y="1281"/>
                  </a:lnTo>
                  <a:lnTo>
                    <a:pt x="1449" y="1277"/>
                  </a:lnTo>
                  <a:lnTo>
                    <a:pt x="1452" y="1267"/>
                  </a:lnTo>
                  <a:lnTo>
                    <a:pt x="1464" y="1238"/>
                  </a:lnTo>
                  <a:lnTo>
                    <a:pt x="1464" y="1238"/>
                  </a:lnTo>
                  <a:lnTo>
                    <a:pt x="1464" y="1238"/>
                  </a:lnTo>
                  <a:lnTo>
                    <a:pt x="1465" y="1238"/>
                  </a:lnTo>
                  <a:lnTo>
                    <a:pt x="1465" y="1238"/>
                  </a:lnTo>
                  <a:lnTo>
                    <a:pt x="1468" y="1236"/>
                  </a:lnTo>
                  <a:lnTo>
                    <a:pt x="1468" y="1231"/>
                  </a:lnTo>
                  <a:lnTo>
                    <a:pt x="1468" y="1231"/>
                  </a:lnTo>
                  <a:lnTo>
                    <a:pt x="1469" y="1228"/>
                  </a:lnTo>
                  <a:lnTo>
                    <a:pt x="1471" y="1224"/>
                  </a:lnTo>
                  <a:lnTo>
                    <a:pt x="1474" y="1221"/>
                  </a:lnTo>
                  <a:lnTo>
                    <a:pt x="1474" y="1217"/>
                  </a:lnTo>
                  <a:lnTo>
                    <a:pt x="1474" y="1217"/>
                  </a:lnTo>
                  <a:lnTo>
                    <a:pt x="1475" y="1210"/>
                  </a:lnTo>
                  <a:lnTo>
                    <a:pt x="1478" y="1206"/>
                  </a:lnTo>
                  <a:lnTo>
                    <a:pt x="1478" y="1206"/>
                  </a:lnTo>
                  <a:lnTo>
                    <a:pt x="1484" y="1200"/>
                  </a:lnTo>
                  <a:lnTo>
                    <a:pt x="1487" y="1194"/>
                  </a:lnTo>
                  <a:lnTo>
                    <a:pt x="1487" y="1194"/>
                  </a:lnTo>
                  <a:lnTo>
                    <a:pt x="1488" y="1191"/>
                  </a:lnTo>
                  <a:lnTo>
                    <a:pt x="1488" y="1188"/>
                  </a:lnTo>
                  <a:lnTo>
                    <a:pt x="1487" y="1186"/>
                  </a:lnTo>
                  <a:lnTo>
                    <a:pt x="1487" y="1181"/>
                  </a:lnTo>
                  <a:lnTo>
                    <a:pt x="1487" y="1181"/>
                  </a:lnTo>
                  <a:lnTo>
                    <a:pt x="1488" y="1178"/>
                  </a:lnTo>
                  <a:lnTo>
                    <a:pt x="1489" y="1177"/>
                  </a:lnTo>
                  <a:lnTo>
                    <a:pt x="1495" y="1177"/>
                  </a:lnTo>
                  <a:lnTo>
                    <a:pt x="1495" y="1177"/>
                  </a:lnTo>
                  <a:lnTo>
                    <a:pt x="1499" y="1176"/>
                  </a:lnTo>
                  <a:lnTo>
                    <a:pt x="1502" y="1174"/>
                  </a:lnTo>
                  <a:lnTo>
                    <a:pt x="1502" y="1174"/>
                  </a:lnTo>
                  <a:lnTo>
                    <a:pt x="1505" y="1173"/>
                  </a:lnTo>
                  <a:lnTo>
                    <a:pt x="1505" y="1170"/>
                  </a:lnTo>
                  <a:lnTo>
                    <a:pt x="1507" y="1161"/>
                  </a:lnTo>
                  <a:lnTo>
                    <a:pt x="1507" y="1161"/>
                  </a:lnTo>
                  <a:lnTo>
                    <a:pt x="1507" y="1159"/>
                  </a:lnTo>
                  <a:lnTo>
                    <a:pt x="1508" y="1160"/>
                  </a:lnTo>
                  <a:lnTo>
                    <a:pt x="1511" y="1161"/>
                  </a:lnTo>
                  <a:lnTo>
                    <a:pt x="1514" y="1161"/>
                  </a:lnTo>
                  <a:lnTo>
                    <a:pt x="1514" y="1161"/>
                  </a:lnTo>
                  <a:lnTo>
                    <a:pt x="1517" y="1160"/>
                  </a:lnTo>
                  <a:lnTo>
                    <a:pt x="1519" y="1156"/>
                  </a:lnTo>
                  <a:lnTo>
                    <a:pt x="1519" y="1156"/>
                  </a:lnTo>
                  <a:lnTo>
                    <a:pt x="1524" y="1150"/>
                  </a:lnTo>
                  <a:lnTo>
                    <a:pt x="1527" y="1151"/>
                  </a:lnTo>
                  <a:lnTo>
                    <a:pt x="1527" y="1147"/>
                  </a:lnTo>
                  <a:lnTo>
                    <a:pt x="1527" y="1147"/>
                  </a:lnTo>
                  <a:lnTo>
                    <a:pt x="1529" y="1141"/>
                  </a:lnTo>
                  <a:lnTo>
                    <a:pt x="1534" y="1134"/>
                  </a:lnTo>
                  <a:lnTo>
                    <a:pt x="1551" y="1114"/>
                  </a:lnTo>
                  <a:lnTo>
                    <a:pt x="1577" y="1086"/>
                  </a:lnTo>
                  <a:lnTo>
                    <a:pt x="1611" y="1053"/>
                  </a:lnTo>
                  <a:lnTo>
                    <a:pt x="1612" y="1051"/>
                  </a:lnTo>
                  <a:lnTo>
                    <a:pt x="1612" y="1051"/>
                  </a:lnTo>
                  <a:lnTo>
                    <a:pt x="1614" y="1050"/>
                  </a:lnTo>
                  <a:lnTo>
                    <a:pt x="1614" y="1050"/>
                  </a:lnTo>
                  <a:lnTo>
                    <a:pt x="1615" y="1049"/>
                  </a:lnTo>
                  <a:lnTo>
                    <a:pt x="1618" y="1049"/>
                  </a:lnTo>
                  <a:lnTo>
                    <a:pt x="1618" y="1049"/>
                  </a:lnTo>
                  <a:lnTo>
                    <a:pt x="1621" y="1047"/>
                  </a:lnTo>
                  <a:lnTo>
                    <a:pt x="1627" y="1044"/>
                  </a:lnTo>
                  <a:lnTo>
                    <a:pt x="1627" y="1044"/>
                  </a:lnTo>
                  <a:lnTo>
                    <a:pt x="1629" y="1043"/>
                  </a:lnTo>
                  <a:lnTo>
                    <a:pt x="1629" y="1043"/>
                  </a:lnTo>
                  <a:lnTo>
                    <a:pt x="1634" y="1040"/>
                  </a:lnTo>
                  <a:lnTo>
                    <a:pt x="1638" y="1037"/>
                  </a:lnTo>
                  <a:lnTo>
                    <a:pt x="1642" y="1031"/>
                  </a:lnTo>
                  <a:lnTo>
                    <a:pt x="1648" y="1024"/>
                  </a:lnTo>
                  <a:lnTo>
                    <a:pt x="1648" y="1024"/>
                  </a:lnTo>
                  <a:lnTo>
                    <a:pt x="1652" y="1016"/>
                  </a:lnTo>
                  <a:lnTo>
                    <a:pt x="1659" y="1009"/>
                  </a:lnTo>
                  <a:lnTo>
                    <a:pt x="1674" y="993"/>
                  </a:lnTo>
                  <a:lnTo>
                    <a:pt x="1674" y="993"/>
                  </a:lnTo>
                  <a:lnTo>
                    <a:pt x="1682" y="984"/>
                  </a:lnTo>
                  <a:lnTo>
                    <a:pt x="1682" y="984"/>
                  </a:lnTo>
                  <a:lnTo>
                    <a:pt x="1687" y="980"/>
                  </a:lnTo>
                  <a:lnTo>
                    <a:pt x="1687" y="980"/>
                  </a:lnTo>
                  <a:lnTo>
                    <a:pt x="1691" y="976"/>
                  </a:lnTo>
                  <a:lnTo>
                    <a:pt x="1692" y="973"/>
                  </a:lnTo>
                  <a:lnTo>
                    <a:pt x="1694" y="967"/>
                  </a:lnTo>
                  <a:lnTo>
                    <a:pt x="1694" y="967"/>
                  </a:lnTo>
                  <a:lnTo>
                    <a:pt x="1694" y="963"/>
                  </a:lnTo>
                  <a:lnTo>
                    <a:pt x="1697" y="959"/>
                  </a:lnTo>
                  <a:lnTo>
                    <a:pt x="1701" y="951"/>
                  </a:lnTo>
                  <a:lnTo>
                    <a:pt x="1701" y="951"/>
                  </a:lnTo>
                  <a:lnTo>
                    <a:pt x="1705" y="946"/>
                  </a:lnTo>
                  <a:lnTo>
                    <a:pt x="1705" y="946"/>
                  </a:lnTo>
                  <a:lnTo>
                    <a:pt x="1708" y="940"/>
                  </a:lnTo>
                  <a:lnTo>
                    <a:pt x="1708" y="940"/>
                  </a:lnTo>
                  <a:lnTo>
                    <a:pt x="1715" y="926"/>
                  </a:lnTo>
                  <a:lnTo>
                    <a:pt x="1715" y="926"/>
                  </a:lnTo>
                  <a:lnTo>
                    <a:pt x="1717" y="921"/>
                  </a:lnTo>
                  <a:lnTo>
                    <a:pt x="1717" y="921"/>
                  </a:lnTo>
                  <a:lnTo>
                    <a:pt x="1719" y="917"/>
                  </a:lnTo>
                  <a:lnTo>
                    <a:pt x="1719" y="911"/>
                  </a:lnTo>
                  <a:lnTo>
                    <a:pt x="1719" y="911"/>
                  </a:lnTo>
                  <a:lnTo>
                    <a:pt x="1722" y="907"/>
                  </a:lnTo>
                  <a:lnTo>
                    <a:pt x="1727" y="900"/>
                  </a:lnTo>
                  <a:lnTo>
                    <a:pt x="1727" y="900"/>
                  </a:lnTo>
                  <a:lnTo>
                    <a:pt x="1734" y="884"/>
                  </a:lnTo>
                  <a:lnTo>
                    <a:pt x="1737" y="877"/>
                  </a:lnTo>
                  <a:lnTo>
                    <a:pt x="1737" y="873"/>
                  </a:lnTo>
                  <a:lnTo>
                    <a:pt x="1737" y="873"/>
                  </a:lnTo>
                  <a:lnTo>
                    <a:pt x="1737" y="869"/>
                  </a:lnTo>
                  <a:lnTo>
                    <a:pt x="1738" y="866"/>
                  </a:lnTo>
                  <a:lnTo>
                    <a:pt x="1738" y="866"/>
                  </a:lnTo>
                  <a:lnTo>
                    <a:pt x="1741" y="864"/>
                  </a:lnTo>
                  <a:lnTo>
                    <a:pt x="1744" y="861"/>
                  </a:lnTo>
                  <a:lnTo>
                    <a:pt x="1744" y="861"/>
                  </a:lnTo>
                  <a:lnTo>
                    <a:pt x="1747" y="856"/>
                  </a:lnTo>
                  <a:lnTo>
                    <a:pt x="1747" y="856"/>
                  </a:lnTo>
                  <a:lnTo>
                    <a:pt x="1751" y="850"/>
                  </a:lnTo>
                  <a:lnTo>
                    <a:pt x="1752" y="843"/>
                  </a:lnTo>
                  <a:lnTo>
                    <a:pt x="1752" y="843"/>
                  </a:lnTo>
                  <a:lnTo>
                    <a:pt x="1755" y="839"/>
                  </a:lnTo>
                  <a:lnTo>
                    <a:pt x="1757" y="834"/>
                  </a:lnTo>
                  <a:lnTo>
                    <a:pt x="1757" y="834"/>
                  </a:lnTo>
                  <a:lnTo>
                    <a:pt x="1759" y="830"/>
                  </a:lnTo>
                  <a:lnTo>
                    <a:pt x="1762" y="823"/>
                  </a:lnTo>
                  <a:lnTo>
                    <a:pt x="1762" y="823"/>
                  </a:lnTo>
                  <a:lnTo>
                    <a:pt x="1764" y="807"/>
                  </a:lnTo>
                  <a:lnTo>
                    <a:pt x="1764" y="807"/>
                  </a:lnTo>
                  <a:lnTo>
                    <a:pt x="1765" y="797"/>
                  </a:lnTo>
                  <a:lnTo>
                    <a:pt x="1765" y="797"/>
                  </a:lnTo>
                  <a:lnTo>
                    <a:pt x="1765" y="796"/>
                  </a:lnTo>
                  <a:lnTo>
                    <a:pt x="1765" y="796"/>
                  </a:lnTo>
                  <a:lnTo>
                    <a:pt x="1765" y="797"/>
                  </a:lnTo>
                  <a:lnTo>
                    <a:pt x="1765" y="797"/>
                  </a:lnTo>
                  <a:lnTo>
                    <a:pt x="1768" y="799"/>
                  </a:lnTo>
                  <a:lnTo>
                    <a:pt x="1771" y="799"/>
                  </a:lnTo>
                  <a:lnTo>
                    <a:pt x="1771" y="799"/>
                  </a:lnTo>
                  <a:lnTo>
                    <a:pt x="1774" y="799"/>
                  </a:lnTo>
                  <a:lnTo>
                    <a:pt x="1774" y="799"/>
                  </a:lnTo>
                  <a:lnTo>
                    <a:pt x="1775" y="797"/>
                  </a:lnTo>
                  <a:lnTo>
                    <a:pt x="1777" y="794"/>
                  </a:lnTo>
                  <a:lnTo>
                    <a:pt x="1777" y="794"/>
                  </a:lnTo>
                  <a:lnTo>
                    <a:pt x="1775" y="793"/>
                  </a:lnTo>
                  <a:lnTo>
                    <a:pt x="1774" y="790"/>
                  </a:lnTo>
                  <a:lnTo>
                    <a:pt x="1774" y="790"/>
                  </a:lnTo>
                  <a:close/>
                  <a:moveTo>
                    <a:pt x="1214" y="1140"/>
                  </a:moveTo>
                  <a:lnTo>
                    <a:pt x="1214" y="1140"/>
                  </a:lnTo>
                  <a:lnTo>
                    <a:pt x="1214" y="1140"/>
                  </a:lnTo>
                  <a:lnTo>
                    <a:pt x="1214" y="1140"/>
                  </a:lnTo>
                  <a:lnTo>
                    <a:pt x="1215" y="1140"/>
                  </a:lnTo>
                  <a:lnTo>
                    <a:pt x="1214" y="1140"/>
                  </a:lnTo>
                  <a:close/>
                  <a:moveTo>
                    <a:pt x="1229" y="1136"/>
                  </a:moveTo>
                  <a:lnTo>
                    <a:pt x="1225" y="1141"/>
                  </a:lnTo>
                  <a:lnTo>
                    <a:pt x="1224" y="1141"/>
                  </a:lnTo>
                  <a:lnTo>
                    <a:pt x="1224" y="1141"/>
                  </a:lnTo>
                  <a:lnTo>
                    <a:pt x="1228" y="1137"/>
                  </a:lnTo>
                  <a:lnTo>
                    <a:pt x="1231" y="1136"/>
                  </a:lnTo>
                  <a:lnTo>
                    <a:pt x="1234" y="1134"/>
                  </a:lnTo>
                  <a:lnTo>
                    <a:pt x="1229" y="1136"/>
                  </a:lnTo>
                  <a:close/>
                  <a:moveTo>
                    <a:pt x="1219" y="1143"/>
                  </a:moveTo>
                  <a:lnTo>
                    <a:pt x="1219" y="1143"/>
                  </a:lnTo>
                  <a:lnTo>
                    <a:pt x="1219" y="1143"/>
                  </a:lnTo>
                  <a:lnTo>
                    <a:pt x="1219" y="1143"/>
                  </a:lnTo>
                  <a:lnTo>
                    <a:pt x="1219" y="1143"/>
                  </a:lnTo>
                  <a:close/>
                  <a:moveTo>
                    <a:pt x="1265" y="1127"/>
                  </a:moveTo>
                  <a:lnTo>
                    <a:pt x="1265" y="1129"/>
                  </a:lnTo>
                  <a:lnTo>
                    <a:pt x="1265" y="1129"/>
                  </a:lnTo>
                  <a:lnTo>
                    <a:pt x="1265" y="1127"/>
                  </a:lnTo>
                  <a:lnTo>
                    <a:pt x="1265" y="1127"/>
                  </a:lnTo>
                  <a:close/>
                  <a:moveTo>
                    <a:pt x="1262" y="1130"/>
                  </a:moveTo>
                  <a:lnTo>
                    <a:pt x="1262" y="1130"/>
                  </a:lnTo>
                  <a:lnTo>
                    <a:pt x="1262" y="1130"/>
                  </a:lnTo>
                  <a:lnTo>
                    <a:pt x="1262" y="1130"/>
                  </a:lnTo>
                  <a:lnTo>
                    <a:pt x="1262" y="1130"/>
                  </a:lnTo>
                  <a:close/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26" name="Freeform 80"/>
            <p:cNvSpPr>
              <a:spLocks/>
            </p:cNvSpPr>
            <p:nvPr/>
          </p:nvSpPr>
          <p:spPr bwMode="auto">
            <a:xfrm>
              <a:off x="4575175" y="3692525"/>
              <a:ext cx="160338" cy="319088"/>
            </a:xfrm>
            <a:custGeom>
              <a:avLst/>
              <a:gdLst>
                <a:gd name="T0" fmla="*/ 193 w 201"/>
                <a:gd name="T1" fmla="*/ 33 h 403"/>
                <a:gd name="T2" fmla="*/ 183 w 201"/>
                <a:gd name="T3" fmla="*/ 26 h 403"/>
                <a:gd name="T4" fmla="*/ 178 w 201"/>
                <a:gd name="T5" fmla="*/ 16 h 403"/>
                <a:gd name="T6" fmla="*/ 174 w 201"/>
                <a:gd name="T7" fmla="*/ 0 h 403"/>
                <a:gd name="T8" fmla="*/ 165 w 201"/>
                <a:gd name="T9" fmla="*/ 10 h 403"/>
                <a:gd name="T10" fmla="*/ 160 w 201"/>
                <a:gd name="T11" fmla="*/ 16 h 403"/>
                <a:gd name="T12" fmla="*/ 158 w 201"/>
                <a:gd name="T13" fmla="*/ 25 h 403"/>
                <a:gd name="T14" fmla="*/ 158 w 201"/>
                <a:gd name="T15" fmla="*/ 36 h 403"/>
                <a:gd name="T16" fmla="*/ 145 w 201"/>
                <a:gd name="T17" fmla="*/ 52 h 403"/>
                <a:gd name="T18" fmla="*/ 134 w 201"/>
                <a:gd name="T19" fmla="*/ 66 h 403"/>
                <a:gd name="T20" fmla="*/ 127 w 201"/>
                <a:gd name="T21" fmla="*/ 76 h 403"/>
                <a:gd name="T22" fmla="*/ 123 w 201"/>
                <a:gd name="T23" fmla="*/ 86 h 403"/>
                <a:gd name="T24" fmla="*/ 114 w 201"/>
                <a:gd name="T25" fmla="*/ 90 h 403"/>
                <a:gd name="T26" fmla="*/ 110 w 201"/>
                <a:gd name="T27" fmla="*/ 97 h 403"/>
                <a:gd name="T28" fmla="*/ 104 w 201"/>
                <a:gd name="T29" fmla="*/ 102 h 403"/>
                <a:gd name="T30" fmla="*/ 93 w 201"/>
                <a:gd name="T31" fmla="*/ 107 h 403"/>
                <a:gd name="T32" fmla="*/ 90 w 201"/>
                <a:gd name="T33" fmla="*/ 115 h 403"/>
                <a:gd name="T34" fmla="*/ 81 w 201"/>
                <a:gd name="T35" fmla="*/ 112 h 403"/>
                <a:gd name="T36" fmla="*/ 70 w 201"/>
                <a:gd name="T37" fmla="*/ 115 h 403"/>
                <a:gd name="T38" fmla="*/ 58 w 201"/>
                <a:gd name="T39" fmla="*/ 120 h 403"/>
                <a:gd name="T40" fmla="*/ 51 w 201"/>
                <a:gd name="T41" fmla="*/ 123 h 403"/>
                <a:gd name="T42" fmla="*/ 37 w 201"/>
                <a:gd name="T43" fmla="*/ 143 h 403"/>
                <a:gd name="T44" fmla="*/ 28 w 201"/>
                <a:gd name="T45" fmla="*/ 157 h 403"/>
                <a:gd name="T46" fmla="*/ 25 w 201"/>
                <a:gd name="T47" fmla="*/ 184 h 403"/>
                <a:gd name="T48" fmla="*/ 28 w 201"/>
                <a:gd name="T49" fmla="*/ 197 h 403"/>
                <a:gd name="T50" fmla="*/ 31 w 201"/>
                <a:gd name="T51" fmla="*/ 210 h 403"/>
                <a:gd name="T52" fmla="*/ 35 w 201"/>
                <a:gd name="T53" fmla="*/ 222 h 403"/>
                <a:gd name="T54" fmla="*/ 38 w 201"/>
                <a:gd name="T55" fmla="*/ 229 h 403"/>
                <a:gd name="T56" fmla="*/ 24 w 201"/>
                <a:gd name="T57" fmla="*/ 256 h 403"/>
                <a:gd name="T58" fmla="*/ 15 w 201"/>
                <a:gd name="T59" fmla="*/ 272 h 403"/>
                <a:gd name="T60" fmla="*/ 7 w 201"/>
                <a:gd name="T61" fmla="*/ 287 h 403"/>
                <a:gd name="T62" fmla="*/ 0 w 201"/>
                <a:gd name="T63" fmla="*/ 304 h 403"/>
                <a:gd name="T64" fmla="*/ 11 w 201"/>
                <a:gd name="T65" fmla="*/ 337 h 403"/>
                <a:gd name="T66" fmla="*/ 8 w 201"/>
                <a:gd name="T67" fmla="*/ 359 h 403"/>
                <a:gd name="T68" fmla="*/ 10 w 201"/>
                <a:gd name="T69" fmla="*/ 372 h 403"/>
                <a:gd name="T70" fmla="*/ 20 w 201"/>
                <a:gd name="T71" fmla="*/ 389 h 403"/>
                <a:gd name="T72" fmla="*/ 30 w 201"/>
                <a:gd name="T73" fmla="*/ 397 h 403"/>
                <a:gd name="T74" fmla="*/ 35 w 201"/>
                <a:gd name="T75" fmla="*/ 396 h 403"/>
                <a:gd name="T76" fmla="*/ 47 w 201"/>
                <a:gd name="T77" fmla="*/ 403 h 403"/>
                <a:gd name="T78" fmla="*/ 67 w 201"/>
                <a:gd name="T79" fmla="*/ 396 h 403"/>
                <a:gd name="T80" fmla="*/ 97 w 201"/>
                <a:gd name="T81" fmla="*/ 389 h 403"/>
                <a:gd name="T82" fmla="*/ 105 w 201"/>
                <a:gd name="T83" fmla="*/ 376 h 403"/>
                <a:gd name="T84" fmla="*/ 107 w 201"/>
                <a:gd name="T85" fmla="*/ 357 h 403"/>
                <a:gd name="T86" fmla="*/ 114 w 201"/>
                <a:gd name="T87" fmla="*/ 347 h 403"/>
                <a:gd name="T88" fmla="*/ 118 w 201"/>
                <a:gd name="T89" fmla="*/ 332 h 403"/>
                <a:gd name="T90" fmla="*/ 125 w 201"/>
                <a:gd name="T91" fmla="*/ 309 h 403"/>
                <a:gd name="T92" fmla="*/ 155 w 201"/>
                <a:gd name="T93" fmla="*/ 220 h 403"/>
                <a:gd name="T94" fmla="*/ 173 w 201"/>
                <a:gd name="T95" fmla="*/ 156 h 403"/>
                <a:gd name="T96" fmla="*/ 183 w 201"/>
                <a:gd name="T97" fmla="*/ 140 h 403"/>
                <a:gd name="T98" fmla="*/ 181 w 201"/>
                <a:gd name="T99" fmla="*/ 117 h 403"/>
                <a:gd name="T100" fmla="*/ 183 w 201"/>
                <a:gd name="T101" fmla="*/ 107 h 403"/>
                <a:gd name="T102" fmla="*/ 194 w 201"/>
                <a:gd name="T103" fmla="*/ 120 h 403"/>
                <a:gd name="T104" fmla="*/ 200 w 201"/>
                <a:gd name="T105" fmla="*/ 109 h 403"/>
                <a:gd name="T106" fmla="*/ 198 w 201"/>
                <a:gd name="T107" fmla="*/ 89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1" h="403">
                  <a:moveTo>
                    <a:pt x="195" y="83"/>
                  </a:moveTo>
                  <a:lnTo>
                    <a:pt x="195" y="83"/>
                  </a:lnTo>
                  <a:lnTo>
                    <a:pt x="194" y="75"/>
                  </a:lnTo>
                  <a:lnTo>
                    <a:pt x="193" y="59"/>
                  </a:lnTo>
                  <a:lnTo>
                    <a:pt x="193" y="33"/>
                  </a:lnTo>
                  <a:lnTo>
                    <a:pt x="193" y="33"/>
                  </a:lnTo>
                  <a:lnTo>
                    <a:pt x="191" y="30"/>
                  </a:lnTo>
                  <a:lnTo>
                    <a:pt x="188" y="27"/>
                  </a:lnTo>
                  <a:lnTo>
                    <a:pt x="183" y="26"/>
                  </a:lnTo>
                  <a:lnTo>
                    <a:pt x="183" y="26"/>
                  </a:lnTo>
                  <a:lnTo>
                    <a:pt x="181" y="25"/>
                  </a:lnTo>
                  <a:lnTo>
                    <a:pt x="180" y="20"/>
                  </a:lnTo>
                  <a:lnTo>
                    <a:pt x="180" y="20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77" y="7"/>
                  </a:lnTo>
                  <a:lnTo>
                    <a:pt x="177" y="7"/>
                  </a:lnTo>
                  <a:lnTo>
                    <a:pt x="175" y="3"/>
                  </a:lnTo>
                  <a:lnTo>
                    <a:pt x="175" y="3"/>
                  </a:lnTo>
                  <a:lnTo>
                    <a:pt x="174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1" y="0"/>
                  </a:lnTo>
                  <a:lnTo>
                    <a:pt x="170" y="2"/>
                  </a:lnTo>
                  <a:lnTo>
                    <a:pt x="165" y="10"/>
                  </a:lnTo>
                  <a:lnTo>
                    <a:pt x="165" y="10"/>
                  </a:lnTo>
                  <a:lnTo>
                    <a:pt x="164" y="13"/>
                  </a:lnTo>
                  <a:lnTo>
                    <a:pt x="161" y="15"/>
                  </a:lnTo>
                  <a:lnTo>
                    <a:pt x="161" y="15"/>
                  </a:lnTo>
                  <a:lnTo>
                    <a:pt x="160" y="16"/>
                  </a:lnTo>
                  <a:lnTo>
                    <a:pt x="158" y="19"/>
                  </a:lnTo>
                  <a:lnTo>
                    <a:pt x="158" y="19"/>
                  </a:lnTo>
                  <a:lnTo>
                    <a:pt x="157" y="22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60" y="30"/>
                  </a:lnTo>
                  <a:lnTo>
                    <a:pt x="160" y="30"/>
                  </a:lnTo>
                  <a:lnTo>
                    <a:pt x="160" y="32"/>
                  </a:lnTo>
                  <a:lnTo>
                    <a:pt x="160" y="32"/>
                  </a:lnTo>
                  <a:lnTo>
                    <a:pt x="158" y="36"/>
                  </a:lnTo>
                  <a:lnTo>
                    <a:pt x="158" y="36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0" y="47"/>
                  </a:lnTo>
                  <a:lnTo>
                    <a:pt x="145" y="52"/>
                  </a:lnTo>
                  <a:lnTo>
                    <a:pt x="138" y="62"/>
                  </a:lnTo>
                  <a:lnTo>
                    <a:pt x="138" y="62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1" y="67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7" y="76"/>
                  </a:lnTo>
                  <a:lnTo>
                    <a:pt x="128" y="80"/>
                  </a:lnTo>
                  <a:lnTo>
                    <a:pt x="128" y="80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3" y="86"/>
                  </a:lnTo>
                  <a:lnTo>
                    <a:pt x="123" y="86"/>
                  </a:lnTo>
                  <a:lnTo>
                    <a:pt x="117" y="87"/>
                  </a:lnTo>
                  <a:lnTo>
                    <a:pt x="117" y="87"/>
                  </a:lnTo>
                  <a:lnTo>
                    <a:pt x="115" y="89"/>
                  </a:lnTo>
                  <a:lnTo>
                    <a:pt x="114" y="9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1" y="97"/>
                  </a:lnTo>
                  <a:lnTo>
                    <a:pt x="111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8" y="102"/>
                  </a:lnTo>
                  <a:lnTo>
                    <a:pt x="107" y="102"/>
                  </a:lnTo>
                  <a:lnTo>
                    <a:pt x="107" y="102"/>
                  </a:lnTo>
                  <a:lnTo>
                    <a:pt x="104" y="102"/>
                  </a:lnTo>
                  <a:lnTo>
                    <a:pt x="104" y="102"/>
                  </a:lnTo>
                  <a:lnTo>
                    <a:pt x="100" y="102"/>
                  </a:lnTo>
                  <a:lnTo>
                    <a:pt x="97" y="103"/>
                  </a:lnTo>
                  <a:lnTo>
                    <a:pt x="93" y="106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1" y="112"/>
                  </a:lnTo>
                  <a:lnTo>
                    <a:pt x="90" y="115"/>
                  </a:lnTo>
                  <a:lnTo>
                    <a:pt x="90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5" y="113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71" y="115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65" y="117"/>
                  </a:lnTo>
                  <a:lnTo>
                    <a:pt x="65" y="117"/>
                  </a:lnTo>
                  <a:lnTo>
                    <a:pt x="61" y="117"/>
                  </a:lnTo>
                  <a:lnTo>
                    <a:pt x="58" y="120"/>
                  </a:lnTo>
                  <a:lnTo>
                    <a:pt x="58" y="120"/>
                  </a:lnTo>
                  <a:lnTo>
                    <a:pt x="55" y="123"/>
                  </a:lnTo>
                  <a:lnTo>
                    <a:pt x="55" y="123"/>
                  </a:lnTo>
                  <a:lnTo>
                    <a:pt x="51" y="123"/>
                  </a:lnTo>
                  <a:lnTo>
                    <a:pt x="51" y="123"/>
                  </a:lnTo>
                  <a:lnTo>
                    <a:pt x="51" y="123"/>
                  </a:lnTo>
                  <a:lnTo>
                    <a:pt x="41" y="125"/>
                  </a:lnTo>
                  <a:lnTo>
                    <a:pt x="41" y="125"/>
                  </a:lnTo>
                  <a:lnTo>
                    <a:pt x="38" y="127"/>
                  </a:lnTo>
                  <a:lnTo>
                    <a:pt x="37" y="130"/>
                  </a:lnTo>
                  <a:lnTo>
                    <a:pt x="37" y="143"/>
                  </a:lnTo>
                  <a:lnTo>
                    <a:pt x="37" y="143"/>
                  </a:lnTo>
                  <a:lnTo>
                    <a:pt x="35" y="146"/>
                  </a:lnTo>
                  <a:lnTo>
                    <a:pt x="34" y="150"/>
                  </a:lnTo>
                  <a:lnTo>
                    <a:pt x="28" y="157"/>
                  </a:lnTo>
                  <a:lnTo>
                    <a:pt x="28" y="157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4" y="163"/>
                  </a:lnTo>
                  <a:lnTo>
                    <a:pt x="24" y="170"/>
                  </a:lnTo>
                  <a:lnTo>
                    <a:pt x="25" y="184"/>
                  </a:lnTo>
                  <a:lnTo>
                    <a:pt x="25" y="184"/>
                  </a:lnTo>
                  <a:lnTo>
                    <a:pt x="25" y="190"/>
                  </a:lnTo>
                  <a:lnTo>
                    <a:pt x="25" y="190"/>
                  </a:lnTo>
                  <a:lnTo>
                    <a:pt x="25" y="193"/>
                  </a:lnTo>
                  <a:lnTo>
                    <a:pt x="28" y="197"/>
                  </a:lnTo>
                  <a:lnTo>
                    <a:pt x="28" y="197"/>
                  </a:lnTo>
                  <a:lnTo>
                    <a:pt x="30" y="202"/>
                  </a:lnTo>
                  <a:lnTo>
                    <a:pt x="30" y="206"/>
                  </a:lnTo>
                  <a:lnTo>
                    <a:pt x="30" y="206"/>
                  </a:lnTo>
                  <a:lnTo>
                    <a:pt x="31" y="210"/>
                  </a:lnTo>
                  <a:lnTo>
                    <a:pt x="33" y="214"/>
                  </a:lnTo>
                  <a:lnTo>
                    <a:pt x="33" y="214"/>
                  </a:lnTo>
                  <a:lnTo>
                    <a:pt x="35" y="217"/>
                  </a:lnTo>
                  <a:lnTo>
                    <a:pt x="35" y="222"/>
                  </a:lnTo>
                  <a:lnTo>
                    <a:pt x="35" y="222"/>
                  </a:lnTo>
                  <a:lnTo>
                    <a:pt x="35" y="224"/>
                  </a:lnTo>
                  <a:lnTo>
                    <a:pt x="37" y="226"/>
                  </a:lnTo>
                  <a:lnTo>
                    <a:pt x="37" y="226"/>
                  </a:lnTo>
                  <a:lnTo>
                    <a:pt x="38" y="227"/>
                  </a:lnTo>
                  <a:lnTo>
                    <a:pt x="38" y="229"/>
                  </a:lnTo>
                  <a:lnTo>
                    <a:pt x="35" y="239"/>
                  </a:lnTo>
                  <a:lnTo>
                    <a:pt x="35" y="239"/>
                  </a:lnTo>
                  <a:lnTo>
                    <a:pt x="28" y="250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1" y="257"/>
                  </a:lnTo>
                  <a:lnTo>
                    <a:pt x="21" y="257"/>
                  </a:lnTo>
                  <a:lnTo>
                    <a:pt x="17" y="264"/>
                  </a:lnTo>
                  <a:lnTo>
                    <a:pt x="15" y="272"/>
                  </a:lnTo>
                  <a:lnTo>
                    <a:pt x="15" y="272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1" y="282"/>
                  </a:lnTo>
                  <a:lnTo>
                    <a:pt x="11" y="282"/>
                  </a:lnTo>
                  <a:lnTo>
                    <a:pt x="7" y="287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0" y="302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0" y="312"/>
                  </a:lnTo>
                  <a:lnTo>
                    <a:pt x="0" y="312"/>
                  </a:lnTo>
                  <a:lnTo>
                    <a:pt x="0" y="319"/>
                  </a:lnTo>
                  <a:lnTo>
                    <a:pt x="3" y="326"/>
                  </a:lnTo>
                  <a:lnTo>
                    <a:pt x="11" y="337"/>
                  </a:lnTo>
                  <a:lnTo>
                    <a:pt x="11" y="337"/>
                  </a:lnTo>
                  <a:lnTo>
                    <a:pt x="13" y="339"/>
                  </a:lnTo>
                  <a:lnTo>
                    <a:pt x="13" y="339"/>
                  </a:lnTo>
                  <a:lnTo>
                    <a:pt x="11" y="349"/>
                  </a:lnTo>
                  <a:lnTo>
                    <a:pt x="8" y="359"/>
                  </a:lnTo>
                  <a:lnTo>
                    <a:pt x="8" y="362"/>
                  </a:lnTo>
                  <a:lnTo>
                    <a:pt x="8" y="362"/>
                  </a:lnTo>
                  <a:lnTo>
                    <a:pt x="7" y="367"/>
                  </a:lnTo>
                  <a:lnTo>
                    <a:pt x="10" y="372"/>
                  </a:lnTo>
                  <a:lnTo>
                    <a:pt x="10" y="372"/>
                  </a:lnTo>
                  <a:lnTo>
                    <a:pt x="11" y="373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5" y="383"/>
                  </a:lnTo>
                  <a:lnTo>
                    <a:pt x="20" y="389"/>
                  </a:lnTo>
                  <a:lnTo>
                    <a:pt x="20" y="389"/>
                  </a:lnTo>
                  <a:lnTo>
                    <a:pt x="23" y="392"/>
                  </a:lnTo>
                  <a:lnTo>
                    <a:pt x="23" y="392"/>
                  </a:lnTo>
                  <a:lnTo>
                    <a:pt x="25" y="396"/>
                  </a:lnTo>
                  <a:lnTo>
                    <a:pt x="30" y="397"/>
                  </a:lnTo>
                  <a:lnTo>
                    <a:pt x="30" y="397"/>
                  </a:lnTo>
                  <a:lnTo>
                    <a:pt x="33" y="396"/>
                  </a:lnTo>
                  <a:lnTo>
                    <a:pt x="33" y="396"/>
                  </a:lnTo>
                  <a:lnTo>
                    <a:pt x="35" y="396"/>
                  </a:lnTo>
                  <a:lnTo>
                    <a:pt x="35" y="396"/>
                  </a:lnTo>
                  <a:lnTo>
                    <a:pt x="38" y="397"/>
                  </a:lnTo>
                  <a:lnTo>
                    <a:pt x="41" y="399"/>
                  </a:lnTo>
                  <a:lnTo>
                    <a:pt x="41" y="399"/>
                  </a:lnTo>
                  <a:lnTo>
                    <a:pt x="47" y="403"/>
                  </a:lnTo>
                  <a:lnTo>
                    <a:pt x="47" y="403"/>
                  </a:lnTo>
                  <a:lnTo>
                    <a:pt x="53" y="403"/>
                  </a:lnTo>
                  <a:lnTo>
                    <a:pt x="53" y="403"/>
                  </a:lnTo>
                  <a:lnTo>
                    <a:pt x="55" y="403"/>
                  </a:lnTo>
                  <a:lnTo>
                    <a:pt x="60" y="402"/>
                  </a:lnTo>
                  <a:lnTo>
                    <a:pt x="67" y="396"/>
                  </a:lnTo>
                  <a:lnTo>
                    <a:pt x="67" y="396"/>
                  </a:lnTo>
                  <a:lnTo>
                    <a:pt x="71" y="394"/>
                  </a:lnTo>
                  <a:lnTo>
                    <a:pt x="80" y="392"/>
                  </a:lnTo>
                  <a:lnTo>
                    <a:pt x="94" y="389"/>
                  </a:lnTo>
                  <a:lnTo>
                    <a:pt x="97" y="389"/>
                  </a:lnTo>
                  <a:lnTo>
                    <a:pt x="97" y="389"/>
                  </a:lnTo>
                  <a:lnTo>
                    <a:pt x="98" y="389"/>
                  </a:lnTo>
                  <a:lnTo>
                    <a:pt x="101" y="387"/>
                  </a:lnTo>
                  <a:lnTo>
                    <a:pt x="104" y="382"/>
                  </a:lnTo>
                  <a:lnTo>
                    <a:pt x="105" y="376"/>
                  </a:lnTo>
                  <a:lnTo>
                    <a:pt x="105" y="369"/>
                  </a:lnTo>
                  <a:lnTo>
                    <a:pt x="105" y="369"/>
                  </a:lnTo>
                  <a:lnTo>
                    <a:pt x="105" y="363"/>
                  </a:lnTo>
                  <a:lnTo>
                    <a:pt x="105" y="363"/>
                  </a:lnTo>
                  <a:lnTo>
                    <a:pt x="107" y="357"/>
                  </a:lnTo>
                  <a:lnTo>
                    <a:pt x="110" y="354"/>
                  </a:lnTo>
                  <a:lnTo>
                    <a:pt x="110" y="354"/>
                  </a:lnTo>
                  <a:lnTo>
                    <a:pt x="113" y="352"/>
                  </a:lnTo>
                  <a:lnTo>
                    <a:pt x="114" y="347"/>
                  </a:lnTo>
                  <a:lnTo>
                    <a:pt x="114" y="347"/>
                  </a:lnTo>
                  <a:lnTo>
                    <a:pt x="117" y="342"/>
                  </a:lnTo>
                  <a:lnTo>
                    <a:pt x="117" y="342"/>
                  </a:lnTo>
                  <a:lnTo>
                    <a:pt x="117" y="337"/>
                  </a:lnTo>
                  <a:lnTo>
                    <a:pt x="118" y="332"/>
                  </a:lnTo>
                  <a:lnTo>
                    <a:pt x="118" y="332"/>
                  </a:lnTo>
                  <a:lnTo>
                    <a:pt x="121" y="324"/>
                  </a:lnTo>
                  <a:lnTo>
                    <a:pt x="121" y="324"/>
                  </a:lnTo>
                  <a:lnTo>
                    <a:pt x="124" y="317"/>
                  </a:lnTo>
                  <a:lnTo>
                    <a:pt x="125" y="309"/>
                  </a:lnTo>
                  <a:lnTo>
                    <a:pt x="125" y="309"/>
                  </a:lnTo>
                  <a:lnTo>
                    <a:pt x="131" y="290"/>
                  </a:lnTo>
                  <a:lnTo>
                    <a:pt x="141" y="260"/>
                  </a:lnTo>
                  <a:lnTo>
                    <a:pt x="155" y="222"/>
                  </a:lnTo>
                  <a:lnTo>
                    <a:pt x="155" y="220"/>
                  </a:lnTo>
                  <a:lnTo>
                    <a:pt x="155" y="220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71" y="169"/>
                  </a:lnTo>
                  <a:lnTo>
                    <a:pt x="173" y="156"/>
                  </a:lnTo>
                  <a:lnTo>
                    <a:pt x="173" y="156"/>
                  </a:lnTo>
                  <a:lnTo>
                    <a:pt x="174" y="149"/>
                  </a:lnTo>
                  <a:lnTo>
                    <a:pt x="180" y="145"/>
                  </a:lnTo>
                  <a:lnTo>
                    <a:pt x="180" y="145"/>
                  </a:lnTo>
                  <a:lnTo>
                    <a:pt x="180" y="145"/>
                  </a:lnTo>
                  <a:lnTo>
                    <a:pt x="183" y="140"/>
                  </a:lnTo>
                  <a:lnTo>
                    <a:pt x="184" y="136"/>
                  </a:lnTo>
                  <a:lnTo>
                    <a:pt x="183" y="125"/>
                  </a:lnTo>
                  <a:lnTo>
                    <a:pt x="183" y="125"/>
                  </a:lnTo>
                  <a:lnTo>
                    <a:pt x="181" y="117"/>
                  </a:lnTo>
                  <a:lnTo>
                    <a:pt x="181" y="117"/>
                  </a:lnTo>
                  <a:lnTo>
                    <a:pt x="181" y="110"/>
                  </a:lnTo>
                  <a:lnTo>
                    <a:pt x="181" y="105"/>
                  </a:lnTo>
                  <a:lnTo>
                    <a:pt x="181" y="105"/>
                  </a:lnTo>
                  <a:lnTo>
                    <a:pt x="183" y="107"/>
                  </a:lnTo>
                  <a:lnTo>
                    <a:pt x="183" y="107"/>
                  </a:lnTo>
                  <a:lnTo>
                    <a:pt x="185" y="113"/>
                  </a:lnTo>
                  <a:lnTo>
                    <a:pt x="188" y="116"/>
                  </a:lnTo>
                  <a:lnTo>
                    <a:pt x="190" y="119"/>
                  </a:lnTo>
                  <a:lnTo>
                    <a:pt x="190" y="119"/>
                  </a:lnTo>
                  <a:lnTo>
                    <a:pt x="194" y="120"/>
                  </a:lnTo>
                  <a:lnTo>
                    <a:pt x="194" y="120"/>
                  </a:lnTo>
                  <a:lnTo>
                    <a:pt x="197" y="119"/>
                  </a:lnTo>
                  <a:lnTo>
                    <a:pt x="198" y="116"/>
                  </a:lnTo>
                  <a:lnTo>
                    <a:pt x="200" y="109"/>
                  </a:lnTo>
                  <a:lnTo>
                    <a:pt x="200" y="109"/>
                  </a:lnTo>
                  <a:lnTo>
                    <a:pt x="201" y="102"/>
                  </a:lnTo>
                  <a:lnTo>
                    <a:pt x="201" y="102"/>
                  </a:lnTo>
                  <a:lnTo>
                    <a:pt x="201" y="97"/>
                  </a:lnTo>
                  <a:lnTo>
                    <a:pt x="201" y="95"/>
                  </a:lnTo>
                  <a:lnTo>
                    <a:pt x="198" y="89"/>
                  </a:lnTo>
                  <a:lnTo>
                    <a:pt x="198" y="89"/>
                  </a:lnTo>
                  <a:lnTo>
                    <a:pt x="195" y="83"/>
                  </a:lnTo>
                  <a:lnTo>
                    <a:pt x="195" y="83"/>
                  </a:lnTo>
                  <a:close/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</p:grpSp>
      <p:grpSp>
        <p:nvGrpSpPr>
          <p:cNvPr id="227" name="Group 226"/>
          <p:cNvGrpSpPr/>
          <p:nvPr/>
        </p:nvGrpSpPr>
        <p:grpSpPr>
          <a:xfrm>
            <a:off x="2830562" y="1980152"/>
            <a:ext cx="3654532" cy="4145471"/>
            <a:chOff x="889000" y="1595438"/>
            <a:chExt cx="2741613" cy="3109913"/>
          </a:xfrm>
          <a:solidFill>
            <a:srgbClr val="CCD814"/>
          </a:solidFill>
        </p:grpSpPr>
        <p:sp>
          <p:nvSpPr>
            <p:cNvPr id="228" name="Freeform 81"/>
            <p:cNvSpPr>
              <a:spLocks/>
            </p:cNvSpPr>
            <p:nvPr/>
          </p:nvSpPr>
          <p:spPr bwMode="auto">
            <a:xfrm>
              <a:off x="3370263" y="1897063"/>
              <a:ext cx="171450" cy="69850"/>
            </a:xfrm>
            <a:custGeom>
              <a:avLst/>
              <a:gdLst>
                <a:gd name="T0" fmla="*/ 200 w 217"/>
                <a:gd name="T1" fmla="*/ 19 h 89"/>
                <a:gd name="T2" fmla="*/ 199 w 217"/>
                <a:gd name="T3" fmla="*/ 13 h 89"/>
                <a:gd name="T4" fmla="*/ 197 w 217"/>
                <a:gd name="T5" fmla="*/ 4 h 89"/>
                <a:gd name="T6" fmla="*/ 187 w 217"/>
                <a:gd name="T7" fmla="*/ 7 h 89"/>
                <a:gd name="T8" fmla="*/ 183 w 217"/>
                <a:gd name="T9" fmla="*/ 9 h 89"/>
                <a:gd name="T10" fmla="*/ 176 w 217"/>
                <a:gd name="T11" fmla="*/ 2 h 89"/>
                <a:gd name="T12" fmla="*/ 162 w 217"/>
                <a:gd name="T13" fmla="*/ 4 h 89"/>
                <a:gd name="T14" fmla="*/ 155 w 217"/>
                <a:gd name="T15" fmla="*/ 10 h 89"/>
                <a:gd name="T16" fmla="*/ 143 w 217"/>
                <a:gd name="T17" fmla="*/ 12 h 89"/>
                <a:gd name="T18" fmla="*/ 140 w 217"/>
                <a:gd name="T19" fmla="*/ 13 h 89"/>
                <a:gd name="T20" fmla="*/ 133 w 217"/>
                <a:gd name="T21" fmla="*/ 9 h 89"/>
                <a:gd name="T22" fmla="*/ 126 w 217"/>
                <a:gd name="T23" fmla="*/ 13 h 89"/>
                <a:gd name="T24" fmla="*/ 122 w 217"/>
                <a:gd name="T25" fmla="*/ 10 h 89"/>
                <a:gd name="T26" fmla="*/ 112 w 217"/>
                <a:gd name="T27" fmla="*/ 10 h 89"/>
                <a:gd name="T28" fmla="*/ 109 w 217"/>
                <a:gd name="T29" fmla="*/ 12 h 89"/>
                <a:gd name="T30" fmla="*/ 102 w 217"/>
                <a:gd name="T31" fmla="*/ 17 h 89"/>
                <a:gd name="T32" fmla="*/ 96 w 217"/>
                <a:gd name="T33" fmla="*/ 17 h 89"/>
                <a:gd name="T34" fmla="*/ 93 w 217"/>
                <a:gd name="T35" fmla="*/ 12 h 89"/>
                <a:gd name="T36" fmla="*/ 86 w 217"/>
                <a:gd name="T37" fmla="*/ 13 h 89"/>
                <a:gd name="T38" fmla="*/ 83 w 217"/>
                <a:gd name="T39" fmla="*/ 24 h 89"/>
                <a:gd name="T40" fmla="*/ 75 w 217"/>
                <a:gd name="T41" fmla="*/ 26 h 89"/>
                <a:gd name="T42" fmla="*/ 69 w 217"/>
                <a:gd name="T43" fmla="*/ 29 h 89"/>
                <a:gd name="T44" fmla="*/ 69 w 217"/>
                <a:gd name="T45" fmla="*/ 23 h 89"/>
                <a:gd name="T46" fmla="*/ 66 w 217"/>
                <a:gd name="T47" fmla="*/ 12 h 89"/>
                <a:gd name="T48" fmla="*/ 56 w 217"/>
                <a:gd name="T49" fmla="*/ 7 h 89"/>
                <a:gd name="T50" fmla="*/ 46 w 217"/>
                <a:gd name="T51" fmla="*/ 2 h 89"/>
                <a:gd name="T52" fmla="*/ 35 w 217"/>
                <a:gd name="T53" fmla="*/ 3 h 89"/>
                <a:gd name="T54" fmla="*/ 30 w 217"/>
                <a:gd name="T55" fmla="*/ 9 h 89"/>
                <a:gd name="T56" fmla="*/ 20 w 217"/>
                <a:gd name="T57" fmla="*/ 13 h 89"/>
                <a:gd name="T58" fmla="*/ 0 w 217"/>
                <a:gd name="T59" fmla="*/ 26 h 89"/>
                <a:gd name="T60" fmla="*/ 3 w 217"/>
                <a:gd name="T61" fmla="*/ 32 h 89"/>
                <a:gd name="T62" fmla="*/ 13 w 217"/>
                <a:gd name="T63" fmla="*/ 37 h 89"/>
                <a:gd name="T64" fmla="*/ 25 w 217"/>
                <a:gd name="T65" fmla="*/ 32 h 89"/>
                <a:gd name="T66" fmla="*/ 35 w 217"/>
                <a:gd name="T67" fmla="*/ 32 h 89"/>
                <a:gd name="T68" fmla="*/ 46 w 217"/>
                <a:gd name="T69" fmla="*/ 32 h 89"/>
                <a:gd name="T70" fmla="*/ 45 w 217"/>
                <a:gd name="T71" fmla="*/ 32 h 89"/>
                <a:gd name="T72" fmla="*/ 36 w 217"/>
                <a:gd name="T73" fmla="*/ 37 h 89"/>
                <a:gd name="T74" fmla="*/ 32 w 217"/>
                <a:gd name="T75" fmla="*/ 40 h 89"/>
                <a:gd name="T76" fmla="*/ 22 w 217"/>
                <a:gd name="T77" fmla="*/ 40 h 89"/>
                <a:gd name="T78" fmla="*/ 9 w 217"/>
                <a:gd name="T79" fmla="*/ 43 h 89"/>
                <a:gd name="T80" fmla="*/ 7 w 217"/>
                <a:gd name="T81" fmla="*/ 50 h 89"/>
                <a:gd name="T82" fmla="*/ 26 w 217"/>
                <a:gd name="T83" fmla="*/ 50 h 89"/>
                <a:gd name="T84" fmla="*/ 29 w 217"/>
                <a:gd name="T85" fmla="*/ 52 h 89"/>
                <a:gd name="T86" fmla="*/ 35 w 217"/>
                <a:gd name="T87" fmla="*/ 54 h 89"/>
                <a:gd name="T88" fmla="*/ 37 w 217"/>
                <a:gd name="T89" fmla="*/ 63 h 89"/>
                <a:gd name="T90" fmla="*/ 32 w 217"/>
                <a:gd name="T91" fmla="*/ 64 h 89"/>
                <a:gd name="T92" fmla="*/ 23 w 217"/>
                <a:gd name="T93" fmla="*/ 67 h 89"/>
                <a:gd name="T94" fmla="*/ 29 w 217"/>
                <a:gd name="T95" fmla="*/ 76 h 89"/>
                <a:gd name="T96" fmla="*/ 49 w 217"/>
                <a:gd name="T97" fmla="*/ 76 h 89"/>
                <a:gd name="T98" fmla="*/ 62 w 217"/>
                <a:gd name="T99" fmla="*/ 76 h 89"/>
                <a:gd name="T100" fmla="*/ 79 w 217"/>
                <a:gd name="T101" fmla="*/ 84 h 89"/>
                <a:gd name="T102" fmla="*/ 106 w 217"/>
                <a:gd name="T103" fmla="*/ 89 h 89"/>
                <a:gd name="T104" fmla="*/ 115 w 217"/>
                <a:gd name="T105" fmla="*/ 86 h 89"/>
                <a:gd name="T106" fmla="*/ 120 w 217"/>
                <a:gd name="T107" fmla="*/ 80 h 89"/>
                <a:gd name="T108" fmla="*/ 139 w 217"/>
                <a:gd name="T109" fmla="*/ 79 h 89"/>
                <a:gd name="T110" fmla="*/ 153 w 217"/>
                <a:gd name="T111" fmla="*/ 72 h 89"/>
                <a:gd name="T112" fmla="*/ 172 w 217"/>
                <a:gd name="T113" fmla="*/ 66 h 89"/>
                <a:gd name="T114" fmla="*/ 183 w 217"/>
                <a:gd name="T115" fmla="*/ 64 h 89"/>
                <a:gd name="T116" fmla="*/ 187 w 217"/>
                <a:gd name="T117" fmla="*/ 62 h 89"/>
                <a:gd name="T118" fmla="*/ 196 w 217"/>
                <a:gd name="T119" fmla="*/ 57 h 89"/>
                <a:gd name="T120" fmla="*/ 202 w 217"/>
                <a:gd name="T121" fmla="*/ 52 h 89"/>
                <a:gd name="T122" fmla="*/ 212 w 217"/>
                <a:gd name="T123" fmla="*/ 49 h 89"/>
                <a:gd name="T124" fmla="*/ 216 w 217"/>
                <a:gd name="T125" fmla="*/ 3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7" h="89">
                  <a:moveTo>
                    <a:pt x="207" y="24"/>
                  </a:moveTo>
                  <a:lnTo>
                    <a:pt x="207" y="24"/>
                  </a:lnTo>
                  <a:lnTo>
                    <a:pt x="203" y="22"/>
                  </a:lnTo>
                  <a:lnTo>
                    <a:pt x="203" y="22"/>
                  </a:lnTo>
                  <a:lnTo>
                    <a:pt x="200" y="19"/>
                  </a:lnTo>
                  <a:lnTo>
                    <a:pt x="197" y="16"/>
                  </a:lnTo>
                  <a:lnTo>
                    <a:pt x="197" y="16"/>
                  </a:lnTo>
                  <a:lnTo>
                    <a:pt x="197" y="14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200" y="9"/>
                  </a:lnTo>
                  <a:lnTo>
                    <a:pt x="200" y="7"/>
                  </a:lnTo>
                  <a:lnTo>
                    <a:pt x="199" y="6"/>
                  </a:lnTo>
                  <a:lnTo>
                    <a:pt x="199" y="6"/>
                  </a:lnTo>
                  <a:lnTo>
                    <a:pt x="197" y="4"/>
                  </a:lnTo>
                  <a:lnTo>
                    <a:pt x="196" y="3"/>
                  </a:lnTo>
                  <a:lnTo>
                    <a:pt x="196" y="3"/>
                  </a:lnTo>
                  <a:lnTo>
                    <a:pt x="192" y="4"/>
                  </a:lnTo>
                  <a:lnTo>
                    <a:pt x="187" y="7"/>
                  </a:lnTo>
                  <a:lnTo>
                    <a:pt x="187" y="7"/>
                  </a:lnTo>
                  <a:lnTo>
                    <a:pt x="186" y="9"/>
                  </a:lnTo>
                  <a:lnTo>
                    <a:pt x="186" y="9"/>
                  </a:lnTo>
                  <a:lnTo>
                    <a:pt x="185" y="9"/>
                  </a:lnTo>
                  <a:lnTo>
                    <a:pt x="185" y="9"/>
                  </a:lnTo>
                  <a:lnTo>
                    <a:pt x="183" y="9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79" y="4"/>
                  </a:lnTo>
                  <a:lnTo>
                    <a:pt x="179" y="4"/>
                  </a:lnTo>
                  <a:lnTo>
                    <a:pt x="176" y="2"/>
                  </a:lnTo>
                  <a:lnTo>
                    <a:pt x="172" y="2"/>
                  </a:lnTo>
                  <a:lnTo>
                    <a:pt x="167" y="2"/>
                  </a:lnTo>
                  <a:lnTo>
                    <a:pt x="165" y="2"/>
                  </a:lnTo>
                  <a:lnTo>
                    <a:pt x="165" y="2"/>
                  </a:lnTo>
                  <a:lnTo>
                    <a:pt x="162" y="4"/>
                  </a:lnTo>
                  <a:lnTo>
                    <a:pt x="159" y="7"/>
                  </a:lnTo>
                  <a:lnTo>
                    <a:pt x="159" y="7"/>
                  </a:lnTo>
                  <a:lnTo>
                    <a:pt x="157" y="9"/>
                  </a:lnTo>
                  <a:lnTo>
                    <a:pt x="155" y="10"/>
                  </a:lnTo>
                  <a:lnTo>
                    <a:pt x="155" y="10"/>
                  </a:lnTo>
                  <a:lnTo>
                    <a:pt x="149" y="12"/>
                  </a:lnTo>
                  <a:lnTo>
                    <a:pt x="149" y="12"/>
                  </a:lnTo>
                  <a:lnTo>
                    <a:pt x="145" y="12"/>
                  </a:lnTo>
                  <a:lnTo>
                    <a:pt x="145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3"/>
                  </a:lnTo>
                  <a:lnTo>
                    <a:pt x="143" y="13"/>
                  </a:lnTo>
                  <a:lnTo>
                    <a:pt x="140" y="13"/>
                  </a:lnTo>
                  <a:lnTo>
                    <a:pt x="140" y="13"/>
                  </a:lnTo>
                  <a:lnTo>
                    <a:pt x="139" y="12"/>
                  </a:lnTo>
                  <a:lnTo>
                    <a:pt x="139" y="12"/>
                  </a:lnTo>
                  <a:lnTo>
                    <a:pt x="137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2" y="9"/>
                  </a:lnTo>
                  <a:lnTo>
                    <a:pt x="130" y="9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26" y="13"/>
                  </a:lnTo>
                  <a:lnTo>
                    <a:pt x="123" y="13"/>
                  </a:lnTo>
                  <a:lnTo>
                    <a:pt x="123" y="13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2" y="10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17" y="9"/>
                  </a:lnTo>
                  <a:lnTo>
                    <a:pt x="113" y="10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2" y="17"/>
                  </a:lnTo>
                  <a:lnTo>
                    <a:pt x="102" y="17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7" y="22"/>
                  </a:lnTo>
                  <a:lnTo>
                    <a:pt x="96" y="17"/>
                  </a:lnTo>
                  <a:lnTo>
                    <a:pt x="96" y="17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5" y="13"/>
                  </a:lnTo>
                  <a:lnTo>
                    <a:pt x="93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7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2" y="26"/>
                  </a:lnTo>
                  <a:lnTo>
                    <a:pt x="80" y="26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4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70" y="19"/>
                  </a:lnTo>
                  <a:lnTo>
                    <a:pt x="70" y="16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6" y="12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3" y="4"/>
                  </a:lnTo>
                  <a:lnTo>
                    <a:pt x="47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3" y="10"/>
                  </a:lnTo>
                  <a:lnTo>
                    <a:pt x="20" y="13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9" y="23"/>
                  </a:lnTo>
                  <a:lnTo>
                    <a:pt x="3" y="24"/>
                  </a:lnTo>
                  <a:lnTo>
                    <a:pt x="0" y="26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30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9" y="36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7" y="36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9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7" y="34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5" y="39"/>
                  </a:lnTo>
                  <a:lnTo>
                    <a:pt x="33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5" y="39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9" y="43"/>
                  </a:lnTo>
                  <a:lnTo>
                    <a:pt x="6" y="44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9"/>
                  </a:lnTo>
                  <a:lnTo>
                    <a:pt x="7" y="50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23" y="52"/>
                  </a:lnTo>
                  <a:lnTo>
                    <a:pt x="26" y="52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33" y="52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7" y="63"/>
                  </a:lnTo>
                  <a:lnTo>
                    <a:pt x="37" y="63"/>
                  </a:lnTo>
                  <a:lnTo>
                    <a:pt x="37" y="64"/>
                  </a:lnTo>
                  <a:lnTo>
                    <a:pt x="37" y="64"/>
                  </a:lnTo>
                  <a:lnTo>
                    <a:pt x="35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6" y="66"/>
                  </a:lnTo>
                  <a:lnTo>
                    <a:pt x="23" y="67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2"/>
                  </a:lnTo>
                  <a:lnTo>
                    <a:pt x="23" y="73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36" y="77"/>
                  </a:lnTo>
                  <a:lnTo>
                    <a:pt x="43" y="77"/>
                  </a:lnTo>
                  <a:lnTo>
                    <a:pt x="43" y="77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52" y="74"/>
                  </a:lnTo>
                  <a:lnTo>
                    <a:pt x="55" y="74"/>
                  </a:lnTo>
                  <a:lnTo>
                    <a:pt x="55" y="74"/>
                  </a:lnTo>
                  <a:lnTo>
                    <a:pt x="62" y="76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73" y="83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97" y="89"/>
                  </a:lnTo>
                  <a:lnTo>
                    <a:pt x="97" y="89"/>
                  </a:lnTo>
                  <a:lnTo>
                    <a:pt x="106" y="89"/>
                  </a:lnTo>
                  <a:lnTo>
                    <a:pt x="106" y="89"/>
                  </a:lnTo>
                  <a:lnTo>
                    <a:pt x="109" y="89"/>
                  </a:lnTo>
                  <a:lnTo>
                    <a:pt x="112" y="87"/>
                  </a:lnTo>
                  <a:lnTo>
                    <a:pt x="112" y="87"/>
                  </a:lnTo>
                  <a:lnTo>
                    <a:pt x="115" y="86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0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7" y="79"/>
                  </a:lnTo>
                  <a:lnTo>
                    <a:pt x="127" y="79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79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7" y="73"/>
                  </a:lnTo>
                  <a:lnTo>
                    <a:pt x="147" y="73"/>
                  </a:lnTo>
                  <a:lnTo>
                    <a:pt x="153" y="72"/>
                  </a:lnTo>
                  <a:lnTo>
                    <a:pt x="159" y="69"/>
                  </a:lnTo>
                  <a:lnTo>
                    <a:pt x="159" y="69"/>
                  </a:lnTo>
                  <a:lnTo>
                    <a:pt x="165" y="66"/>
                  </a:lnTo>
                  <a:lnTo>
                    <a:pt x="172" y="66"/>
                  </a:lnTo>
                  <a:lnTo>
                    <a:pt x="172" y="66"/>
                  </a:lnTo>
                  <a:lnTo>
                    <a:pt x="175" y="66"/>
                  </a:lnTo>
                  <a:lnTo>
                    <a:pt x="176" y="66"/>
                  </a:lnTo>
                  <a:lnTo>
                    <a:pt x="176" y="66"/>
                  </a:lnTo>
                  <a:lnTo>
                    <a:pt x="179" y="66"/>
                  </a:lnTo>
                  <a:lnTo>
                    <a:pt x="183" y="64"/>
                  </a:lnTo>
                  <a:lnTo>
                    <a:pt x="183" y="64"/>
                  </a:lnTo>
                  <a:lnTo>
                    <a:pt x="186" y="62"/>
                  </a:lnTo>
                  <a:lnTo>
                    <a:pt x="186" y="62"/>
                  </a:lnTo>
                  <a:lnTo>
                    <a:pt x="187" y="62"/>
                  </a:lnTo>
                  <a:lnTo>
                    <a:pt x="187" y="62"/>
                  </a:lnTo>
                  <a:lnTo>
                    <a:pt x="189" y="60"/>
                  </a:lnTo>
                  <a:lnTo>
                    <a:pt x="189" y="60"/>
                  </a:lnTo>
                  <a:lnTo>
                    <a:pt x="193" y="59"/>
                  </a:lnTo>
                  <a:lnTo>
                    <a:pt x="193" y="59"/>
                  </a:lnTo>
                  <a:lnTo>
                    <a:pt x="196" y="57"/>
                  </a:lnTo>
                  <a:lnTo>
                    <a:pt x="197" y="56"/>
                  </a:lnTo>
                  <a:lnTo>
                    <a:pt x="197" y="56"/>
                  </a:lnTo>
                  <a:lnTo>
                    <a:pt x="197" y="54"/>
                  </a:lnTo>
                  <a:lnTo>
                    <a:pt x="197" y="54"/>
                  </a:lnTo>
                  <a:lnTo>
                    <a:pt x="202" y="52"/>
                  </a:lnTo>
                  <a:lnTo>
                    <a:pt x="206" y="50"/>
                  </a:lnTo>
                  <a:lnTo>
                    <a:pt x="206" y="50"/>
                  </a:lnTo>
                  <a:lnTo>
                    <a:pt x="209" y="49"/>
                  </a:lnTo>
                  <a:lnTo>
                    <a:pt x="209" y="49"/>
                  </a:lnTo>
                  <a:lnTo>
                    <a:pt x="212" y="49"/>
                  </a:lnTo>
                  <a:lnTo>
                    <a:pt x="216" y="46"/>
                  </a:lnTo>
                  <a:lnTo>
                    <a:pt x="217" y="43"/>
                  </a:lnTo>
                  <a:lnTo>
                    <a:pt x="217" y="39"/>
                  </a:lnTo>
                  <a:lnTo>
                    <a:pt x="217" y="39"/>
                  </a:lnTo>
                  <a:lnTo>
                    <a:pt x="216" y="34"/>
                  </a:lnTo>
                  <a:lnTo>
                    <a:pt x="213" y="30"/>
                  </a:lnTo>
                  <a:lnTo>
                    <a:pt x="207" y="24"/>
                  </a:lnTo>
                  <a:lnTo>
                    <a:pt x="207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29" name="Freeform 82"/>
            <p:cNvSpPr>
              <a:spLocks noEditPoints="1"/>
            </p:cNvSpPr>
            <p:nvPr/>
          </p:nvSpPr>
          <p:spPr bwMode="auto">
            <a:xfrm>
              <a:off x="2538413" y="1595438"/>
              <a:ext cx="1092200" cy="447675"/>
            </a:xfrm>
            <a:custGeom>
              <a:avLst/>
              <a:gdLst>
                <a:gd name="T0" fmla="*/ 1257 w 1376"/>
                <a:gd name="T1" fmla="*/ 35 h 562"/>
                <a:gd name="T2" fmla="*/ 1187 w 1376"/>
                <a:gd name="T3" fmla="*/ 8 h 562"/>
                <a:gd name="T4" fmla="*/ 954 w 1376"/>
                <a:gd name="T5" fmla="*/ 7 h 562"/>
                <a:gd name="T6" fmla="*/ 829 w 1376"/>
                <a:gd name="T7" fmla="*/ 11 h 562"/>
                <a:gd name="T8" fmla="*/ 779 w 1376"/>
                <a:gd name="T9" fmla="*/ 17 h 562"/>
                <a:gd name="T10" fmla="*/ 760 w 1376"/>
                <a:gd name="T11" fmla="*/ 20 h 562"/>
                <a:gd name="T12" fmla="*/ 673 w 1376"/>
                <a:gd name="T13" fmla="*/ 24 h 562"/>
                <a:gd name="T14" fmla="*/ 580 w 1376"/>
                <a:gd name="T15" fmla="*/ 15 h 562"/>
                <a:gd name="T16" fmla="*/ 412 w 1376"/>
                <a:gd name="T17" fmla="*/ 7 h 562"/>
                <a:gd name="T18" fmla="*/ 282 w 1376"/>
                <a:gd name="T19" fmla="*/ 24 h 562"/>
                <a:gd name="T20" fmla="*/ 123 w 1376"/>
                <a:gd name="T21" fmla="*/ 31 h 562"/>
                <a:gd name="T22" fmla="*/ 170 w 1376"/>
                <a:gd name="T23" fmla="*/ 65 h 562"/>
                <a:gd name="T24" fmla="*/ 89 w 1376"/>
                <a:gd name="T25" fmla="*/ 41 h 562"/>
                <a:gd name="T26" fmla="*/ 7 w 1376"/>
                <a:gd name="T27" fmla="*/ 81 h 562"/>
                <a:gd name="T28" fmla="*/ 75 w 1376"/>
                <a:gd name="T29" fmla="*/ 103 h 562"/>
                <a:gd name="T30" fmla="*/ 115 w 1376"/>
                <a:gd name="T31" fmla="*/ 115 h 562"/>
                <a:gd name="T32" fmla="*/ 36 w 1376"/>
                <a:gd name="T33" fmla="*/ 144 h 562"/>
                <a:gd name="T34" fmla="*/ 140 w 1376"/>
                <a:gd name="T35" fmla="*/ 148 h 562"/>
                <a:gd name="T36" fmla="*/ 237 w 1376"/>
                <a:gd name="T37" fmla="*/ 131 h 562"/>
                <a:gd name="T38" fmla="*/ 310 w 1376"/>
                <a:gd name="T39" fmla="*/ 105 h 562"/>
                <a:gd name="T40" fmla="*/ 383 w 1376"/>
                <a:gd name="T41" fmla="*/ 77 h 562"/>
                <a:gd name="T42" fmla="*/ 536 w 1376"/>
                <a:gd name="T43" fmla="*/ 47 h 562"/>
                <a:gd name="T44" fmla="*/ 403 w 1376"/>
                <a:gd name="T45" fmla="*/ 91 h 562"/>
                <a:gd name="T46" fmla="*/ 376 w 1376"/>
                <a:gd name="T47" fmla="*/ 115 h 562"/>
                <a:gd name="T48" fmla="*/ 347 w 1376"/>
                <a:gd name="T49" fmla="*/ 130 h 562"/>
                <a:gd name="T50" fmla="*/ 425 w 1376"/>
                <a:gd name="T51" fmla="*/ 154 h 562"/>
                <a:gd name="T52" fmla="*/ 499 w 1376"/>
                <a:gd name="T53" fmla="*/ 152 h 562"/>
                <a:gd name="T54" fmla="*/ 540 w 1376"/>
                <a:gd name="T55" fmla="*/ 191 h 562"/>
                <a:gd name="T56" fmla="*/ 537 w 1376"/>
                <a:gd name="T57" fmla="*/ 220 h 562"/>
                <a:gd name="T58" fmla="*/ 546 w 1376"/>
                <a:gd name="T59" fmla="*/ 267 h 562"/>
                <a:gd name="T60" fmla="*/ 587 w 1376"/>
                <a:gd name="T61" fmla="*/ 281 h 562"/>
                <a:gd name="T62" fmla="*/ 523 w 1376"/>
                <a:gd name="T63" fmla="*/ 281 h 562"/>
                <a:gd name="T64" fmla="*/ 527 w 1376"/>
                <a:gd name="T65" fmla="*/ 318 h 562"/>
                <a:gd name="T66" fmla="*/ 562 w 1376"/>
                <a:gd name="T67" fmla="*/ 295 h 562"/>
                <a:gd name="T68" fmla="*/ 545 w 1376"/>
                <a:gd name="T69" fmla="*/ 325 h 562"/>
                <a:gd name="T70" fmla="*/ 490 w 1376"/>
                <a:gd name="T71" fmla="*/ 381 h 562"/>
                <a:gd name="T72" fmla="*/ 493 w 1376"/>
                <a:gd name="T73" fmla="*/ 434 h 562"/>
                <a:gd name="T74" fmla="*/ 499 w 1376"/>
                <a:gd name="T75" fmla="*/ 471 h 562"/>
                <a:gd name="T76" fmla="*/ 526 w 1376"/>
                <a:gd name="T77" fmla="*/ 532 h 562"/>
                <a:gd name="T78" fmla="*/ 582 w 1376"/>
                <a:gd name="T79" fmla="*/ 545 h 562"/>
                <a:gd name="T80" fmla="*/ 639 w 1376"/>
                <a:gd name="T81" fmla="*/ 535 h 562"/>
                <a:gd name="T82" fmla="*/ 666 w 1376"/>
                <a:gd name="T83" fmla="*/ 480 h 562"/>
                <a:gd name="T84" fmla="*/ 717 w 1376"/>
                <a:gd name="T85" fmla="*/ 444 h 562"/>
                <a:gd name="T86" fmla="*/ 787 w 1376"/>
                <a:gd name="T87" fmla="*/ 401 h 562"/>
                <a:gd name="T88" fmla="*/ 874 w 1376"/>
                <a:gd name="T89" fmla="*/ 377 h 562"/>
                <a:gd name="T90" fmla="*/ 979 w 1376"/>
                <a:gd name="T91" fmla="*/ 337 h 562"/>
                <a:gd name="T92" fmla="*/ 1126 w 1376"/>
                <a:gd name="T93" fmla="*/ 291 h 562"/>
                <a:gd name="T94" fmla="*/ 1139 w 1376"/>
                <a:gd name="T95" fmla="*/ 248 h 562"/>
                <a:gd name="T96" fmla="*/ 1150 w 1376"/>
                <a:gd name="T97" fmla="*/ 220 h 562"/>
                <a:gd name="T98" fmla="*/ 1192 w 1376"/>
                <a:gd name="T99" fmla="*/ 197 h 562"/>
                <a:gd name="T100" fmla="*/ 1213 w 1376"/>
                <a:gd name="T101" fmla="*/ 175 h 562"/>
                <a:gd name="T102" fmla="*/ 1234 w 1376"/>
                <a:gd name="T103" fmla="*/ 157 h 562"/>
                <a:gd name="T104" fmla="*/ 1227 w 1376"/>
                <a:gd name="T105" fmla="*/ 108 h 562"/>
                <a:gd name="T106" fmla="*/ 1252 w 1376"/>
                <a:gd name="T107" fmla="*/ 74 h 562"/>
                <a:gd name="T108" fmla="*/ 1332 w 1376"/>
                <a:gd name="T109" fmla="*/ 54 h 562"/>
                <a:gd name="T110" fmla="*/ 1190 w 1376"/>
                <a:gd name="T111" fmla="*/ 33 h 562"/>
                <a:gd name="T112" fmla="*/ 1076 w 1376"/>
                <a:gd name="T113" fmla="*/ 261 h 562"/>
                <a:gd name="T114" fmla="*/ 1104 w 1376"/>
                <a:gd name="T115" fmla="*/ 222 h 562"/>
                <a:gd name="T116" fmla="*/ 1104 w 1376"/>
                <a:gd name="T117" fmla="*/ 228 h 562"/>
                <a:gd name="T118" fmla="*/ 1260 w 1376"/>
                <a:gd name="T119" fmla="*/ 65 h 562"/>
                <a:gd name="T120" fmla="*/ 1234 w 1376"/>
                <a:gd name="T121" fmla="*/ 121 h 562"/>
                <a:gd name="T122" fmla="*/ 599 w 1376"/>
                <a:gd name="T123" fmla="*/ 35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76" h="562">
                  <a:moveTo>
                    <a:pt x="1370" y="35"/>
                  </a:moveTo>
                  <a:lnTo>
                    <a:pt x="1370" y="35"/>
                  </a:lnTo>
                  <a:lnTo>
                    <a:pt x="1350" y="33"/>
                  </a:lnTo>
                  <a:lnTo>
                    <a:pt x="1350" y="33"/>
                  </a:lnTo>
                  <a:lnTo>
                    <a:pt x="1342" y="30"/>
                  </a:lnTo>
                  <a:lnTo>
                    <a:pt x="1342" y="30"/>
                  </a:lnTo>
                  <a:lnTo>
                    <a:pt x="1336" y="28"/>
                  </a:lnTo>
                  <a:lnTo>
                    <a:pt x="1336" y="28"/>
                  </a:lnTo>
                  <a:lnTo>
                    <a:pt x="1320" y="28"/>
                  </a:lnTo>
                  <a:lnTo>
                    <a:pt x="1307" y="30"/>
                  </a:lnTo>
                  <a:lnTo>
                    <a:pt x="1299" y="31"/>
                  </a:lnTo>
                  <a:lnTo>
                    <a:pt x="1299" y="31"/>
                  </a:lnTo>
                  <a:lnTo>
                    <a:pt x="1293" y="33"/>
                  </a:lnTo>
                  <a:lnTo>
                    <a:pt x="1293" y="33"/>
                  </a:lnTo>
                  <a:lnTo>
                    <a:pt x="1287" y="35"/>
                  </a:lnTo>
                  <a:lnTo>
                    <a:pt x="1287" y="35"/>
                  </a:lnTo>
                  <a:lnTo>
                    <a:pt x="1283" y="37"/>
                  </a:lnTo>
                  <a:lnTo>
                    <a:pt x="1283" y="37"/>
                  </a:lnTo>
                  <a:lnTo>
                    <a:pt x="1283" y="37"/>
                  </a:lnTo>
                  <a:lnTo>
                    <a:pt x="1283" y="37"/>
                  </a:lnTo>
                  <a:lnTo>
                    <a:pt x="1282" y="35"/>
                  </a:lnTo>
                  <a:lnTo>
                    <a:pt x="1282" y="35"/>
                  </a:lnTo>
                  <a:lnTo>
                    <a:pt x="1276" y="28"/>
                  </a:lnTo>
                  <a:lnTo>
                    <a:pt x="1276" y="28"/>
                  </a:lnTo>
                  <a:lnTo>
                    <a:pt x="1274" y="24"/>
                  </a:lnTo>
                  <a:lnTo>
                    <a:pt x="1273" y="24"/>
                  </a:lnTo>
                  <a:lnTo>
                    <a:pt x="1272" y="24"/>
                  </a:lnTo>
                  <a:lnTo>
                    <a:pt x="1272" y="24"/>
                  </a:lnTo>
                  <a:lnTo>
                    <a:pt x="1270" y="25"/>
                  </a:lnTo>
                  <a:lnTo>
                    <a:pt x="1269" y="28"/>
                  </a:lnTo>
                  <a:lnTo>
                    <a:pt x="1269" y="28"/>
                  </a:lnTo>
                  <a:lnTo>
                    <a:pt x="1267" y="31"/>
                  </a:lnTo>
                  <a:lnTo>
                    <a:pt x="1266" y="34"/>
                  </a:lnTo>
                  <a:lnTo>
                    <a:pt x="1266" y="34"/>
                  </a:lnTo>
                  <a:lnTo>
                    <a:pt x="1259" y="35"/>
                  </a:lnTo>
                  <a:lnTo>
                    <a:pt x="1259" y="35"/>
                  </a:lnTo>
                  <a:lnTo>
                    <a:pt x="1257" y="35"/>
                  </a:lnTo>
                  <a:lnTo>
                    <a:pt x="1257" y="35"/>
                  </a:lnTo>
                  <a:lnTo>
                    <a:pt x="1247" y="33"/>
                  </a:lnTo>
                  <a:lnTo>
                    <a:pt x="1247" y="33"/>
                  </a:lnTo>
                  <a:lnTo>
                    <a:pt x="1244" y="33"/>
                  </a:lnTo>
                  <a:lnTo>
                    <a:pt x="1244" y="33"/>
                  </a:lnTo>
                  <a:lnTo>
                    <a:pt x="1240" y="33"/>
                  </a:lnTo>
                  <a:lnTo>
                    <a:pt x="1232" y="37"/>
                  </a:lnTo>
                  <a:lnTo>
                    <a:pt x="1232" y="37"/>
                  </a:lnTo>
                  <a:lnTo>
                    <a:pt x="1226" y="41"/>
                  </a:lnTo>
                  <a:lnTo>
                    <a:pt x="1219" y="43"/>
                  </a:lnTo>
                  <a:lnTo>
                    <a:pt x="1219" y="43"/>
                  </a:lnTo>
                  <a:lnTo>
                    <a:pt x="1220" y="41"/>
                  </a:lnTo>
                  <a:lnTo>
                    <a:pt x="1220" y="41"/>
                  </a:lnTo>
                  <a:lnTo>
                    <a:pt x="1222" y="40"/>
                  </a:lnTo>
                  <a:lnTo>
                    <a:pt x="1222" y="40"/>
                  </a:lnTo>
                  <a:lnTo>
                    <a:pt x="1223" y="40"/>
                  </a:lnTo>
                  <a:lnTo>
                    <a:pt x="1223" y="40"/>
                  </a:lnTo>
                  <a:lnTo>
                    <a:pt x="1224" y="38"/>
                  </a:lnTo>
                  <a:lnTo>
                    <a:pt x="1226" y="37"/>
                  </a:lnTo>
                  <a:lnTo>
                    <a:pt x="1226" y="37"/>
                  </a:lnTo>
                  <a:lnTo>
                    <a:pt x="1227" y="33"/>
                  </a:lnTo>
                  <a:lnTo>
                    <a:pt x="1226" y="30"/>
                  </a:lnTo>
                  <a:lnTo>
                    <a:pt x="1226" y="30"/>
                  </a:lnTo>
                  <a:lnTo>
                    <a:pt x="1229" y="27"/>
                  </a:lnTo>
                  <a:lnTo>
                    <a:pt x="1229" y="27"/>
                  </a:lnTo>
                  <a:lnTo>
                    <a:pt x="1232" y="25"/>
                  </a:lnTo>
                  <a:lnTo>
                    <a:pt x="1233" y="25"/>
                  </a:lnTo>
                  <a:lnTo>
                    <a:pt x="1233" y="25"/>
                  </a:lnTo>
                  <a:lnTo>
                    <a:pt x="1239" y="24"/>
                  </a:lnTo>
                  <a:lnTo>
                    <a:pt x="1250" y="20"/>
                  </a:lnTo>
                  <a:lnTo>
                    <a:pt x="1243" y="17"/>
                  </a:lnTo>
                  <a:lnTo>
                    <a:pt x="1243" y="17"/>
                  </a:lnTo>
                  <a:lnTo>
                    <a:pt x="1232" y="14"/>
                  </a:lnTo>
                  <a:lnTo>
                    <a:pt x="1202" y="14"/>
                  </a:lnTo>
                  <a:lnTo>
                    <a:pt x="1202" y="14"/>
                  </a:lnTo>
                  <a:lnTo>
                    <a:pt x="1197" y="13"/>
                  </a:lnTo>
                  <a:lnTo>
                    <a:pt x="1187" y="8"/>
                  </a:lnTo>
                  <a:lnTo>
                    <a:pt x="1184" y="7"/>
                  </a:lnTo>
                  <a:lnTo>
                    <a:pt x="1184" y="7"/>
                  </a:lnTo>
                  <a:lnTo>
                    <a:pt x="1179" y="4"/>
                  </a:lnTo>
                  <a:lnTo>
                    <a:pt x="1174" y="3"/>
                  </a:lnTo>
                  <a:lnTo>
                    <a:pt x="1174" y="3"/>
                  </a:lnTo>
                  <a:lnTo>
                    <a:pt x="1163" y="3"/>
                  </a:lnTo>
                  <a:lnTo>
                    <a:pt x="1160" y="3"/>
                  </a:lnTo>
                  <a:lnTo>
                    <a:pt x="1160" y="3"/>
                  </a:lnTo>
                  <a:lnTo>
                    <a:pt x="1102" y="0"/>
                  </a:lnTo>
                  <a:lnTo>
                    <a:pt x="1036" y="0"/>
                  </a:lnTo>
                  <a:lnTo>
                    <a:pt x="1036" y="0"/>
                  </a:lnTo>
                  <a:lnTo>
                    <a:pt x="1016" y="0"/>
                  </a:lnTo>
                  <a:lnTo>
                    <a:pt x="1016" y="0"/>
                  </a:lnTo>
                  <a:lnTo>
                    <a:pt x="1013" y="0"/>
                  </a:lnTo>
                  <a:lnTo>
                    <a:pt x="1010" y="3"/>
                  </a:lnTo>
                  <a:lnTo>
                    <a:pt x="1010" y="3"/>
                  </a:lnTo>
                  <a:lnTo>
                    <a:pt x="996" y="3"/>
                  </a:lnTo>
                  <a:lnTo>
                    <a:pt x="996" y="3"/>
                  </a:lnTo>
                  <a:lnTo>
                    <a:pt x="993" y="3"/>
                  </a:lnTo>
                  <a:lnTo>
                    <a:pt x="993" y="3"/>
                  </a:lnTo>
                  <a:lnTo>
                    <a:pt x="984" y="4"/>
                  </a:lnTo>
                  <a:lnTo>
                    <a:pt x="984" y="4"/>
                  </a:lnTo>
                  <a:lnTo>
                    <a:pt x="982" y="5"/>
                  </a:lnTo>
                  <a:lnTo>
                    <a:pt x="979" y="8"/>
                  </a:lnTo>
                  <a:lnTo>
                    <a:pt x="979" y="8"/>
                  </a:lnTo>
                  <a:lnTo>
                    <a:pt x="979" y="8"/>
                  </a:lnTo>
                  <a:lnTo>
                    <a:pt x="979" y="8"/>
                  </a:lnTo>
                  <a:lnTo>
                    <a:pt x="977" y="8"/>
                  </a:lnTo>
                  <a:lnTo>
                    <a:pt x="977" y="8"/>
                  </a:lnTo>
                  <a:lnTo>
                    <a:pt x="970" y="5"/>
                  </a:lnTo>
                  <a:lnTo>
                    <a:pt x="970" y="5"/>
                  </a:lnTo>
                  <a:lnTo>
                    <a:pt x="964" y="5"/>
                  </a:lnTo>
                  <a:lnTo>
                    <a:pt x="964" y="5"/>
                  </a:lnTo>
                  <a:lnTo>
                    <a:pt x="959" y="4"/>
                  </a:lnTo>
                  <a:lnTo>
                    <a:pt x="959" y="4"/>
                  </a:lnTo>
                  <a:lnTo>
                    <a:pt x="956" y="5"/>
                  </a:lnTo>
                  <a:lnTo>
                    <a:pt x="954" y="7"/>
                  </a:lnTo>
                  <a:lnTo>
                    <a:pt x="954" y="7"/>
                  </a:lnTo>
                  <a:lnTo>
                    <a:pt x="952" y="7"/>
                  </a:lnTo>
                  <a:lnTo>
                    <a:pt x="947" y="8"/>
                  </a:lnTo>
                  <a:lnTo>
                    <a:pt x="947" y="8"/>
                  </a:lnTo>
                  <a:lnTo>
                    <a:pt x="943" y="8"/>
                  </a:lnTo>
                  <a:lnTo>
                    <a:pt x="937" y="7"/>
                  </a:lnTo>
                  <a:lnTo>
                    <a:pt x="937" y="5"/>
                  </a:lnTo>
                  <a:lnTo>
                    <a:pt x="937" y="5"/>
                  </a:lnTo>
                  <a:lnTo>
                    <a:pt x="926" y="5"/>
                  </a:lnTo>
                  <a:lnTo>
                    <a:pt x="926" y="5"/>
                  </a:lnTo>
                  <a:lnTo>
                    <a:pt x="916" y="5"/>
                  </a:lnTo>
                  <a:lnTo>
                    <a:pt x="909" y="7"/>
                  </a:lnTo>
                  <a:lnTo>
                    <a:pt x="903" y="7"/>
                  </a:lnTo>
                  <a:lnTo>
                    <a:pt x="903" y="7"/>
                  </a:lnTo>
                  <a:lnTo>
                    <a:pt x="899" y="10"/>
                  </a:lnTo>
                  <a:lnTo>
                    <a:pt x="890" y="8"/>
                  </a:lnTo>
                  <a:lnTo>
                    <a:pt x="886" y="8"/>
                  </a:lnTo>
                  <a:lnTo>
                    <a:pt x="886" y="8"/>
                  </a:lnTo>
                  <a:lnTo>
                    <a:pt x="877" y="7"/>
                  </a:lnTo>
                  <a:lnTo>
                    <a:pt x="873" y="8"/>
                  </a:lnTo>
                  <a:lnTo>
                    <a:pt x="873" y="8"/>
                  </a:lnTo>
                  <a:lnTo>
                    <a:pt x="866" y="8"/>
                  </a:lnTo>
                  <a:lnTo>
                    <a:pt x="860" y="8"/>
                  </a:lnTo>
                  <a:lnTo>
                    <a:pt x="860" y="8"/>
                  </a:lnTo>
                  <a:lnTo>
                    <a:pt x="856" y="8"/>
                  </a:lnTo>
                  <a:lnTo>
                    <a:pt x="856" y="8"/>
                  </a:lnTo>
                  <a:lnTo>
                    <a:pt x="849" y="11"/>
                  </a:lnTo>
                  <a:lnTo>
                    <a:pt x="844" y="15"/>
                  </a:lnTo>
                  <a:lnTo>
                    <a:pt x="844" y="15"/>
                  </a:lnTo>
                  <a:lnTo>
                    <a:pt x="844" y="15"/>
                  </a:lnTo>
                  <a:lnTo>
                    <a:pt x="844" y="15"/>
                  </a:lnTo>
                  <a:lnTo>
                    <a:pt x="836" y="13"/>
                  </a:lnTo>
                  <a:lnTo>
                    <a:pt x="836" y="13"/>
                  </a:lnTo>
                  <a:lnTo>
                    <a:pt x="832" y="11"/>
                  </a:lnTo>
                  <a:lnTo>
                    <a:pt x="832" y="11"/>
                  </a:lnTo>
                  <a:lnTo>
                    <a:pt x="829" y="11"/>
                  </a:lnTo>
                  <a:lnTo>
                    <a:pt x="829" y="11"/>
                  </a:lnTo>
                  <a:lnTo>
                    <a:pt x="826" y="13"/>
                  </a:lnTo>
                  <a:lnTo>
                    <a:pt x="822" y="11"/>
                  </a:lnTo>
                  <a:lnTo>
                    <a:pt x="826" y="14"/>
                  </a:lnTo>
                  <a:lnTo>
                    <a:pt x="826" y="14"/>
                  </a:lnTo>
                  <a:lnTo>
                    <a:pt x="827" y="15"/>
                  </a:lnTo>
                  <a:lnTo>
                    <a:pt x="830" y="18"/>
                  </a:lnTo>
                  <a:lnTo>
                    <a:pt x="830" y="18"/>
                  </a:lnTo>
                  <a:lnTo>
                    <a:pt x="834" y="21"/>
                  </a:lnTo>
                  <a:lnTo>
                    <a:pt x="834" y="21"/>
                  </a:lnTo>
                  <a:lnTo>
                    <a:pt x="836" y="23"/>
                  </a:lnTo>
                  <a:lnTo>
                    <a:pt x="839" y="24"/>
                  </a:lnTo>
                  <a:lnTo>
                    <a:pt x="839" y="24"/>
                  </a:lnTo>
                  <a:lnTo>
                    <a:pt x="843" y="25"/>
                  </a:lnTo>
                  <a:lnTo>
                    <a:pt x="843" y="25"/>
                  </a:lnTo>
                  <a:lnTo>
                    <a:pt x="844" y="25"/>
                  </a:lnTo>
                  <a:lnTo>
                    <a:pt x="844" y="25"/>
                  </a:lnTo>
                  <a:lnTo>
                    <a:pt x="849" y="25"/>
                  </a:lnTo>
                  <a:lnTo>
                    <a:pt x="849" y="25"/>
                  </a:lnTo>
                  <a:lnTo>
                    <a:pt x="847" y="25"/>
                  </a:lnTo>
                  <a:lnTo>
                    <a:pt x="847" y="25"/>
                  </a:lnTo>
                  <a:lnTo>
                    <a:pt x="842" y="25"/>
                  </a:lnTo>
                  <a:lnTo>
                    <a:pt x="842" y="25"/>
                  </a:lnTo>
                  <a:lnTo>
                    <a:pt x="837" y="24"/>
                  </a:lnTo>
                  <a:lnTo>
                    <a:pt x="837" y="24"/>
                  </a:lnTo>
                  <a:lnTo>
                    <a:pt x="830" y="23"/>
                  </a:lnTo>
                  <a:lnTo>
                    <a:pt x="824" y="23"/>
                  </a:lnTo>
                  <a:lnTo>
                    <a:pt x="824" y="23"/>
                  </a:lnTo>
                  <a:lnTo>
                    <a:pt x="823" y="23"/>
                  </a:lnTo>
                  <a:lnTo>
                    <a:pt x="823" y="23"/>
                  </a:lnTo>
                  <a:lnTo>
                    <a:pt x="816" y="21"/>
                  </a:lnTo>
                  <a:lnTo>
                    <a:pt x="810" y="20"/>
                  </a:lnTo>
                  <a:lnTo>
                    <a:pt x="810" y="20"/>
                  </a:lnTo>
                  <a:lnTo>
                    <a:pt x="806" y="18"/>
                  </a:lnTo>
                  <a:lnTo>
                    <a:pt x="799" y="17"/>
                  </a:lnTo>
                  <a:lnTo>
                    <a:pt x="786" y="15"/>
                  </a:lnTo>
                  <a:lnTo>
                    <a:pt x="786" y="15"/>
                  </a:lnTo>
                  <a:lnTo>
                    <a:pt x="779" y="17"/>
                  </a:lnTo>
                  <a:lnTo>
                    <a:pt x="776" y="18"/>
                  </a:lnTo>
                  <a:lnTo>
                    <a:pt x="776" y="18"/>
                  </a:lnTo>
                  <a:lnTo>
                    <a:pt x="775" y="20"/>
                  </a:lnTo>
                  <a:lnTo>
                    <a:pt x="775" y="20"/>
                  </a:lnTo>
                  <a:lnTo>
                    <a:pt x="775" y="20"/>
                  </a:lnTo>
                  <a:lnTo>
                    <a:pt x="773" y="23"/>
                  </a:lnTo>
                  <a:lnTo>
                    <a:pt x="773" y="23"/>
                  </a:lnTo>
                  <a:lnTo>
                    <a:pt x="775" y="24"/>
                  </a:lnTo>
                  <a:lnTo>
                    <a:pt x="776" y="25"/>
                  </a:lnTo>
                  <a:lnTo>
                    <a:pt x="777" y="25"/>
                  </a:lnTo>
                  <a:lnTo>
                    <a:pt x="777" y="25"/>
                  </a:lnTo>
                  <a:lnTo>
                    <a:pt x="780" y="27"/>
                  </a:lnTo>
                  <a:lnTo>
                    <a:pt x="780" y="27"/>
                  </a:lnTo>
                  <a:lnTo>
                    <a:pt x="783" y="28"/>
                  </a:lnTo>
                  <a:lnTo>
                    <a:pt x="783" y="28"/>
                  </a:lnTo>
                  <a:lnTo>
                    <a:pt x="783" y="30"/>
                  </a:lnTo>
                  <a:lnTo>
                    <a:pt x="783" y="30"/>
                  </a:lnTo>
                  <a:lnTo>
                    <a:pt x="783" y="31"/>
                  </a:lnTo>
                  <a:lnTo>
                    <a:pt x="783" y="31"/>
                  </a:lnTo>
                  <a:lnTo>
                    <a:pt x="783" y="31"/>
                  </a:lnTo>
                  <a:lnTo>
                    <a:pt x="783" y="31"/>
                  </a:lnTo>
                  <a:lnTo>
                    <a:pt x="779" y="31"/>
                  </a:lnTo>
                  <a:lnTo>
                    <a:pt x="776" y="30"/>
                  </a:lnTo>
                  <a:lnTo>
                    <a:pt x="776" y="30"/>
                  </a:lnTo>
                  <a:lnTo>
                    <a:pt x="773" y="28"/>
                  </a:lnTo>
                  <a:lnTo>
                    <a:pt x="770" y="27"/>
                  </a:lnTo>
                  <a:lnTo>
                    <a:pt x="770" y="27"/>
                  </a:lnTo>
                  <a:lnTo>
                    <a:pt x="767" y="27"/>
                  </a:lnTo>
                  <a:lnTo>
                    <a:pt x="767" y="27"/>
                  </a:lnTo>
                  <a:lnTo>
                    <a:pt x="766" y="24"/>
                  </a:lnTo>
                  <a:lnTo>
                    <a:pt x="766" y="24"/>
                  </a:lnTo>
                  <a:lnTo>
                    <a:pt x="765" y="21"/>
                  </a:lnTo>
                  <a:lnTo>
                    <a:pt x="763" y="20"/>
                  </a:lnTo>
                  <a:lnTo>
                    <a:pt x="762" y="20"/>
                  </a:lnTo>
                  <a:lnTo>
                    <a:pt x="762" y="20"/>
                  </a:lnTo>
                  <a:lnTo>
                    <a:pt x="760" y="20"/>
                  </a:lnTo>
                  <a:lnTo>
                    <a:pt x="760" y="20"/>
                  </a:lnTo>
                  <a:lnTo>
                    <a:pt x="757" y="21"/>
                  </a:lnTo>
                  <a:lnTo>
                    <a:pt x="756" y="21"/>
                  </a:lnTo>
                  <a:lnTo>
                    <a:pt x="756" y="21"/>
                  </a:lnTo>
                  <a:lnTo>
                    <a:pt x="755" y="21"/>
                  </a:lnTo>
                  <a:lnTo>
                    <a:pt x="755" y="21"/>
                  </a:lnTo>
                  <a:lnTo>
                    <a:pt x="752" y="20"/>
                  </a:lnTo>
                  <a:lnTo>
                    <a:pt x="747" y="20"/>
                  </a:lnTo>
                  <a:lnTo>
                    <a:pt x="747" y="20"/>
                  </a:lnTo>
                  <a:lnTo>
                    <a:pt x="743" y="20"/>
                  </a:lnTo>
                  <a:lnTo>
                    <a:pt x="743" y="20"/>
                  </a:lnTo>
                  <a:lnTo>
                    <a:pt x="742" y="21"/>
                  </a:lnTo>
                  <a:lnTo>
                    <a:pt x="740" y="21"/>
                  </a:lnTo>
                  <a:lnTo>
                    <a:pt x="740" y="24"/>
                  </a:lnTo>
                  <a:lnTo>
                    <a:pt x="740" y="24"/>
                  </a:lnTo>
                  <a:lnTo>
                    <a:pt x="740" y="27"/>
                  </a:lnTo>
                  <a:lnTo>
                    <a:pt x="740" y="27"/>
                  </a:lnTo>
                  <a:lnTo>
                    <a:pt x="740" y="28"/>
                  </a:lnTo>
                  <a:lnTo>
                    <a:pt x="740" y="30"/>
                  </a:lnTo>
                  <a:lnTo>
                    <a:pt x="740" y="30"/>
                  </a:lnTo>
                  <a:lnTo>
                    <a:pt x="737" y="31"/>
                  </a:lnTo>
                  <a:lnTo>
                    <a:pt x="737" y="31"/>
                  </a:lnTo>
                  <a:lnTo>
                    <a:pt x="739" y="28"/>
                  </a:lnTo>
                  <a:lnTo>
                    <a:pt x="737" y="25"/>
                  </a:lnTo>
                  <a:lnTo>
                    <a:pt x="737" y="25"/>
                  </a:lnTo>
                  <a:lnTo>
                    <a:pt x="733" y="23"/>
                  </a:lnTo>
                  <a:lnTo>
                    <a:pt x="727" y="23"/>
                  </a:lnTo>
                  <a:lnTo>
                    <a:pt x="716" y="21"/>
                  </a:lnTo>
                  <a:lnTo>
                    <a:pt x="716" y="21"/>
                  </a:lnTo>
                  <a:lnTo>
                    <a:pt x="707" y="21"/>
                  </a:lnTo>
                  <a:lnTo>
                    <a:pt x="700" y="23"/>
                  </a:lnTo>
                  <a:lnTo>
                    <a:pt x="700" y="23"/>
                  </a:lnTo>
                  <a:lnTo>
                    <a:pt x="690" y="25"/>
                  </a:lnTo>
                  <a:lnTo>
                    <a:pt x="683" y="25"/>
                  </a:lnTo>
                  <a:lnTo>
                    <a:pt x="683" y="25"/>
                  </a:lnTo>
                  <a:lnTo>
                    <a:pt x="679" y="25"/>
                  </a:lnTo>
                  <a:lnTo>
                    <a:pt x="679" y="25"/>
                  </a:lnTo>
                  <a:lnTo>
                    <a:pt x="673" y="24"/>
                  </a:lnTo>
                  <a:lnTo>
                    <a:pt x="667" y="23"/>
                  </a:lnTo>
                  <a:lnTo>
                    <a:pt x="667" y="23"/>
                  </a:lnTo>
                  <a:lnTo>
                    <a:pt x="663" y="24"/>
                  </a:lnTo>
                  <a:lnTo>
                    <a:pt x="659" y="25"/>
                  </a:lnTo>
                  <a:lnTo>
                    <a:pt x="659" y="25"/>
                  </a:lnTo>
                  <a:lnTo>
                    <a:pt x="656" y="27"/>
                  </a:lnTo>
                  <a:lnTo>
                    <a:pt x="652" y="27"/>
                  </a:lnTo>
                  <a:lnTo>
                    <a:pt x="652" y="27"/>
                  </a:lnTo>
                  <a:lnTo>
                    <a:pt x="645" y="28"/>
                  </a:lnTo>
                  <a:lnTo>
                    <a:pt x="645" y="28"/>
                  </a:lnTo>
                  <a:lnTo>
                    <a:pt x="633" y="28"/>
                  </a:lnTo>
                  <a:lnTo>
                    <a:pt x="620" y="28"/>
                  </a:lnTo>
                  <a:lnTo>
                    <a:pt x="620" y="28"/>
                  </a:lnTo>
                  <a:lnTo>
                    <a:pt x="623" y="27"/>
                  </a:lnTo>
                  <a:lnTo>
                    <a:pt x="625" y="24"/>
                  </a:lnTo>
                  <a:lnTo>
                    <a:pt x="625" y="24"/>
                  </a:lnTo>
                  <a:lnTo>
                    <a:pt x="625" y="21"/>
                  </a:lnTo>
                  <a:lnTo>
                    <a:pt x="622" y="18"/>
                  </a:lnTo>
                  <a:lnTo>
                    <a:pt x="620" y="17"/>
                  </a:lnTo>
                  <a:lnTo>
                    <a:pt x="619" y="18"/>
                  </a:lnTo>
                  <a:lnTo>
                    <a:pt x="619" y="18"/>
                  </a:lnTo>
                  <a:lnTo>
                    <a:pt x="616" y="21"/>
                  </a:lnTo>
                  <a:lnTo>
                    <a:pt x="613" y="23"/>
                  </a:lnTo>
                  <a:lnTo>
                    <a:pt x="610" y="23"/>
                  </a:lnTo>
                  <a:lnTo>
                    <a:pt x="610" y="23"/>
                  </a:lnTo>
                  <a:lnTo>
                    <a:pt x="609" y="23"/>
                  </a:lnTo>
                  <a:lnTo>
                    <a:pt x="606" y="20"/>
                  </a:lnTo>
                  <a:lnTo>
                    <a:pt x="606" y="20"/>
                  </a:lnTo>
                  <a:lnTo>
                    <a:pt x="602" y="17"/>
                  </a:lnTo>
                  <a:lnTo>
                    <a:pt x="597" y="15"/>
                  </a:lnTo>
                  <a:lnTo>
                    <a:pt x="597" y="15"/>
                  </a:lnTo>
                  <a:lnTo>
                    <a:pt x="595" y="15"/>
                  </a:lnTo>
                  <a:lnTo>
                    <a:pt x="595" y="15"/>
                  </a:lnTo>
                  <a:lnTo>
                    <a:pt x="589" y="17"/>
                  </a:lnTo>
                  <a:lnTo>
                    <a:pt x="589" y="17"/>
                  </a:lnTo>
                  <a:lnTo>
                    <a:pt x="580" y="15"/>
                  </a:lnTo>
                  <a:lnTo>
                    <a:pt x="580" y="15"/>
                  </a:lnTo>
                  <a:lnTo>
                    <a:pt x="566" y="15"/>
                  </a:lnTo>
                  <a:lnTo>
                    <a:pt x="556" y="14"/>
                  </a:lnTo>
                  <a:lnTo>
                    <a:pt x="556" y="14"/>
                  </a:lnTo>
                  <a:lnTo>
                    <a:pt x="553" y="13"/>
                  </a:lnTo>
                  <a:lnTo>
                    <a:pt x="545" y="13"/>
                  </a:lnTo>
                  <a:lnTo>
                    <a:pt x="517" y="11"/>
                  </a:lnTo>
                  <a:lnTo>
                    <a:pt x="517" y="11"/>
                  </a:lnTo>
                  <a:lnTo>
                    <a:pt x="509" y="11"/>
                  </a:lnTo>
                  <a:lnTo>
                    <a:pt x="509" y="11"/>
                  </a:lnTo>
                  <a:lnTo>
                    <a:pt x="499" y="10"/>
                  </a:lnTo>
                  <a:lnTo>
                    <a:pt x="499" y="10"/>
                  </a:lnTo>
                  <a:lnTo>
                    <a:pt x="487" y="10"/>
                  </a:lnTo>
                  <a:lnTo>
                    <a:pt x="487" y="10"/>
                  </a:lnTo>
                  <a:lnTo>
                    <a:pt x="482" y="10"/>
                  </a:lnTo>
                  <a:lnTo>
                    <a:pt x="477" y="11"/>
                  </a:lnTo>
                  <a:lnTo>
                    <a:pt x="477" y="11"/>
                  </a:lnTo>
                  <a:lnTo>
                    <a:pt x="476" y="11"/>
                  </a:lnTo>
                  <a:lnTo>
                    <a:pt x="476" y="11"/>
                  </a:lnTo>
                  <a:lnTo>
                    <a:pt x="466" y="10"/>
                  </a:lnTo>
                  <a:lnTo>
                    <a:pt x="466" y="10"/>
                  </a:lnTo>
                  <a:lnTo>
                    <a:pt x="456" y="8"/>
                  </a:lnTo>
                  <a:lnTo>
                    <a:pt x="456" y="8"/>
                  </a:lnTo>
                  <a:lnTo>
                    <a:pt x="452" y="8"/>
                  </a:lnTo>
                  <a:lnTo>
                    <a:pt x="450" y="10"/>
                  </a:lnTo>
                  <a:lnTo>
                    <a:pt x="450" y="10"/>
                  </a:lnTo>
                  <a:lnTo>
                    <a:pt x="446" y="14"/>
                  </a:lnTo>
                  <a:lnTo>
                    <a:pt x="442" y="17"/>
                  </a:lnTo>
                  <a:lnTo>
                    <a:pt x="442" y="17"/>
                  </a:lnTo>
                  <a:lnTo>
                    <a:pt x="442" y="14"/>
                  </a:lnTo>
                  <a:lnTo>
                    <a:pt x="442" y="14"/>
                  </a:lnTo>
                  <a:lnTo>
                    <a:pt x="437" y="10"/>
                  </a:lnTo>
                  <a:lnTo>
                    <a:pt x="435" y="8"/>
                  </a:lnTo>
                  <a:lnTo>
                    <a:pt x="430" y="8"/>
                  </a:lnTo>
                  <a:lnTo>
                    <a:pt x="430" y="8"/>
                  </a:lnTo>
                  <a:lnTo>
                    <a:pt x="420" y="7"/>
                  </a:lnTo>
                  <a:lnTo>
                    <a:pt x="420" y="7"/>
                  </a:lnTo>
                  <a:lnTo>
                    <a:pt x="412" y="7"/>
                  </a:lnTo>
                  <a:lnTo>
                    <a:pt x="412" y="7"/>
                  </a:lnTo>
                  <a:lnTo>
                    <a:pt x="407" y="7"/>
                  </a:lnTo>
                  <a:lnTo>
                    <a:pt x="406" y="8"/>
                  </a:lnTo>
                  <a:lnTo>
                    <a:pt x="405" y="10"/>
                  </a:lnTo>
                  <a:lnTo>
                    <a:pt x="405" y="10"/>
                  </a:lnTo>
                  <a:lnTo>
                    <a:pt x="403" y="11"/>
                  </a:lnTo>
                  <a:lnTo>
                    <a:pt x="403" y="14"/>
                  </a:lnTo>
                  <a:lnTo>
                    <a:pt x="405" y="17"/>
                  </a:lnTo>
                  <a:lnTo>
                    <a:pt x="405" y="17"/>
                  </a:lnTo>
                  <a:lnTo>
                    <a:pt x="406" y="20"/>
                  </a:lnTo>
                  <a:lnTo>
                    <a:pt x="406" y="20"/>
                  </a:lnTo>
                  <a:lnTo>
                    <a:pt x="402" y="20"/>
                  </a:lnTo>
                  <a:lnTo>
                    <a:pt x="402" y="20"/>
                  </a:lnTo>
                  <a:lnTo>
                    <a:pt x="393" y="20"/>
                  </a:lnTo>
                  <a:lnTo>
                    <a:pt x="390" y="18"/>
                  </a:lnTo>
                  <a:lnTo>
                    <a:pt x="390" y="18"/>
                  </a:lnTo>
                  <a:lnTo>
                    <a:pt x="385" y="15"/>
                  </a:lnTo>
                  <a:lnTo>
                    <a:pt x="385" y="15"/>
                  </a:lnTo>
                  <a:lnTo>
                    <a:pt x="373" y="14"/>
                  </a:lnTo>
                  <a:lnTo>
                    <a:pt x="356" y="13"/>
                  </a:lnTo>
                  <a:lnTo>
                    <a:pt x="356" y="13"/>
                  </a:lnTo>
                  <a:lnTo>
                    <a:pt x="339" y="14"/>
                  </a:lnTo>
                  <a:lnTo>
                    <a:pt x="326" y="15"/>
                  </a:lnTo>
                  <a:lnTo>
                    <a:pt x="326" y="15"/>
                  </a:lnTo>
                  <a:lnTo>
                    <a:pt x="319" y="17"/>
                  </a:lnTo>
                  <a:lnTo>
                    <a:pt x="310" y="17"/>
                  </a:lnTo>
                  <a:lnTo>
                    <a:pt x="310" y="17"/>
                  </a:lnTo>
                  <a:lnTo>
                    <a:pt x="300" y="18"/>
                  </a:lnTo>
                  <a:lnTo>
                    <a:pt x="295" y="20"/>
                  </a:lnTo>
                  <a:lnTo>
                    <a:pt x="290" y="21"/>
                  </a:lnTo>
                  <a:lnTo>
                    <a:pt x="290" y="21"/>
                  </a:lnTo>
                  <a:lnTo>
                    <a:pt x="287" y="23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3" y="24"/>
                  </a:lnTo>
                  <a:lnTo>
                    <a:pt x="282" y="24"/>
                  </a:lnTo>
                  <a:lnTo>
                    <a:pt x="282" y="24"/>
                  </a:lnTo>
                  <a:lnTo>
                    <a:pt x="269" y="21"/>
                  </a:lnTo>
                  <a:lnTo>
                    <a:pt x="259" y="20"/>
                  </a:lnTo>
                  <a:lnTo>
                    <a:pt x="259" y="20"/>
                  </a:lnTo>
                  <a:lnTo>
                    <a:pt x="255" y="20"/>
                  </a:lnTo>
                  <a:lnTo>
                    <a:pt x="255" y="20"/>
                  </a:lnTo>
                  <a:lnTo>
                    <a:pt x="246" y="18"/>
                  </a:lnTo>
                  <a:lnTo>
                    <a:pt x="246" y="18"/>
                  </a:lnTo>
                  <a:lnTo>
                    <a:pt x="242" y="20"/>
                  </a:lnTo>
                  <a:lnTo>
                    <a:pt x="237" y="21"/>
                  </a:lnTo>
                  <a:lnTo>
                    <a:pt x="237" y="21"/>
                  </a:lnTo>
                  <a:lnTo>
                    <a:pt x="237" y="23"/>
                  </a:lnTo>
                  <a:lnTo>
                    <a:pt x="237" y="25"/>
                  </a:lnTo>
                  <a:lnTo>
                    <a:pt x="237" y="25"/>
                  </a:lnTo>
                  <a:lnTo>
                    <a:pt x="237" y="30"/>
                  </a:lnTo>
                  <a:lnTo>
                    <a:pt x="237" y="30"/>
                  </a:lnTo>
                  <a:lnTo>
                    <a:pt x="235" y="30"/>
                  </a:lnTo>
                  <a:lnTo>
                    <a:pt x="235" y="30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2" y="25"/>
                  </a:lnTo>
                  <a:lnTo>
                    <a:pt x="203" y="25"/>
                  </a:lnTo>
                  <a:lnTo>
                    <a:pt x="203" y="25"/>
                  </a:lnTo>
                  <a:lnTo>
                    <a:pt x="183" y="28"/>
                  </a:lnTo>
                  <a:lnTo>
                    <a:pt x="183" y="28"/>
                  </a:lnTo>
                  <a:lnTo>
                    <a:pt x="175" y="30"/>
                  </a:lnTo>
                  <a:lnTo>
                    <a:pt x="175" y="30"/>
                  </a:lnTo>
                  <a:lnTo>
                    <a:pt x="157" y="31"/>
                  </a:lnTo>
                  <a:lnTo>
                    <a:pt x="145" y="30"/>
                  </a:lnTo>
                  <a:lnTo>
                    <a:pt x="145" y="30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26" y="30"/>
                  </a:lnTo>
                  <a:lnTo>
                    <a:pt x="125" y="30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3"/>
                  </a:lnTo>
                  <a:lnTo>
                    <a:pt x="125" y="34"/>
                  </a:lnTo>
                  <a:lnTo>
                    <a:pt x="127" y="35"/>
                  </a:lnTo>
                  <a:lnTo>
                    <a:pt x="127" y="35"/>
                  </a:lnTo>
                  <a:lnTo>
                    <a:pt x="130" y="37"/>
                  </a:lnTo>
                  <a:lnTo>
                    <a:pt x="130" y="37"/>
                  </a:lnTo>
                  <a:lnTo>
                    <a:pt x="135" y="40"/>
                  </a:lnTo>
                  <a:lnTo>
                    <a:pt x="136" y="41"/>
                  </a:lnTo>
                  <a:lnTo>
                    <a:pt x="136" y="41"/>
                  </a:lnTo>
                  <a:lnTo>
                    <a:pt x="139" y="45"/>
                  </a:lnTo>
                  <a:lnTo>
                    <a:pt x="143" y="48"/>
                  </a:lnTo>
                  <a:lnTo>
                    <a:pt x="150" y="51"/>
                  </a:lnTo>
                  <a:lnTo>
                    <a:pt x="150" y="51"/>
                  </a:lnTo>
                  <a:lnTo>
                    <a:pt x="152" y="53"/>
                  </a:lnTo>
                  <a:lnTo>
                    <a:pt x="152" y="53"/>
                  </a:lnTo>
                  <a:lnTo>
                    <a:pt x="156" y="55"/>
                  </a:lnTo>
                  <a:lnTo>
                    <a:pt x="163" y="57"/>
                  </a:lnTo>
                  <a:lnTo>
                    <a:pt x="163" y="57"/>
                  </a:lnTo>
                  <a:lnTo>
                    <a:pt x="176" y="55"/>
                  </a:lnTo>
                  <a:lnTo>
                    <a:pt x="176" y="55"/>
                  </a:lnTo>
                  <a:lnTo>
                    <a:pt x="183" y="55"/>
                  </a:lnTo>
                  <a:lnTo>
                    <a:pt x="183" y="55"/>
                  </a:lnTo>
                  <a:lnTo>
                    <a:pt x="186" y="55"/>
                  </a:lnTo>
                  <a:lnTo>
                    <a:pt x="186" y="55"/>
                  </a:lnTo>
                  <a:lnTo>
                    <a:pt x="187" y="57"/>
                  </a:lnTo>
                  <a:lnTo>
                    <a:pt x="187" y="57"/>
                  </a:lnTo>
                  <a:lnTo>
                    <a:pt x="185" y="58"/>
                  </a:lnTo>
                  <a:lnTo>
                    <a:pt x="185" y="58"/>
                  </a:lnTo>
                  <a:lnTo>
                    <a:pt x="180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2" y="61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69" y="64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6" y="77"/>
                  </a:lnTo>
                  <a:lnTo>
                    <a:pt x="173" y="78"/>
                  </a:lnTo>
                  <a:lnTo>
                    <a:pt x="173" y="78"/>
                  </a:lnTo>
                  <a:lnTo>
                    <a:pt x="162" y="74"/>
                  </a:lnTo>
                  <a:lnTo>
                    <a:pt x="156" y="71"/>
                  </a:lnTo>
                  <a:lnTo>
                    <a:pt x="156" y="71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60" y="61"/>
                  </a:lnTo>
                  <a:lnTo>
                    <a:pt x="160" y="60"/>
                  </a:lnTo>
                  <a:lnTo>
                    <a:pt x="159" y="57"/>
                  </a:lnTo>
                  <a:lnTo>
                    <a:pt x="159" y="57"/>
                  </a:lnTo>
                  <a:lnTo>
                    <a:pt x="157" y="55"/>
                  </a:lnTo>
                  <a:lnTo>
                    <a:pt x="153" y="55"/>
                  </a:lnTo>
                  <a:lnTo>
                    <a:pt x="153" y="55"/>
                  </a:lnTo>
                  <a:lnTo>
                    <a:pt x="143" y="58"/>
                  </a:lnTo>
                  <a:lnTo>
                    <a:pt x="143" y="58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58"/>
                  </a:lnTo>
                  <a:lnTo>
                    <a:pt x="139" y="55"/>
                  </a:lnTo>
                  <a:lnTo>
                    <a:pt x="139" y="55"/>
                  </a:lnTo>
                  <a:lnTo>
                    <a:pt x="136" y="54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26" y="54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17" y="45"/>
                  </a:lnTo>
                  <a:lnTo>
                    <a:pt x="113" y="41"/>
                  </a:lnTo>
                  <a:lnTo>
                    <a:pt x="107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96" y="38"/>
                  </a:lnTo>
                  <a:lnTo>
                    <a:pt x="89" y="41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3" y="45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5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6" y="47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49" y="51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27" y="54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16" y="60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6" y="63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0" y="74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8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7" y="81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7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3" y="85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9" y="87"/>
                  </a:lnTo>
                  <a:lnTo>
                    <a:pt x="17" y="87"/>
                  </a:lnTo>
                  <a:lnTo>
                    <a:pt x="17" y="87"/>
                  </a:lnTo>
                  <a:lnTo>
                    <a:pt x="17" y="87"/>
                  </a:lnTo>
                  <a:lnTo>
                    <a:pt x="16" y="90"/>
                  </a:lnTo>
                  <a:lnTo>
                    <a:pt x="17" y="97"/>
                  </a:lnTo>
                  <a:lnTo>
                    <a:pt x="17" y="97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9" y="103"/>
                  </a:lnTo>
                  <a:lnTo>
                    <a:pt x="22" y="104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45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7" y="108"/>
                  </a:lnTo>
                  <a:lnTo>
                    <a:pt x="63" y="105"/>
                  </a:lnTo>
                  <a:lnTo>
                    <a:pt x="63" y="105"/>
                  </a:lnTo>
                  <a:lnTo>
                    <a:pt x="70" y="103"/>
                  </a:lnTo>
                  <a:lnTo>
                    <a:pt x="75" y="103"/>
                  </a:lnTo>
                  <a:lnTo>
                    <a:pt x="77" y="103"/>
                  </a:lnTo>
                  <a:lnTo>
                    <a:pt x="77" y="103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6" y="105"/>
                  </a:lnTo>
                  <a:lnTo>
                    <a:pt x="86" y="105"/>
                  </a:lnTo>
                  <a:lnTo>
                    <a:pt x="90" y="104"/>
                  </a:lnTo>
                  <a:lnTo>
                    <a:pt x="93" y="103"/>
                  </a:lnTo>
                  <a:lnTo>
                    <a:pt x="93" y="103"/>
                  </a:lnTo>
                  <a:lnTo>
                    <a:pt x="103" y="98"/>
                  </a:lnTo>
                  <a:lnTo>
                    <a:pt x="103" y="98"/>
                  </a:lnTo>
                  <a:lnTo>
                    <a:pt x="102" y="100"/>
                  </a:lnTo>
                  <a:lnTo>
                    <a:pt x="102" y="100"/>
                  </a:lnTo>
                  <a:lnTo>
                    <a:pt x="102" y="101"/>
                  </a:lnTo>
                  <a:lnTo>
                    <a:pt x="105" y="104"/>
                  </a:lnTo>
                  <a:lnTo>
                    <a:pt x="105" y="104"/>
                  </a:lnTo>
                  <a:lnTo>
                    <a:pt x="107" y="107"/>
                  </a:lnTo>
                  <a:lnTo>
                    <a:pt x="110" y="108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5" y="110"/>
                  </a:lnTo>
                  <a:lnTo>
                    <a:pt x="125" y="110"/>
                  </a:lnTo>
                  <a:lnTo>
                    <a:pt x="129" y="111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2" y="121"/>
                  </a:lnTo>
                  <a:lnTo>
                    <a:pt x="120" y="121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5" y="115"/>
                  </a:lnTo>
                  <a:lnTo>
                    <a:pt x="115" y="115"/>
                  </a:lnTo>
                  <a:lnTo>
                    <a:pt x="112" y="111"/>
                  </a:lnTo>
                  <a:lnTo>
                    <a:pt x="109" y="110"/>
                  </a:lnTo>
                  <a:lnTo>
                    <a:pt x="107" y="110"/>
                  </a:lnTo>
                  <a:lnTo>
                    <a:pt x="107" y="110"/>
                  </a:lnTo>
                  <a:lnTo>
                    <a:pt x="93" y="110"/>
                  </a:lnTo>
                  <a:lnTo>
                    <a:pt x="85" y="111"/>
                  </a:lnTo>
                  <a:lnTo>
                    <a:pt x="82" y="113"/>
                  </a:lnTo>
                  <a:lnTo>
                    <a:pt x="80" y="115"/>
                  </a:lnTo>
                  <a:lnTo>
                    <a:pt x="80" y="115"/>
                  </a:lnTo>
                  <a:lnTo>
                    <a:pt x="80" y="120"/>
                  </a:lnTo>
                  <a:lnTo>
                    <a:pt x="83" y="125"/>
                  </a:lnTo>
                  <a:lnTo>
                    <a:pt x="83" y="125"/>
                  </a:lnTo>
                  <a:lnTo>
                    <a:pt x="67" y="125"/>
                  </a:lnTo>
                  <a:lnTo>
                    <a:pt x="67" y="12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50" y="127"/>
                  </a:lnTo>
                  <a:lnTo>
                    <a:pt x="43" y="130"/>
                  </a:lnTo>
                  <a:lnTo>
                    <a:pt x="43" y="130"/>
                  </a:lnTo>
                  <a:lnTo>
                    <a:pt x="40" y="131"/>
                  </a:lnTo>
                  <a:lnTo>
                    <a:pt x="40" y="131"/>
                  </a:lnTo>
                  <a:lnTo>
                    <a:pt x="35" y="130"/>
                  </a:lnTo>
                  <a:lnTo>
                    <a:pt x="35" y="130"/>
                  </a:lnTo>
                  <a:lnTo>
                    <a:pt x="33" y="130"/>
                  </a:lnTo>
                  <a:lnTo>
                    <a:pt x="33" y="130"/>
                  </a:lnTo>
                  <a:lnTo>
                    <a:pt x="19" y="138"/>
                  </a:lnTo>
                  <a:lnTo>
                    <a:pt x="17" y="141"/>
                  </a:lnTo>
                  <a:lnTo>
                    <a:pt x="16" y="143"/>
                  </a:lnTo>
                  <a:lnTo>
                    <a:pt x="17" y="144"/>
                  </a:lnTo>
                  <a:lnTo>
                    <a:pt x="17" y="144"/>
                  </a:lnTo>
                  <a:lnTo>
                    <a:pt x="17" y="144"/>
                  </a:lnTo>
                  <a:lnTo>
                    <a:pt x="20" y="145"/>
                  </a:lnTo>
                  <a:lnTo>
                    <a:pt x="20" y="145"/>
                  </a:lnTo>
                  <a:lnTo>
                    <a:pt x="26" y="145"/>
                  </a:lnTo>
                  <a:lnTo>
                    <a:pt x="26" y="145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42" y="145"/>
                  </a:lnTo>
                  <a:lnTo>
                    <a:pt x="42" y="145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53" y="148"/>
                  </a:lnTo>
                  <a:lnTo>
                    <a:pt x="57" y="148"/>
                  </a:lnTo>
                  <a:lnTo>
                    <a:pt x="59" y="148"/>
                  </a:lnTo>
                  <a:lnTo>
                    <a:pt x="59" y="148"/>
                  </a:lnTo>
                  <a:lnTo>
                    <a:pt x="66" y="145"/>
                  </a:lnTo>
                  <a:lnTo>
                    <a:pt x="75" y="145"/>
                  </a:lnTo>
                  <a:lnTo>
                    <a:pt x="75" y="145"/>
                  </a:lnTo>
                  <a:lnTo>
                    <a:pt x="76" y="145"/>
                  </a:lnTo>
                  <a:lnTo>
                    <a:pt x="76" y="145"/>
                  </a:lnTo>
                  <a:lnTo>
                    <a:pt x="82" y="145"/>
                  </a:lnTo>
                  <a:lnTo>
                    <a:pt x="82" y="145"/>
                  </a:lnTo>
                  <a:lnTo>
                    <a:pt x="89" y="145"/>
                  </a:lnTo>
                  <a:lnTo>
                    <a:pt x="89" y="145"/>
                  </a:lnTo>
                  <a:lnTo>
                    <a:pt x="100" y="148"/>
                  </a:lnTo>
                  <a:lnTo>
                    <a:pt x="106" y="147"/>
                  </a:lnTo>
                  <a:lnTo>
                    <a:pt x="110" y="147"/>
                  </a:lnTo>
                  <a:lnTo>
                    <a:pt x="110" y="147"/>
                  </a:lnTo>
                  <a:lnTo>
                    <a:pt x="116" y="144"/>
                  </a:lnTo>
                  <a:lnTo>
                    <a:pt x="116" y="144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7" y="144"/>
                  </a:lnTo>
                  <a:lnTo>
                    <a:pt x="117" y="144"/>
                  </a:lnTo>
                  <a:lnTo>
                    <a:pt x="120" y="145"/>
                  </a:lnTo>
                  <a:lnTo>
                    <a:pt x="120" y="145"/>
                  </a:lnTo>
                  <a:lnTo>
                    <a:pt x="123" y="148"/>
                  </a:lnTo>
                  <a:lnTo>
                    <a:pt x="126" y="150"/>
                  </a:lnTo>
                  <a:lnTo>
                    <a:pt x="129" y="148"/>
                  </a:lnTo>
                  <a:lnTo>
                    <a:pt x="129" y="148"/>
                  </a:lnTo>
                  <a:lnTo>
                    <a:pt x="135" y="148"/>
                  </a:lnTo>
                  <a:lnTo>
                    <a:pt x="135" y="148"/>
                  </a:lnTo>
                  <a:lnTo>
                    <a:pt x="135" y="148"/>
                  </a:lnTo>
                  <a:lnTo>
                    <a:pt x="140" y="148"/>
                  </a:lnTo>
                  <a:lnTo>
                    <a:pt x="150" y="147"/>
                  </a:lnTo>
                  <a:lnTo>
                    <a:pt x="150" y="147"/>
                  </a:lnTo>
                  <a:lnTo>
                    <a:pt x="156" y="145"/>
                  </a:lnTo>
                  <a:lnTo>
                    <a:pt x="156" y="145"/>
                  </a:lnTo>
                  <a:lnTo>
                    <a:pt x="160" y="145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3" y="148"/>
                  </a:lnTo>
                  <a:lnTo>
                    <a:pt x="163" y="148"/>
                  </a:lnTo>
                  <a:lnTo>
                    <a:pt x="163" y="150"/>
                  </a:lnTo>
                  <a:lnTo>
                    <a:pt x="163" y="150"/>
                  </a:lnTo>
                  <a:lnTo>
                    <a:pt x="165" y="152"/>
                  </a:lnTo>
                  <a:lnTo>
                    <a:pt x="166" y="152"/>
                  </a:lnTo>
                  <a:lnTo>
                    <a:pt x="169" y="154"/>
                  </a:lnTo>
                  <a:lnTo>
                    <a:pt x="169" y="154"/>
                  </a:lnTo>
                  <a:lnTo>
                    <a:pt x="176" y="152"/>
                  </a:lnTo>
                  <a:lnTo>
                    <a:pt x="183" y="151"/>
                  </a:lnTo>
                  <a:lnTo>
                    <a:pt x="185" y="151"/>
                  </a:lnTo>
                  <a:lnTo>
                    <a:pt x="185" y="151"/>
                  </a:lnTo>
                  <a:lnTo>
                    <a:pt x="190" y="150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205" y="151"/>
                  </a:lnTo>
                  <a:lnTo>
                    <a:pt x="205" y="151"/>
                  </a:lnTo>
                  <a:lnTo>
                    <a:pt x="210" y="150"/>
                  </a:lnTo>
                  <a:lnTo>
                    <a:pt x="213" y="148"/>
                  </a:lnTo>
                  <a:lnTo>
                    <a:pt x="213" y="148"/>
                  </a:lnTo>
                  <a:lnTo>
                    <a:pt x="216" y="147"/>
                  </a:lnTo>
                  <a:lnTo>
                    <a:pt x="216" y="147"/>
                  </a:lnTo>
                  <a:lnTo>
                    <a:pt x="222" y="144"/>
                  </a:lnTo>
                  <a:lnTo>
                    <a:pt x="222" y="144"/>
                  </a:lnTo>
                  <a:lnTo>
                    <a:pt x="229" y="143"/>
                  </a:lnTo>
                  <a:lnTo>
                    <a:pt x="233" y="140"/>
                  </a:lnTo>
                  <a:lnTo>
                    <a:pt x="233" y="140"/>
                  </a:lnTo>
                  <a:lnTo>
                    <a:pt x="237" y="135"/>
                  </a:lnTo>
                  <a:lnTo>
                    <a:pt x="237" y="133"/>
                  </a:lnTo>
                  <a:lnTo>
                    <a:pt x="237" y="131"/>
                  </a:lnTo>
                  <a:lnTo>
                    <a:pt x="237" y="131"/>
                  </a:lnTo>
                  <a:lnTo>
                    <a:pt x="235" y="128"/>
                  </a:lnTo>
                  <a:lnTo>
                    <a:pt x="230" y="128"/>
                  </a:lnTo>
                  <a:lnTo>
                    <a:pt x="230" y="128"/>
                  </a:lnTo>
                  <a:lnTo>
                    <a:pt x="220" y="131"/>
                  </a:lnTo>
                  <a:lnTo>
                    <a:pt x="220" y="131"/>
                  </a:lnTo>
                  <a:lnTo>
                    <a:pt x="220" y="131"/>
                  </a:lnTo>
                  <a:lnTo>
                    <a:pt x="220" y="131"/>
                  </a:lnTo>
                  <a:lnTo>
                    <a:pt x="225" y="127"/>
                  </a:lnTo>
                  <a:lnTo>
                    <a:pt x="225" y="127"/>
                  </a:lnTo>
                  <a:lnTo>
                    <a:pt x="225" y="127"/>
                  </a:lnTo>
                  <a:lnTo>
                    <a:pt x="236" y="127"/>
                  </a:lnTo>
                  <a:lnTo>
                    <a:pt x="246" y="125"/>
                  </a:lnTo>
                  <a:lnTo>
                    <a:pt x="253" y="121"/>
                  </a:lnTo>
                  <a:lnTo>
                    <a:pt x="256" y="120"/>
                  </a:lnTo>
                  <a:lnTo>
                    <a:pt x="256" y="117"/>
                  </a:lnTo>
                  <a:lnTo>
                    <a:pt x="256" y="117"/>
                  </a:lnTo>
                  <a:lnTo>
                    <a:pt x="257" y="111"/>
                  </a:lnTo>
                  <a:lnTo>
                    <a:pt x="257" y="110"/>
                  </a:lnTo>
                  <a:lnTo>
                    <a:pt x="259" y="110"/>
                  </a:lnTo>
                  <a:lnTo>
                    <a:pt x="259" y="110"/>
                  </a:lnTo>
                  <a:lnTo>
                    <a:pt x="266" y="111"/>
                  </a:lnTo>
                  <a:lnTo>
                    <a:pt x="266" y="111"/>
                  </a:lnTo>
                  <a:lnTo>
                    <a:pt x="272" y="113"/>
                  </a:lnTo>
                  <a:lnTo>
                    <a:pt x="272" y="113"/>
                  </a:lnTo>
                  <a:lnTo>
                    <a:pt x="283" y="115"/>
                  </a:lnTo>
                  <a:lnTo>
                    <a:pt x="287" y="115"/>
                  </a:lnTo>
                  <a:lnTo>
                    <a:pt x="292" y="114"/>
                  </a:lnTo>
                  <a:lnTo>
                    <a:pt x="292" y="114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303" y="111"/>
                  </a:lnTo>
                  <a:lnTo>
                    <a:pt x="306" y="110"/>
                  </a:lnTo>
                  <a:lnTo>
                    <a:pt x="307" y="107"/>
                  </a:lnTo>
                  <a:lnTo>
                    <a:pt x="307" y="107"/>
                  </a:lnTo>
                  <a:lnTo>
                    <a:pt x="309" y="105"/>
                  </a:lnTo>
                  <a:lnTo>
                    <a:pt x="310" y="105"/>
                  </a:lnTo>
                  <a:lnTo>
                    <a:pt x="310" y="105"/>
                  </a:lnTo>
                  <a:lnTo>
                    <a:pt x="313" y="104"/>
                  </a:lnTo>
                  <a:lnTo>
                    <a:pt x="315" y="101"/>
                  </a:lnTo>
                  <a:lnTo>
                    <a:pt x="315" y="101"/>
                  </a:lnTo>
                  <a:lnTo>
                    <a:pt x="319" y="100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7" y="97"/>
                  </a:lnTo>
                  <a:lnTo>
                    <a:pt x="327" y="97"/>
                  </a:lnTo>
                  <a:lnTo>
                    <a:pt x="333" y="97"/>
                  </a:lnTo>
                  <a:lnTo>
                    <a:pt x="333" y="97"/>
                  </a:lnTo>
                  <a:lnTo>
                    <a:pt x="337" y="97"/>
                  </a:lnTo>
                  <a:lnTo>
                    <a:pt x="337" y="97"/>
                  </a:lnTo>
                  <a:lnTo>
                    <a:pt x="340" y="97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4"/>
                  </a:lnTo>
                  <a:lnTo>
                    <a:pt x="342" y="93"/>
                  </a:lnTo>
                  <a:lnTo>
                    <a:pt x="342" y="93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42" y="87"/>
                  </a:lnTo>
                  <a:lnTo>
                    <a:pt x="342" y="87"/>
                  </a:lnTo>
                  <a:lnTo>
                    <a:pt x="345" y="85"/>
                  </a:lnTo>
                  <a:lnTo>
                    <a:pt x="347" y="84"/>
                  </a:lnTo>
                  <a:lnTo>
                    <a:pt x="347" y="84"/>
                  </a:lnTo>
                  <a:lnTo>
                    <a:pt x="359" y="81"/>
                  </a:lnTo>
                  <a:lnTo>
                    <a:pt x="359" y="81"/>
                  </a:lnTo>
                  <a:lnTo>
                    <a:pt x="372" y="80"/>
                  </a:lnTo>
                  <a:lnTo>
                    <a:pt x="375" y="78"/>
                  </a:lnTo>
                  <a:lnTo>
                    <a:pt x="377" y="77"/>
                  </a:lnTo>
                  <a:lnTo>
                    <a:pt x="377" y="77"/>
                  </a:lnTo>
                  <a:lnTo>
                    <a:pt x="377" y="77"/>
                  </a:lnTo>
                  <a:lnTo>
                    <a:pt x="377" y="77"/>
                  </a:lnTo>
                  <a:lnTo>
                    <a:pt x="383" y="77"/>
                  </a:lnTo>
                  <a:lnTo>
                    <a:pt x="383" y="77"/>
                  </a:lnTo>
                  <a:lnTo>
                    <a:pt x="389" y="78"/>
                  </a:lnTo>
                  <a:lnTo>
                    <a:pt x="396" y="78"/>
                  </a:lnTo>
                  <a:lnTo>
                    <a:pt x="396" y="78"/>
                  </a:lnTo>
                  <a:lnTo>
                    <a:pt x="405" y="78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12" y="75"/>
                  </a:lnTo>
                  <a:lnTo>
                    <a:pt x="412" y="75"/>
                  </a:lnTo>
                  <a:lnTo>
                    <a:pt x="416" y="74"/>
                  </a:lnTo>
                  <a:lnTo>
                    <a:pt x="417" y="73"/>
                  </a:lnTo>
                  <a:lnTo>
                    <a:pt x="419" y="71"/>
                  </a:lnTo>
                  <a:lnTo>
                    <a:pt x="419" y="71"/>
                  </a:lnTo>
                  <a:lnTo>
                    <a:pt x="422" y="68"/>
                  </a:lnTo>
                  <a:lnTo>
                    <a:pt x="426" y="67"/>
                  </a:lnTo>
                  <a:lnTo>
                    <a:pt x="429" y="67"/>
                  </a:lnTo>
                  <a:lnTo>
                    <a:pt x="429" y="67"/>
                  </a:lnTo>
                  <a:lnTo>
                    <a:pt x="435" y="64"/>
                  </a:lnTo>
                  <a:lnTo>
                    <a:pt x="435" y="64"/>
                  </a:lnTo>
                  <a:lnTo>
                    <a:pt x="439" y="63"/>
                  </a:lnTo>
                  <a:lnTo>
                    <a:pt x="443" y="63"/>
                  </a:lnTo>
                  <a:lnTo>
                    <a:pt x="443" y="63"/>
                  </a:lnTo>
                  <a:lnTo>
                    <a:pt x="456" y="60"/>
                  </a:lnTo>
                  <a:lnTo>
                    <a:pt x="456" y="60"/>
                  </a:lnTo>
                  <a:lnTo>
                    <a:pt x="475" y="55"/>
                  </a:lnTo>
                  <a:lnTo>
                    <a:pt x="475" y="55"/>
                  </a:lnTo>
                  <a:lnTo>
                    <a:pt x="486" y="55"/>
                  </a:lnTo>
                  <a:lnTo>
                    <a:pt x="486" y="55"/>
                  </a:lnTo>
                  <a:lnTo>
                    <a:pt x="497" y="54"/>
                  </a:lnTo>
                  <a:lnTo>
                    <a:pt x="502" y="53"/>
                  </a:lnTo>
                  <a:lnTo>
                    <a:pt x="506" y="51"/>
                  </a:lnTo>
                  <a:lnTo>
                    <a:pt x="506" y="51"/>
                  </a:lnTo>
                  <a:lnTo>
                    <a:pt x="516" y="48"/>
                  </a:lnTo>
                  <a:lnTo>
                    <a:pt x="529" y="47"/>
                  </a:lnTo>
                  <a:lnTo>
                    <a:pt x="529" y="47"/>
                  </a:lnTo>
                  <a:lnTo>
                    <a:pt x="536" y="47"/>
                  </a:lnTo>
                  <a:lnTo>
                    <a:pt x="536" y="47"/>
                  </a:lnTo>
                  <a:lnTo>
                    <a:pt x="535" y="48"/>
                  </a:lnTo>
                  <a:lnTo>
                    <a:pt x="535" y="48"/>
                  </a:lnTo>
                  <a:lnTo>
                    <a:pt x="526" y="50"/>
                  </a:lnTo>
                  <a:lnTo>
                    <a:pt x="515" y="51"/>
                  </a:lnTo>
                  <a:lnTo>
                    <a:pt x="515" y="51"/>
                  </a:lnTo>
                  <a:lnTo>
                    <a:pt x="493" y="55"/>
                  </a:lnTo>
                  <a:lnTo>
                    <a:pt x="486" y="58"/>
                  </a:lnTo>
                  <a:lnTo>
                    <a:pt x="483" y="60"/>
                  </a:lnTo>
                  <a:lnTo>
                    <a:pt x="483" y="60"/>
                  </a:lnTo>
                  <a:lnTo>
                    <a:pt x="482" y="64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5" y="67"/>
                  </a:lnTo>
                  <a:lnTo>
                    <a:pt x="487" y="68"/>
                  </a:lnTo>
                  <a:lnTo>
                    <a:pt x="496" y="68"/>
                  </a:lnTo>
                  <a:lnTo>
                    <a:pt x="496" y="68"/>
                  </a:lnTo>
                  <a:lnTo>
                    <a:pt x="500" y="68"/>
                  </a:lnTo>
                  <a:lnTo>
                    <a:pt x="500" y="68"/>
                  </a:lnTo>
                  <a:lnTo>
                    <a:pt x="507" y="68"/>
                  </a:lnTo>
                  <a:lnTo>
                    <a:pt x="507" y="68"/>
                  </a:lnTo>
                  <a:lnTo>
                    <a:pt x="512" y="68"/>
                  </a:lnTo>
                  <a:lnTo>
                    <a:pt x="512" y="68"/>
                  </a:lnTo>
                  <a:lnTo>
                    <a:pt x="510" y="71"/>
                  </a:lnTo>
                  <a:lnTo>
                    <a:pt x="507" y="75"/>
                  </a:lnTo>
                  <a:lnTo>
                    <a:pt x="507" y="75"/>
                  </a:lnTo>
                  <a:lnTo>
                    <a:pt x="503" y="77"/>
                  </a:lnTo>
                  <a:lnTo>
                    <a:pt x="496" y="80"/>
                  </a:lnTo>
                  <a:lnTo>
                    <a:pt x="485" y="81"/>
                  </a:lnTo>
                  <a:lnTo>
                    <a:pt x="482" y="81"/>
                  </a:lnTo>
                  <a:lnTo>
                    <a:pt x="482" y="81"/>
                  </a:lnTo>
                  <a:lnTo>
                    <a:pt x="467" y="81"/>
                  </a:lnTo>
                  <a:lnTo>
                    <a:pt x="453" y="83"/>
                  </a:lnTo>
                  <a:lnTo>
                    <a:pt x="453" y="83"/>
                  </a:lnTo>
                  <a:lnTo>
                    <a:pt x="433" y="87"/>
                  </a:lnTo>
                  <a:lnTo>
                    <a:pt x="412" y="90"/>
                  </a:lnTo>
                  <a:lnTo>
                    <a:pt x="412" y="90"/>
                  </a:lnTo>
                  <a:lnTo>
                    <a:pt x="403" y="91"/>
                  </a:lnTo>
                  <a:lnTo>
                    <a:pt x="399" y="93"/>
                  </a:lnTo>
                  <a:lnTo>
                    <a:pt x="399" y="93"/>
                  </a:lnTo>
                  <a:lnTo>
                    <a:pt x="393" y="94"/>
                  </a:lnTo>
                  <a:lnTo>
                    <a:pt x="389" y="94"/>
                  </a:lnTo>
                  <a:lnTo>
                    <a:pt x="389" y="94"/>
                  </a:lnTo>
                  <a:lnTo>
                    <a:pt x="376" y="93"/>
                  </a:lnTo>
                  <a:lnTo>
                    <a:pt x="370" y="93"/>
                  </a:lnTo>
                  <a:lnTo>
                    <a:pt x="365" y="94"/>
                  </a:lnTo>
                  <a:lnTo>
                    <a:pt x="365" y="94"/>
                  </a:lnTo>
                  <a:lnTo>
                    <a:pt x="359" y="95"/>
                  </a:lnTo>
                  <a:lnTo>
                    <a:pt x="359" y="95"/>
                  </a:lnTo>
                  <a:lnTo>
                    <a:pt x="353" y="97"/>
                  </a:lnTo>
                  <a:lnTo>
                    <a:pt x="352" y="98"/>
                  </a:lnTo>
                  <a:lnTo>
                    <a:pt x="349" y="100"/>
                  </a:lnTo>
                  <a:lnTo>
                    <a:pt x="349" y="100"/>
                  </a:lnTo>
                  <a:lnTo>
                    <a:pt x="347" y="103"/>
                  </a:lnTo>
                  <a:lnTo>
                    <a:pt x="347" y="103"/>
                  </a:lnTo>
                  <a:lnTo>
                    <a:pt x="345" y="104"/>
                  </a:lnTo>
                  <a:lnTo>
                    <a:pt x="345" y="107"/>
                  </a:lnTo>
                  <a:lnTo>
                    <a:pt x="345" y="107"/>
                  </a:lnTo>
                  <a:lnTo>
                    <a:pt x="346" y="108"/>
                  </a:lnTo>
                  <a:lnTo>
                    <a:pt x="345" y="110"/>
                  </a:lnTo>
                  <a:lnTo>
                    <a:pt x="346" y="108"/>
                  </a:lnTo>
                  <a:lnTo>
                    <a:pt x="346" y="108"/>
                  </a:lnTo>
                  <a:lnTo>
                    <a:pt x="349" y="110"/>
                  </a:lnTo>
                  <a:lnTo>
                    <a:pt x="349" y="110"/>
                  </a:lnTo>
                  <a:lnTo>
                    <a:pt x="352" y="111"/>
                  </a:lnTo>
                  <a:lnTo>
                    <a:pt x="352" y="111"/>
                  </a:lnTo>
                  <a:lnTo>
                    <a:pt x="353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70" y="114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3" y="114"/>
                  </a:lnTo>
                  <a:lnTo>
                    <a:pt x="373" y="114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7" y="115"/>
                  </a:lnTo>
                  <a:lnTo>
                    <a:pt x="383" y="120"/>
                  </a:lnTo>
                  <a:lnTo>
                    <a:pt x="387" y="123"/>
                  </a:lnTo>
                  <a:lnTo>
                    <a:pt x="387" y="123"/>
                  </a:lnTo>
                  <a:lnTo>
                    <a:pt x="390" y="124"/>
                  </a:lnTo>
                  <a:lnTo>
                    <a:pt x="390" y="124"/>
                  </a:lnTo>
                  <a:lnTo>
                    <a:pt x="386" y="125"/>
                  </a:lnTo>
                  <a:lnTo>
                    <a:pt x="386" y="125"/>
                  </a:lnTo>
                  <a:lnTo>
                    <a:pt x="385" y="125"/>
                  </a:lnTo>
                  <a:lnTo>
                    <a:pt x="385" y="125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3"/>
                  </a:lnTo>
                  <a:lnTo>
                    <a:pt x="383" y="121"/>
                  </a:lnTo>
                  <a:lnTo>
                    <a:pt x="377" y="118"/>
                  </a:lnTo>
                  <a:lnTo>
                    <a:pt x="377" y="118"/>
                  </a:lnTo>
                  <a:lnTo>
                    <a:pt x="365" y="117"/>
                  </a:lnTo>
                  <a:lnTo>
                    <a:pt x="365" y="117"/>
                  </a:lnTo>
                  <a:lnTo>
                    <a:pt x="359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3" y="118"/>
                  </a:lnTo>
                  <a:lnTo>
                    <a:pt x="353" y="118"/>
                  </a:lnTo>
                  <a:lnTo>
                    <a:pt x="347" y="117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39" y="118"/>
                  </a:lnTo>
                  <a:lnTo>
                    <a:pt x="337" y="120"/>
                  </a:lnTo>
                  <a:lnTo>
                    <a:pt x="337" y="121"/>
                  </a:lnTo>
                  <a:lnTo>
                    <a:pt x="337" y="121"/>
                  </a:lnTo>
                  <a:lnTo>
                    <a:pt x="337" y="123"/>
                  </a:lnTo>
                  <a:lnTo>
                    <a:pt x="339" y="124"/>
                  </a:lnTo>
                  <a:lnTo>
                    <a:pt x="343" y="127"/>
                  </a:lnTo>
                  <a:lnTo>
                    <a:pt x="345" y="127"/>
                  </a:lnTo>
                  <a:lnTo>
                    <a:pt x="345" y="127"/>
                  </a:lnTo>
                  <a:lnTo>
                    <a:pt x="347" y="130"/>
                  </a:lnTo>
                  <a:lnTo>
                    <a:pt x="347" y="130"/>
                  </a:lnTo>
                  <a:lnTo>
                    <a:pt x="352" y="134"/>
                  </a:lnTo>
                  <a:lnTo>
                    <a:pt x="352" y="134"/>
                  </a:lnTo>
                  <a:lnTo>
                    <a:pt x="355" y="137"/>
                  </a:lnTo>
                  <a:lnTo>
                    <a:pt x="359" y="138"/>
                  </a:lnTo>
                  <a:lnTo>
                    <a:pt x="363" y="141"/>
                  </a:lnTo>
                  <a:lnTo>
                    <a:pt x="363" y="141"/>
                  </a:lnTo>
                  <a:lnTo>
                    <a:pt x="365" y="144"/>
                  </a:lnTo>
                  <a:lnTo>
                    <a:pt x="367" y="147"/>
                  </a:lnTo>
                  <a:lnTo>
                    <a:pt x="367" y="147"/>
                  </a:lnTo>
                  <a:lnTo>
                    <a:pt x="370" y="148"/>
                  </a:lnTo>
                  <a:lnTo>
                    <a:pt x="370" y="148"/>
                  </a:lnTo>
                  <a:lnTo>
                    <a:pt x="370" y="150"/>
                  </a:lnTo>
                  <a:lnTo>
                    <a:pt x="372" y="151"/>
                  </a:lnTo>
                  <a:lnTo>
                    <a:pt x="380" y="154"/>
                  </a:lnTo>
                  <a:lnTo>
                    <a:pt x="380" y="154"/>
                  </a:lnTo>
                  <a:lnTo>
                    <a:pt x="389" y="155"/>
                  </a:lnTo>
                  <a:lnTo>
                    <a:pt x="389" y="155"/>
                  </a:lnTo>
                  <a:lnTo>
                    <a:pt x="395" y="155"/>
                  </a:lnTo>
                  <a:lnTo>
                    <a:pt x="400" y="154"/>
                  </a:lnTo>
                  <a:lnTo>
                    <a:pt x="406" y="151"/>
                  </a:lnTo>
                  <a:lnTo>
                    <a:pt x="406" y="151"/>
                  </a:lnTo>
                  <a:lnTo>
                    <a:pt x="407" y="151"/>
                  </a:lnTo>
                  <a:lnTo>
                    <a:pt x="407" y="151"/>
                  </a:lnTo>
                  <a:lnTo>
                    <a:pt x="409" y="152"/>
                  </a:lnTo>
                  <a:lnTo>
                    <a:pt x="412" y="152"/>
                  </a:lnTo>
                  <a:lnTo>
                    <a:pt x="413" y="152"/>
                  </a:lnTo>
                  <a:lnTo>
                    <a:pt x="413" y="152"/>
                  </a:lnTo>
                  <a:lnTo>
                    <a:pt x="416" y="152"/>
                  </a:lnTo>
                  <a:lnTo>
                    <a:pt x="419" y="151"/>
                  </a:lnTo>
                  <a:lnTo>
                    <a:pt x="419" y="151"/>
                  </a:lnTo>
                  <a:lnTo>
                    <a:pt x="420" y="150"/>
                  </a:lnTo>
                  <a:lnTo>
                    <a:pt x="420" y="150"/>
                  </a:lnTo>
                  <a:lnTo>
                    <a:pt x="422" y="151"/>
                  </a:lnTo>
                  <a:lnTo>
                    <a:pt x="422" y="151"/>
                  </a:lnTo>
                  <a:lnTo>
                    <a:pt x="425" y="154"/>
                  </a:lnTo>
                  <a:lnTo>
                    <a:pt x="425" y="154"/>
                  </a:lnTo>
                  <a:lnTo>
                    <a:pt x="427" y="155"/>
                  </a:lnTo>
                  <a:lnTo>
                    <a:pt x="430" y="157"/>
                  </a:lnTo>
                  <a:lnTo>
                    <a:pt x="430" y="157"/>
                  </a:lnTo>
                  <a:lnTo>
                    <a:pt x="432" y="157"/>
                  </a:lnTo>
                  <a:lnTo>
                    <a:pt x="432" y="157"/>
                  </a:lnTo>
                  <a:lnTo>
                    <a:pt x="435" y="155"/>
                  </a:lnTo>
                  <a:lnTo>
                    <a:pt x="435" y="155"/>
                  </a:lnTo>
                  <a:lnTo>
                    <a:pt x="439" y="154"/>
                  </a:lnTo>
                  <a:lnTo>
                    <a:pt x="439" y="154"/>
                  </a:lnTo>
                  <a:lnTo>
                    <a:pt x="443" y="151"/>
                  </a:lnTo>
                  <a:lnTo>
                    <a:pt x="443" y="151"/>
                  </a:lnTo>
                  <a:lnTo>
                    <a:pt x="445" y="151"/>
                  </a:lnTo>
                  <a:lnTo>
                    <a:pt x="447" y="150"/>
                  </a:lnTo>
                  <a:lnTo>
                    <a:pt x="447" y="150"/>
                  </a:lnTo>
                  <a:lnTo>
                    <a:pt x="450" y="152"/>
                  </a:lnTo>
                  <a:lnTo>
                    <a:pt x="450" y="152"/>
                  </a:lnTo>
                  <a:lnTo>
                    <a:pt x="453" y="154"/>
                  </a:lnTo>
                  <a:lnTo>
                    <a:pt x="456" y="154"/>
                  </a:lnTo>
                  <a:lnTo>
                    <a:pt x="456" y="154"/>
                  </a:lnTo>
                  <a:lnTo>
                    <a:pt x="459" y="154"/>
                  </a:lnTo>
                  <a:lnTo>
                    <a:pt x="459" y="154"/>
                  </a:lnTo>
                  <a:lnTo>
                    <a:pt x="465" y="154"/>
                  </a:lnTo>
                  <a:lnTo>
                    <a:pt x="467" y="151"/>
                  </a:lnTo>
                  <a:lnTo>
                    <a:pt x="467" y="151"/>
                  </a:lnTo>
                  <a:lnTo>
                    <a:pt x="469" y="150"/>
                  </a:lnTo>
                  <a:lnTo>
                    <a:pt x="469" y="148"/>
                  </a:lnTo>
                  <a:lnTo>
                    <a:pt x="469" y="148"/>
                  </a:lnTo>
                  <a:lnTo>
                    <a:pt x="470" y="148"/>
                  </a:lnTo>
                  <a:lnTo>
                    <a:pt x="470" y="148"/>
                  </a:lnTo>
                  <a:lnTo>
                    <a:pt x="482" y="151"/>
                  </a:lnTo>
                  <a:lnTo>
                    <a:pt x="482" y="151"/>
                  </a:lnTo>
                  <a:lnTo>
                    <a:pt x="489" y="152"/>
                  </a:lnTo>
                  <a:lnTo>
                    <a:pt x="495" y="152"/>
                  </a:lnTo>
                  <a:lnTo>
                    <a:pt x="495" y="152"/>
                  </a:lnTo>
                  <a:lnTo>
                    <a:pt x="499" y="152"/>
                  </a:lnTo>
                  <a:lnTo>
                    <a:pt x="499" y="152"/>
                  </a:lnTo>
                  <a:lnTo>
                    <a:pt x="499" y="152"/>
                  </a:lnTo>
                  <a:lnTo>
                    <a:pt x="503" y="152"/>
                  </a:lnTo>
                  <a:lnTo>
                    <a:pt x="507" y="154"/>
                  </a:lnTo>
                  <a:lnTo>
                    <a:pt x="507" y="154"/>
                  </a:lnTo>
                  <a:lnTo>
                    <a:pt x="512" y="157"/>
                  </a:lnTo>
                  <a:lnTo>
                    <a:pt x="512" y="157"/>
                  </a:lnTo>
                  <a:lnTo>
                    <a:pt x="516" y="158"/>
                  </a:lnTo>
                  <a:lnTo>
                    <a:pt x="516" y="158"/>
                  </a:lnTo>
                  <a:lnTo>
                    <a:pt x="522" y="161"/>
                  </a:lnTo>
                  <a:lnTo>
                    <a:pt x="530" y="162"/>
                  </a:lnTo>
                  <a:lnTo>
                    <a:pt x="530" y="162"/>
                  </a:lnTo>
                  <a:lnTo>
                    <a:pt x="532" y="162"/>
                  </a:lnTo>
                  <a:lnTo>
                    <a:pt x="532" y="162"/>
                  </a:lnTo>
                  <a:lnTo>
                    <a:pt x="532" y="162"/>
                  </a:lnTo>
                  <a:lnTo>
                    <a:pt x="532" y="162"/>
                  </a:lnTo>
                  <a:lnTo>
                    <a:pt x="532" y="165"/>
                  </a:lnTo>
                  <a:lnTo>
                    <a:pt x="532" y="165"/>
                  </a:lnTo>
                  <a:lnTo>
                    <a:pt x="533" y="168"/>
                  </a:lnTo>
                  <a:lnTo>
                    <a:pt x="535" y="171"/>
                  </a:lnTo>
                  <a:lnTo>
                    <a:pt x="535" y="171"/>
                  </a:lnTo>
                  <a:lnTo>
                    <a:pt x="536" y="174"/>
                  </a:lnTo>
                  <a:lnTo>
                    <a:pt x="540" y="177"/>
                  </a:lnTo>
                  <a:lnTo>
                    <a:pt x="540" y="177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46" y="182"/>
                  </a:lnTo>
                  <a:lnTo>
                    <a:pt x="546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0" y="184"/>
                  </a:lnTo>
                  <a:lnTo>
                    <a:pt x="540" y="185"/>
                  </a:lnTo>
                  <a:lnTo>
                    <a:pt x="540" y="185"/>
                  </a:lnTo>
                  <a:lnTo>
                    <a:pt x="542" y="188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0" y="191"/>
                  </a:lnTo>
                  <a:lnTo>
                    <a:pt x="540" y="191"/>
                  </a:lnTo>
                  <a:lnTo>
                    <a:pt x="536" y="191"/>
                  </a:lnTo>
                  <a:lnTo>
                    <a:pt x="532" y="192"/>
                  </a:lnTo>
                  <a:lnTo>
                    <a:pt x="530" y="195"/>
                  </a:lnTo>
                  <a:lnTo>
                    <a:pt x="530" y="195"/>
                  </a:lnTo>
                  <a:lnTo>
                    <a:pt x="530" y="197"/>
                  </a:lnTo>
                  <a:lnTo>
                    <a:pt x="533" y="198"/>
                  </a:lnTo>
                  <a:lnTo>
                    <a:pt x="533" y="198"/>
                  </a:lnTo>
                  <a:lnTo>
                    <a:pt x="537" y="198"/>
                  </a:lnTo>
                  <a:lnTo>
                    <a:pt x="542" y="198"/>
                  </a:lnTo>
                  <a:lnTo>
                    <a:pt x="542" y="198"/>
                  </a:lnTo>
                  <a:lnTo>
                    <a:pt x="547" y="197"/>
                  </a:lnTo>
                  <a:lnTo>
                    <a:pt x="547" y="197"/>
                  </a:lnTo>
                  <a:lnTo>
                    <a:pt x="549" y="197"/>
                  </a:lnTo>
                  <a:lnTo>
                    <a:pt x="549" y="197"/>
                  </a:lnTo>
                  <a:lnTo>
                    <a:pt x="545" y="198"/>
                  </a:lnTo>
                  <a:lnTo>
                    <a:pt x="545" y="198"/>
                  </a:lnTo>
                  <a:lnTo>
                    <a:pt x="540" y="200"/>
                  </a:lnTo>
                  <a:lnTo>
                    <a:pt x="540" y="200"/>
                  </a:lnTo>
                  <a:lnTo>
                    <a:pt x="539" y="201"/>
                  </a:lnTo>
                  <a:lnTo>
                    <a:pt x="539" y="201"/>
                  </a:lnTo>
                  <a:lnTo>
                    <a:pt x="536" y="202"/>
                  </a:lnTo>
                  <a:lnTo>
                    <a:pt x="535" y="204"/>
                  </a:lnTo>
                  <a:lnTo>
                    <a:pt x="535" y="207"/>
                  </a:lnTo>
                  <a:lnTo>
                    <a:pt x="535" y="207"/>
                  </a:lnTo>
                  <a:lnTo>
                    <a:pt x="536" y="208"/>
                  </a:lnTo>
                  <a:lnTo>
                    <a:pt x="537" y="208"/>
                  </a:lnTo>
                  <a:lnTo>
                    <a:pt x="542" y="210"/>
                  </a:lnTo>
                  <a:lnTo>
                    <a:pt x="542" y="210"/>
                  </a:lnTo>
                  <a:lnTo>
                    <a:pt x="546" y="210"/>
                  </a:lnTo>
                  <a:lnTo>
                    <a:pt x="546" y="210"/>
                  </a:lnTo>
                  <a:lnTo>
                    <a:pt x="543" y="212"/>
                  </a:lnTo>
                  <a:lnTo>
                    <a:pt x="543" y="212"/>
                  </a:lnTo>
                  <a:lnTo>
                    <a:pt x="539" y="215"/>
                  </a:lnTo>
                  <a:lnTo>
                    <a:pt x="537" y="217"/>
                  </a:lnTo>
                  <a:lnTo>
                    <a:pt x="537" y="220"/>
                  </a:lnTo>
                  <a:lnTo>
                    <a:pt x="537" y="220"/>
                  </a:lnTo>
                  <a:lnTo>
                    <a:pt x="537" y="220"/>
                  </a:lnTo>
                  <a:lnTo>
                    <a:pt x="539" y="221"/>
                  </a:lnTo>
                  <a:lnTo>
                    <a:pt x="539" y="221"/>
                  </a:lnTo>
                  <a:lnTo>
                    <a:pt x="546" y="221"/>
                  </a:lnTo>
                  <a:lnTo>
                    <a:pt x="546" y="221"/>
                  </a:lnTo>
                  <a:lnTo>
                    <a:pt x="546" y="224"/>
                  </a:lnTo>
                  <a:lnTo>
                    <a:pt x="546" y="224"/>
                  </a:lnTo>
                  <a:lnTo>
                    <a:pt x="543" y="225"/>
                  </a:lnTo>
                  <a:lnTo>
                    <a:pt x="537" y="227"/>
                  </a:lnTo>
                  <a:lnTo>
                    <a:pt x="537" y="227"/>
                  </a:lnTo>
                  <a:lnTo>
                    <a:pt x="535" y="228"/>
                  </a:lnTo>
                  <a:lnTo>
                    <a:pt x="533" y="230"/>
                  </a:lnTo>
                  <a:lnTo>
                    <a:pt x="533" y="230"/>
                  </a:lnTo>
                  <a:lnTo>
                    <a:pt x="533" y="232"/>
                  </a:lnTo>
                  <a:lnTo>
                    <a:pt x="535" y="235"/>
                  </a:lnTo>
                  <a:lnTo>
                    <a:pt x="535" y="235"/>
                  </a:lnTo>
                  <a:lnTo>
                    <a:pt x="532" y="240"/>
                  </a:lnTo>
                  <a:lnTo>
                    <a:pt x="529" y="242"/>
                  </a:lnTo>
                  <a:lnTo>
                    <a:pt x="529" y="242"/>
                  </a:lnTo>
                  <a:lnTo>
                    <a:pt x="523" y="247"/>
                  </a:lnTo>
                  <a:lnTo>
                    <a:pt x="522" y="251"/>
                  </a:lnTo>
                  <a:lnTo>
                    <a:pt x="522" y="251"/>
                  </a:lnTo>
                  <a:lnTo>
                    <a:pt x="522" y="254"/>
                  </a:lnTo>
                  <a:lnTo>
                    <a:pt x="522" y="254"/>
                  </a:lnTo>
                  <a:lnTo>
                    <a:pt x="520" y="257"/>
                  </a:lnTo>
                  <a:lnTo>
                    <a:pt x="522" y="258"/>
                  </a:lnTo>
                  <a:lnTo>
                    <a:pt x="522" y="258"/>
                  </a:lnTo>
                  <a:lnTo>
                    <a:pt x="525" y="261"/>
                  </a:lnTo>
                  <a:lnTo>
                    <a:pt x="527" y="261"/>
                  </a:lnTo>
                  <a:lnTo>
                    <a:pt x="527" y="261"/>
                  </a:lnTo>
                  <a:lnTo>
                    <a:pt x="533" y="262"/>
                  </a:lnTo>
                  <a:lnTo>
                    <a:pt x="536" y="264"/>
                  </a:lnTo>
                  <a:lnTo>
                    <a:pt x="536" y="264"/>
                  </a:lnTo>
                  <a:lnTo>
                    <a:pt x="542" y="267"/>
                  </a:lnTo>
                  <a:lnTo>
                    <a:pt x="542" y="267"/>
                  </a:lnTo>
                  <a:lnTo>
                    <a:pt x="546" y="267"/>
                  </a:lnTo>
                  <a:lnTo>
                    <a:pt x="546" y="267"/>
                  </a:lnTo>
                  <a:lnTo>
                    <a:pt x="552" y="267"/>
                  </a:lnTo>
                  <a:lnTo>
                    <a:pt x="555" y="264"/>
                  </a:lnTo>
                  <a:lnTo>
                    <a:pt x="555" y="264"/>
                  </a:lnTo>
                  <a:lnTo>
                    <a:pt x="557" y="261"/>
                  </a:lnTo>
                  <a:lnTo>
                    <a:pt x="557" y="261"/>
                  </a:lnTo>
                  <a:lnTo>
                    <a:pt x="560" y="258"/>
                  </a:lnTo>
                  <a:lnTo>
                    <a:pt x="562" y="257"/>
                  </a:lnTo>
                  <a:lnTo>
                    <a:pt x="562" y="257"/>
                  </a:lnTo>
                  <a:lnTo>
                    <a:pt x="563" y="257"/>
                  </a:lnTo>
                  <a:lnTo>
                    <a:pt x="563" y="257"/>
                  </a:lnTo>
                  <a:lnTo>
                    <a:pt x="569" y="257"/>
                  </a:lnTo>
                  <a:lnTo>
                    <a:pt x="569" y="258"/>
                  </a:lnTo>
                  <a:lnTo>
                    <a:pt x="569" y="258"/>
                  </a:lnTo>
                  <a:lnTo>
                    <a:pt x="567" y="260"/>
                  </a:lnTo>
                  <a:lnTo>
                    <a:pt x="567" y="260"/>
                  </a:lnTo>
                  <a:lnTo>
                    <a:pt x="566" y="261"/>
                  </a:lnTo>
                  <a:lnTo>
                    <a:pt x="565" y="264"/>
                  </a:lnTo>
                  <a:lnTo>
                    <a:pt x="565" y="264"/>
                  </a:lnTo>
                  <a:lnTo>
                    <a:pt x="566" y="265"/>
                  </a:lnTo>
                  <a:lnTo>
                    <a:pt x="569" y="267"/>
                  </a:lnTo>
                  <a:lnTo>
                    <a:pt x="569" y="267"/>
                  </a:lnTo>
                  <a:lnTo>
                    <a:pt x="573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82" y="268"/>
                  </a:lnTo>
                  <a:lnTo>
                    <a:pt x="582" y="268"/>
                  </a:lnTo>
                  <a:lnTo>
                    <a:pt x="582" y="268"/>
                  </a:lnTo>
                  <a:lnTo>
                    <a:pt x="582" y="268"/>
                  </a:lnTo>
                  <a:lnTo>
                    <a:pt x="579" y="270"/>
                  </a:lnTo>
                  <a:lnTo>
                    <a:pt x="579" y="271"/>
                  </a:lnTo>
                  <a:lnTo>
                    <a:pt x="579" y="271"/>
                  </a:lnTo>
                  <a:lnTo>
                    <a:pt x="579" y="274"/>
                  </a:lnTo>
                  <a:lnTo>
                    <a:pt x="580" y="275"/>
                  </a:lnTo>
                  <a:lnTo>
                    <a:pt x="580" y="275"/>
                  </a:lnTo>
                  <a:lnTo>
                    <a:pt x="586" y="278"/>
                  </a:lnTo>
                  <a:lnTo>
                    <a:pt x="587" y="281"/>
                  </a:lnTo>
                  <a:lnTo>
                    <a:pt x="587" y="281"/>
                  </a:lnTo>
                  <a:lnTo>
                    <a:pt x="583" y="282"/>
                  </a:lnTo>
                  <a:lnTo>
                    <a:pt x="583" y="282"/>
                  </a:lnTo>
                  <a:lnTo>
                    <a:pt x="580" y="282"/>
                  </a:lnTo>
                  <a:lnTo>
                    <a:pt x="580" y="282"/>
                  </a:lnTo>
                  <a:lnTo>
                    <a:pt x="577" y="277"/>
                  </a:lnTo>
                  <a:lnTo>
                    <a:pt x="575" y="275"/>
                  </a:lnTo>
                  <a:lnTo>
                    <a:pt x="570" y="275"/>
                  </a:lnTo>
                  <a:lnTo>
                    <a:pt x="570" y="275"/>
                  </a:lnTo>
                  <a:lnTo>
                    <a:pt x="563" y="274"/>
                  </a:lnTo>
                  <a:lnTo>
                    <a:pt x="563" y="274"/>
                  </a:lnTo>
                  <a:lnTo>
                    <a:pt x="552" y="271"/>
                  </a:lnTo>
                  <a:lnTo>
                    <a:pt x="540" y="270"/>
                  </a:lnTo>
                  <a:lnTo>
                    <a:pt x="540" y="270"/>
                  </a:lnTo>
                  <a:lnTo>
                    <a:pt x="536" y="271"/>
                  </a:lnTo>
                  <a:lnTo>
                    <a:pt x="536" y="271"/>
                  </a:lnTo>
                  <a:lnTo>
                    <a:pt x="535" y="271"/>
                  </a:lnTo>
                  <a:lnTo>
                    <a:pt x="535" y="271"/>
                  </a:lnTo>
                  <a:lnTo>
                    <a:pt x="530" y="274"/>
                  </a:lnTo>
                  <a:lnTo>
                    <a:pt x="530" y="275"/>
                  </a:lnTo>
                  <a:lnTo>
                    <a:pt x="529" y="277"/>
                  </a:lnTo>
                  <a:lnTo>
                    <a:pt x="529" y="277"/>
                  </a:lnTo>
                  <a:lnTo>
                    <a:pt x="530" y="280"/>
                  </a:lnTo>
                  <a:lnTo>
                    <a:pt x="533" y="281"/>
                  </a:lnTo>
                  <a:lnTo>
                    <a:pt x="533" y="281"/>
                  </a:lnTo>
                  <a:lnTo>
                    <a:pt x="533" y="282"/>
                  </a:lnTo>
                  <a:lnTo>
                    <a:pt x="533" y="282"/>
                  </a:lnTo>
                  <a:lnTo>
                    <a:pt x="533" y="284"/>
                  </a:lnTo>
                  <a:lnTo>
                    <a:pt x="533" y="284"/>
                  </a:lnTo>
                  <a:lnTo>
                    <a:pt x="530" y="284"/>
                  </a:lnTo>
                  <a:lnTo>
                    <a:pt x="530" y="284"/>
                  </a:lnTo>
                  <a:lnTo>
                    <a:pt x="529" y="282"/>
                  </a:lnTo>
                  <a:lnTo>
                    <a:pt x="529" y="282"/>
                  </a:lnTo>
                  <a:lnTo>
                    <a:pt x="526" y="281"/>
                  </a:lnTo>
                  <a:lnTo>
                    <a:pt x="523" y="281"/>
                  </a:lnTo>
                  <a:lnTo>
                    <a:pt x="523" y="281"/>
                  </a:lnTo>
                  <a:lnTo>
                    <a:pt x="523" y="281"/>
                  </a:lnTo>
                  <a:lnTo>
                    <a:pt x="523" y="281"/>
                  </a:lnTo>
                  <a:lnTo>
                    <a:pt x="520" y="281"/>
                  </a:lnTo>
                  <a:lnTo>
                    <a:pt x="519" y="282"/>
                  </a:lnTo>
                  <a:lnTo>
                    <a:pt x="519" y="285"/>
                  </a:lnTo>
                  <a:lnTo>
                    <a:pt x="519" y="285"/>
                  </a:lnTo>
                  <a:lnTo>
                    <a:pt x="519" y="287"/>
                  </a:lnTo>
                  <a:lnTo>
                    <a:pt x="519" y="287"/>
                  </a:lnTo>
                  <a:lnTo>
                    <a:pt x="517" y="288"/>
                  </a:lnTo>
                  <a:lnTo>
                    <a:pt x="517" y="288"/>
                  </a:lnTo>
                  <a:lnTo>
                    <a:pt x="516" y="290"/>
                  </a:lnTo>
                  <a:lnTo>
                    <a:pt x="516" y="290"/>
                  </a:lnTo>
                  <a:lnTo>
                    <a:pt x="516" y="292"/>
                  </a:lnTo>
                  <a:lnTo>
                    <a:pt x="516" y="292"/>
                  </a:lnTo>
                  <a:lnTo>
                    <a:pt x="516" y="294"/>
                  </a:lnTo>
                  <a:lnTo>
                    <a:pt x="516" y="294"/>
                  </a:lnTo>
                  <a:lnTo>
                    <a:pt x="515" y="297"/>
                  </a:lnTo>
                  <a:lnTo>
                    <a:pt x="515" y="297"/>
                  </a:lnTo>
                  <a:lnTo>
                    <a:pt x="513" y="297"/>
                  </a:lnTo>
                  <a:lnTo>
                    <a:pt x="513" y="297"/>
                  </a:lnTo>
                  <a:lnTo>
                    <a:pt x="510" y="298"/>
                  </a:lnTo>
                  <a:lnTo>
                    <a:pt x="510" y="298"/>
                  </a:lnTo>
                  <a:lnTo>
                    <a:pt x="509" y="300"/>
                  </a:lnTo>
                  <a:lnTo>
                    <a:pt x="507" y="302"/>
                  </a:lnTo>
                  <a:lnTo>
                    <a:pt x="507" y="302"/>
                  </a:lnTo>
                  <a:lnTo>
                    <a:pt x="509" y="304"/>
                  </a:lnTo>
                  <a:lnTo>
                    <a:pt x="512" y="305"/>
                  </a:lnTo>
                  <a:lnTo>
                    <a:pt x="513" y="305"/>
                  </a:lnTo>
                  <a:lnTo>
                    <a:pt x="513" y="305"/>
                  </a:lnTo>
                  <a:lnTo>
                    <a:pt x="515" y="307"/>
                  </a:lnTo>
                  <a:lnTo>
                    <a:pt x="515" y="308"/>
                  </a:lnTo>
                  <a:lnTo>
                    <a:pt x="515" y="308"/>
                  </a:lnTo>
                  <a:lnTo>
                    <a:pt x="516" y="311"/>
                  </a:lnTo>
                  <a:lnTo>
                    <a:pt x="516" y="311"/>
                  </a:lnTo>
                  <a:lnTo>
                    <a:pt x="520" y="315"/>
                  </a:lnTo>
                  <a:lnTo>
                    <a:pt x="526" y="318"/>
                  </a:lnTo>
                  <a:lnTo>
                    <a:pt x="526" y="318"/>
                  </a:lnTo>
                  <a:lnTo>
                    <a:pt x="527" y="318"/>
                  </a:lnTo>
                  <a:lnTo>
                    <a:pt x="527" y="318"/>
                  </a:lnTo>
                  <a:lnTo>
                    <a:pt x="532" y="317"/>
                  </a:lnTo>
                  <a:lnTo>
                    <a:pt x="532" y="317"/>
                  </a:lnTo>
                  <a:lnTo>
                    <a:pt x="535" y="317"/>
                  </a:lnTo>
                  <a:lnTo>
                    <a:pt x="535" y="317"/>
                  </a:lnTo>
                  <a:lnTo>
                    <a:pt x="536" y="317"/>
                  </a:lnTo>
                  <a:lnTo>
                    <a:pt x="539" y="317"/>
                  </a:lnTo>
                  <a:lnTo>
                    <a:pt x="539" y="317"/>
                  </a:lnTo>
                  <a:lnTo>
                    <a:pt x="542" y="317"/>
                  </a:lnTo>
                  <a:lnTo>
                    <a:pt x="542" y="317"/>
                  </a:lnTo>
                  <a:lnTo>
                    <a:pt x="545" y="315"/>
                  </a:lnTo>
                  <a:lnTo>
                    <a:pt x="545" y="315"/>
                  </a:lnTo>
                  <a:lnTo>
                    <a:pt x="547" y="315"/>
                  </a:lnTo>
                  <a:lnTo>
                    <a:pt x="552" y="314"/>
                  </a:lnTo>
                  <a:lnTo>
                    <a:pt x="552" y="314"/>
                  </a:lnTo>
                  <a:lnTo>
                    <a:pt x="553" y="312"/>
                  </a:lnTo>
                  <a:lnTo>
                    <a:pt x="553" y="312"/>
                  </a:lnTo>
                  <a:lnTo>
                    <a:pt x="555" y="312"/>
                  </a:lnTo>
                  <a:lnTo>
                    <a:pt x="555" y="312"/>
                  </a:lnTo>
                  <a:lnTo>
                    <a:pt x="556" y="312"/>
                  </a:lnTo>
                  <a:lnTo>
                    <a:pt x="556" y="312"/>
                  </a:lnTo>
                  <a:lnTo>
                    <a:pt x="559" y="311"/>
                  </a:lnTo>
                  <a:lnTo>
                    <a:pt x="559" y="311"/>
                  </a:lnTo>
                  <a:lnTo>
                    <a:pt x="560" y="311"/>
                  </a:lnTo>
                  <a:lnTo>
                    <a:pt x="560" y="311"/>
                  </a:lnTo>
                  <a:lnTo>
                    <a:pt x="562" y="311"/>
                  </a:lnTo>
                  <a:lnTo>
                    <a:pt x="562" y="311"/>
                  </a:lnTo>
                  <a:lnTo>
                    <a:pt x="563" y="310"/>
                  </a:lnTo>
                  <a:lnTo>
                    <a:pt x="563" y="310"/>
                  </a:lnTo>
                  <a:lnTo>
                    <a:pt x="566" y="308"/>
                  </a:lnTo>
                  <a:lnTo>
                    <a:pt x="567" y="307"/>
                  </a:lnTo>
                  <a:lnTo>
                    <a:pt x="567" y="307"/>
                  </a:lnTo>
                  <a:lnTo>
                    <a:pt x="569" y="304"/>
                  </a:lnTo>
                  <a:lnTo>
                    <a:pt x="567" y="301"/>
                  </a:lnTo>
                  <a:lnTo>
                    <a:pt x="567" y="301"/>
                  </a:lnTo>
                  <a:lnTo>
                    <a:pt x="565" y="297"/>
                  </a:lnTo>
                  <a:lnTo>
                    <a:pt x="562" y="295"/>
                  </a:lnTo>
                  <a:lnTo>
                    <a:pt x="562" y="295"/>
                  </a:lnTo>
                  <a:lnTo>
                    <a:pt x="559" y="294"/>
                  </a:lnTo>
                  <a:lnTo>
                    <a:pt x="559" y="294"/>
                  </a:lnTo>
                  <a:lnTo>
                    <a:pt x="556" y="292"/>
                  </a:lnTo>
                  <a:lnTo>
                    <a:pt x="556" y="292"/>
                  </a:lnTo>
                  <a:lnTo>
                    <a:pt x="555" y="291"/>
                  </a:lnTo>
                  <a:lnTo>
                    <a:pt x="555" y="291"/>
                  </a:lnTo>
                  <a:lnTo>
                    <a:pt x="562" y="292"/>
                  </a:lnTo>
                  <a:lnTo>
                    <a:pt x="562" y="292"/>
                  </a:lnTo>
                  <a:lnTo>
                    <a:pt x="569" y="295"/>
                  </a:lnTo>
                  <a:lnTo>
                    <a:pt x="576" y="297"/>
                  </a:lnTo>
                  <a:lnTo>
                    <a:pt x="576" y="297"/>
                  </a:lnTo>
                  <a:lnTo>
                    <a:pt x="576" y="297"/>
                  </a:lnTo>
                  <a:lnTo>
                    <a:pt x="576" y="297"/>
                  </a:lnTo>
                  <a:lnTo>
                    <a:pt x="575" y="301"/>
                  </a:lnTo>
                  <a:lnTo>
                    <a:pt x="575" y="301"/>
                  </a:lnTo>
                  <a:lnTo>
                    <a:pt x="577" y="308"/>
                  </a:lnTo>
                  <a:lnTo>
                    <a:pt x="577" y="308"/>
                  </a:lnTo>
                  <a:lnTo>
                    <a:pt x="577" y="310"/>
                  </a:lnTo>
                  <a:lnTo>
                    <a:pt x="577" y="310"/>
                  </a:lnTo>
                  <a:lnTo>
                    <a:pt x="576" y="311"/>
                  </a:lnTo>
                  <a:lnTo>
                    <a:pt x="576" y="311"/>
                  </a:lnTo>
                  <a:lnTo>
                    <a:pt x="573" y="312"/>
                  </a:lnTo>
                  <a:lnTo>
                    <a:pt x="570" y="315"/>
                  </a:lnTo>
                  <a:lnTo>
                    <a:pt x="570" y="315"/>
                  </a:lnTo>
                  <a:lnTo>
                    <a:pt x="569" y="320"/>
                  </a:lnTo>
                  <a:lnTo>
                    <a:pt x="569" y="320"/>
                  </a:lnTo>
                  <a:lnTo>
                    <a:pt x="569" y="322"/>
                  </a:lnTo>
                  <a:lnTo>
                    <a:pt x="566" y="324"/>
                  </a:lnTo>
                  <a:lnTo>
                    <a:pt x="566" y="324"/>
                  </a:lnTo>
                  <a:lnTo>
                    <a:pt x="562" y="325"/>
                  </a:lnTo>
                  <a:lnTo>
                    <a:pt x="559" y="327"/>
                  </a:lnTo>
                  <a:lnTo>
                    <a:pt x="559" y="327"/>
                  </a:lnTo>
                  <a:lnTo>
                    <a:pt x="557" y="328"/>
                  </a:lnTo>
                  <a:lnTo>
                    <a:pt x="557" y="328"/>
                  </a:lnTo>
                  <a:lnTo>
                    <a:pt x="556" y="328"/>
                  </a:lnTo>
                  <a:lnTo>
                    <a:pt x="556" y="328"/>
                  </a:lnTo>
                  <a:lnTo>
                    <a:pt x="545" y="325"/>
                  </a:lnTo>
                  <a:lnTo>
                    <a:pt x="535" y="324"/>
                  </a:lnTo>
                  <a:lnTo>
                    <a:pt x="535" y="324"/>
                  </a:lnTo>
                  <a:lnTo>
                    <a:pt x="530" y="325"/>
                  </a:lnTo>
                  <a:lnTo>
                    <a:pt x="525" y="328"/>
                  </a:lnTo>
                  <a:lnTo>
                    <a:pt x="520" y="332"/>
                  </a:lnTo>
                  <a:lnTo>
                    <a:pt x="517" y="338"/>
                  </a:lnTo>
                  <a:lnTo>
                    <a:pt x="517" y="338"/>
                  </a:lnTo>
                  <a:lnTo>
                    <a:pt x="516" y="341"/>
                  </a:lnTo>
                  <a:lnTo>
                    <a:pt x="515" y="344"/>
                  </a:lnTo>
                  <a:lnTo>
                    <a:pt x="515" y="344"/>
                  </a:lnTo>
                  <a:lnTo>
                    <a:pt x="515" y="345"/>
                  </a:lnTo>
                  <a:lnTo>
                    <a:pt x="515" y="345"/>
                  </a:lnTo>
                  <a:lnTo>
                    <a:pt x="512" y="347"/>
                  </a:lnTo>
                  <a:lnTo>
                    <a:pt x="512" y="347"/>
                  </a:lnTo>
                  <a:lnTo>
                    <a:pt x="509" y="347"/>
                  </a:lnTo>
                  <a:lnTo>
                    <a:pt x="509" y="347"/>
                  </a:lnTo>
                  <a:lnTo>
                    <a:pt x="506" y="347"/>
                  </a:lnTo>
                  <a:lnTo>
                    <a:pt x="503" y="350"/>
                  </a:lnTo>
                  <a:lnTo>
                    <a:pt x="503" y="350"/>
                  </a:lnTo>
                  <a:lnTo>
                    <a:pt x="500" y="354"/>
                  </a:lnTo>
                  <a:lnTo>
                    <a:pt x="500" y="354"/>
                  </a:lnTo>
                  <a:lnTo>
                    <a:pt x="497" y="358"/>
                  </a:lnTo>
                  <a:lnTo>
                    <a:pt x="497" y="358"/>
                  </a:lnTo>
                  <a:lnTo>
                    <a:pt x="495" y="361"/>
                  </a:lnTo>
                  <a:lnTo>
                    <a:pt x="495" y="361"/>
                  </a:lnTo>
                  <a:lnTo>
                    <a:pt x="493" y="364"/>
                  </a:lnTo>
                  <a:lnTo>
                    <a:pt x="493" y="368"/>
                  </a:lnTo>
                  <a:lnTo>
                    <a:pt x="493" y="368"/>
                  </a:lnTo>
                  <a:lnTo>
                    <a:pt x="495" y="372"/>
                  </a:lnTo>
                  <a:lnTo>
                    <a:pt x="499" y="375"/>
                  </a:lnTo>
                  <a:lnTo>
                    <a:pt x="499" y="375"/>
                  </a:lnTo>
                  <a:lnTo>
                    <a:pt x="499" y="375"/>
                  </a:lnTo>
                  <a:lnTo>
                    <a:pt x="499" y="375"/>
                  </a:lnTo>
                  <a:lnTo>
                    <a:pt x="493" y="380"/>
                  </a:lnTo>
                  <a:lnTo>
                    <a:pt x="493" y="380"/>
                  </a:lnTo>
                  <a:lnTo>
                    <a:pt x="490" y="381"/>
                  </a:lnTo>
                  <a:lnTo>
                    <a:pt x="490" y="381"/>
                  </a:lnTo>
                  <a:lnTo>
                    <a:pt x="489" y="381"/>
                  </a:lnTo>
                  <a:lnTo>
                    <a:pt x="489" y="381"/>
                  </a:lnTo>
                  <a:lnTo>
                    <a:pt x="486" y="384"/>
                  </a:lnTo>
                  <a:lnTo>
                    <a:pt x="486" y="388"/>
                  </a:lnTo>
                  <a:lnTo>
                    <a:pt x="486" y="388"/>
                  </a:lnTo>
                  <a:lnTo>
                    <a:pt x="486" y="395"/>
                  </a:lnTo>
                  <a:lnTo>
                    <a:pt x="487" y="398"/>
                  </a:lnTo>
                  <a:lnTo>
                    <a:pt x="487" y="398"/>
                  </a:lnTo>
                  <a:lnTo>
                    <a:pt x="486" y="401"/>
                  </a:lnTo>
                  <a:lnTo>
                    <a:pt x="486" y="401"/>
                  </a:lnTo>
                  <a:lnTo>
                    <a:pt x="486" y="404"/>
                  </a:lnTo>
                  <a:lnTo>
                    <a:pt x="487" y="408"/>
                  </a:lnTo>
                  <a:lnTo>
                    <a:pt x="487" y="408"/>
                  </a:lnTo>
                  <a:lnTo>
                    <a:pt x="489" y="411"/>
                  </a:lnTo>
                  <a:lnTo>
                    <a:pt x="492" y="412"/>
                  </a:lnTo>
                  <a:lnTo>
                    <a:pt x="492" y="412"/>
                  </a:lnTo>
                  <a:lnTo>
                    <a:pt x="493" y="411"/>
                  </a:lnTo>
                  <a:lnTo>
                    <a:pt x="495" y="411"/>
                  </a:lnTo>
                  <a:lnTo>
                    <a:pt x="495" y="411"/>
                  </a:lnTo>
                  <a:lnTo>
                    <a:pt x="496" y="410"/>
                  </a:lnTo>
                  <a:lnTo>
                    <a:pt x="496" y="410"/>
                  </a:lnTo>
                  <a:lnTo>
                    <a:pt x="497" y="410"/>
                  </a:lnTo>
                  <a:lnTo>
                    <a:pt x="497" y="410"/>
                  </a:lnTo>
                  <a:lnTo>
                    <a:pt x="497" y="410"/>
                  </a:lnTo>
                  <a:lnTo>
                    <a:pt x="497" y="410"/>
                  </a:lnTo>
                  <a:lnTo>
                    <a:pt x="496" y="412"/>
                  </a:lnTo>
                  <a:lnTo>
                    <a:pt x="496" y="412"/>
                  </a:lnTo>
                  <a:lnTo>
                    <a:pt x="496" y="414"/>
                  </a:lnTo>
                  <a:lnTo>
                    <a:pt x="496" y="417"/>
                  </a:lnTo>
                  <a:lnTo>
                    <a:pt x="496" y="417"/>
                  </a:lnTo>
                  <a:lnTo>
                    <a:pt x="499" y="421"/>
                  </a:lnTo>
                  <a:lnTo>
                    <a:pt x="499" y="421"/>
                  </a:lnTo>
                  <a:lnTo>
                    <a:pt x="496" y="425"/>
                  </a:lnTo>
                  <a:lnTo>
                    <a:pt x="496" y="425"/>
                  </a:lnTo>
                  <a:lnTo>
                    <a:pt x="495" y="430"/>
                  </a:lnTo>
                  <a:lnTo>
                    <a:pt x="493" y="434"/>
                  </a:lnTo>
                  <a:lnTo>
                    <a:pt x="493" y="434"/>
                  </a:lnTo>
                  <a:lnTo>
                    <a:pt x="493" y="435"/>
                  </a:lnTo>
                  <a:lnTo>
                    <a:pt x="493" y="435"/>
                  </a:lnTo>
                  <a:lnTo>
                    <a:pt x="493" y="435"/>
                  </a:lnTo>
                  <a:lnTo>
                    <a:pt x="493" y="435"/>
                  </a:lnTo>
                  <a:lnTo>
                    <a:pt x="492" y="437"/>
                  </a:lnTo>
                  <a:lnTo>
                    <a:pt x="492" y="438"/>
                  </a:lnTo>
                  <a:lnTo>
                    <a:pt x="492" y="438"/>
                  </a:lnTo>
                  <a:lnTo>
                    <a:pt x="492" y="440"/>
                  </a:lnTo>
                  <a:lnTo>
                    <a:pt x="493" y="442"/>
                  </a:lnTo>
                  <a:lnTo>
                    <a:pt x="493" y="442"/>
                  </a:lnTo>
                  <a:lnTo>
                    <a:pt x="496" y="445"/>
                  </a:lnTo>
                  <a:lnTo>
                    <a:pt x="499" y="445"/>
                  </a:lnTo>
                  <a:lnTo>
                    <a:pt x="499" y="445"/>
                  </a:lnTo>
                  <a:lnTo>
                    <a:pt x="500" y="447"/>
                  </a:lnTo>
                  <a:lnTo>
                    <a:pt x="500" y="447"/>
                  </a:lnTo>
                  <a:lnTo>
                    <a:pt x="500" y="447"/>
                  </a:lnTo>
                  <a:lnTo>
                    <a:pt x="500" y="447"/>
                  </a:lnTo>
                  <a:lnTo>
                    <a:pt x="500" y="448"/>
                  </a:lnTo>
                  <a:lnTo>
                    <a:pt x="500" y="448"/>
                  </a:lnTo>
                  <a:lnTo>
                    <a:pt x="500" y="448"/>
                  </a:lnTo>
                  <a:lnTo>
                    <a:pt x="500" y="448"/>
                  </a:lnTo>
                  <a:lnTo>
                    <a:pt x="497" y="448"/>
                  </a:lnTo>
                  <a:lnTo>
                    <a:pt x="496" y="450"/>
                  </a:lnTo>
                  <a:lnTo>
                    <a:pt x="496" y="450"/>
                  </a:lnTo>
                  <a:lnTo>
                    <a:pt x="496" y="451"/>
                  </a:lnTo>
                  <a:lnTo>
                    <a:pt x="496" y="454"/>
                  </a:lnTo>
                  <a:lnTo>
                    <a:pt x="496" y="454"/>
                  </a:lnTo>
                  <a:lnTo>
                    <a:pt x="496" y="458"/>
                  </a:lnTo>
                  <a:lnTo>
                    <a:pt x="496" y="458"/>
                  </a:lnTo>
                  <a:lnTo>
                    <a:pt x="497" y="461"/>
                  </a:lnTo>
                  <a:lnTo>
                    <a:pt x="497" y="461"/>
                  </a:lnTo>
                  <a:lnTo>
                    <a:pt x="496" y="462"/>
                  </a:lnTo>
                  <a:lnTo>
                    <a:pt x="496" y="462"/>
                  </a:lnTo>
                  <a:lnTo>
                    <a:pt x="496" y="467"/>
                  </a:lnTo>
                  <a:lnTo>
                    <a:pt x="496" y="468"/>
                  </a:lnTo>
                  <a:lnTo>
                    <a:pt x="499" y="471"/>
                  </a:lnTo>
                  <a:lnTo>
                    <a:pt x="499" y="471"/>
                  </a:lnTo>
                  <a:lnTo>
                    <a:pt x="503" y="471"/>
                  </a:lnTo>
                  <a:lnTo>
                    <a:pt x="503" y="471"/>
                  </a:lnTo>
                  <a:lnTo>
                    <a:pt x="503" y="471"/>
                  </a:lnTo>
                  <a:lnTo>
                    <a:pt x="505" y="472"/>
                  </a:lnTo>
                  <a:lnTo>
                    <a:pt x="505" y="472"/>
                  </a:lnTo>
                  <a:lnTo>
                    <a:pt x="506" y="475"/>
                  </a:lnTo>
                  <a:lnTo>
                    <a:pt x="509" y="477"/>
                  </a:lnTo>
                  <a:lnTo>
                    <a:pt x="509" y="477"/>
                  </a:lnTo>
                  <a:lnTo>
                    <a:pt x="510" y="478"/>
                  </a:lnTo>
                  <a:lnTo>
                    <a:pt x="510" y="478"/>
                  </a:lnTo>
                  <a:lnTo>
                    <a:pt x="510" y="478"/>
                  </a:lnTo>
                  <a:lnTo>
                    <a:pt x="510" y="480"/>
                  </a:lnTo>
                  <a:lnTo>
                    <a:pt x="509" y="481"/>
                  </a:lnTo>
                  <a:lnTo>
                    <a:pt x="509" y="481"/>
                  </a:lnTo>
                  <a:lnTo>
                    <a:pt x="507" y="484"/>
                  </a:lnTo>
                  <a:lnTo>
                    <a:pt x="507" y="488"/>
                  </a:lnTo>
                  <a:lnTo>
                    <a:pt x="510" y="494"/>
                  </a:lnTo>
                  <a:lnTo>
                    <a:pt x="510" y="494"/>
                  </a:lnTo>
                  <a:lnTo>
                    <a:pt x="513" y="501"/>
                  </a:lnTo>
                  <a:lnTo>
                    <a:pt x="513" y="501"/>
                  </a:lnTo>
                  <a:lnTo>
                    <a:pt x="515" y="507"/>
                  </a:lnTo>
                  <a:lnTo>
                    <a:pt x="516" y="514"/>
                  </a:lnTo>
                  <a:lnTo>
                    <a:pt x="516" y="514"/>
                  </a:lnTo>
                  <a:lnTo>
                    <a:pt x="516" y="517"/>
                  </a:lnTo>
                  <a:lnTo>
                    <a:pt x="516" y="518"/>
                  </a:lnTo>
                  <a:lnTo>
                    <a:pt x="519" y="520"/>
                  </a:lnTo>
                  <a:lnTo>
                    <a:pt x="522" y="521"/>
                  </a:lnTo>
                  <a:lnTo>
                    <a:pt x="522" y="521"/>
                  </a:lnTo>
                  <a:lnTo>
                    <a:pt x="525" y="521"/>
                  </a:lnTo>
                  <a:lnTo>
                    <a:pt x="525" y="521"/>
                  </a:lnTo>
                  <a:lnTo>
                    <a:pt x="526" y="521"/>
                  </a:lnTo>
                  <a:lnTo>
                    <a:pt x="526" y="521"/>
                  </a:lnTo>
                  <a:lnTo>
                    <a:pt x="526" y="522"/>
                  </a:lnTo>
                  <a:lnTo>
                    <a:pt x="526" y="522"/>
                  </a:lnTo>
                  <a:lnTo>
                    <a:pt x="526" y="527"/>
                  </a:lnTo>
                  <a:lnTo>
                    <a:pt x="526" y="527"/>
                  </a:lnTo>
                  <a:lnTo>
                    <a:pt x="526" y="532"/>
                  </a:lnTo>
                  <a:lnTo>
                    <a:pt x="526" y="534"/>
                  </a:lnTo>
                  <a:lnTo>
                    <a:pt x="527" y="535"/>
                  </a:lnTo>
                  <a:lnTo>
                    <a:pt x="527" y="535"/>
                  </a:lnTo>
                  <a:lnTo>
                    <a:pt x="529" y="537"/>
                  </a:lnTo>
                  <a:lnTo>
                    <a:pt x="529" y="537"/>
                  </a:lnTo>
                  <a:lnTo>
                    <a:pt x="533" y="538"/>
                  </a:lnTo>
                  <a:lnTo>
                    <a:pt x="536" y="537"/>
                  </a:lnTo>
                  <a:lnTo>
                    <a:pt x="539" y="535"/>
                  </a:lnTo>
                  <a:lnTo>
                    <a:pt x="539" y="535"/>
                  </a:lnTo>
                  <a:lnTo>
                    <a:pt x="543" y="534"/>
                  </a:lnTo>
                  <a:lnTo>
                    <a:pt x="543" y="534"/>
                  </a:lnTo>
                  <a:lnTo>
                    <a:pt x="545" y="532"/>
                  </a:lnTo>
                  <a:lnTo>
                    <a:pt x="545" y="532"/>
                  </a:lnTo>
                  <a:lnTo>
                    <a:pt x="547" y="532"/>
                  </a:lnTo>
                  <a:lnTo>
                    <a:pt x="547" y="532"/>
                  </a:lnTo>
                  <a:lnTo>
                    <a:pt x="555" y="535"/>
                  </a:lnTo>
                  <a:lnTo>
                    <a:pt x="555" y="535"/>
                  </a:lnTo>
                  <a:lnTo>
                    <a:pt x="559" y="537"/>
                  </a:lnTo>
                  <a:lnTo>
                    <a:pt x="562" y="538"/>
                  </a:lnTo>
                  <a:lnTo>
                    <a:pt x="563" y="538"/>
                  </a:lnTo>
                  <a:lnTo>
                    <a:pt x="563" y="538"/>
                  </a:lnTo>
                  <a:lnTo>
                    <a:pt x="565" y="537"/>
                  </a:lnTo>
                  <a:lnTo>
                    <a:pt x="567" y="537"/>
                  </a:lnTo>
                  <a:lnTo>
                    <a:pt x="567" y="537"/>
                  </a:lnTo>
                  <a:lnTo>
                    <a:pt x="567" y="535"/>
                  </a:lnTo>
                  <a:lnTo>
                    <a:pt x="567" y="535"/>
                  </a:lnTo>
                  <a:lnTo>
                    <a:pt x="570" y="537"/>
                  </a:lnTo>
                  <a:lnTo>
                    <a:pt x="570" y="537"/>
                  </a:lnTo>
                  <a:lnTo>
                    <a:pt x="575" y="540"/>
                  </a:lnTo>
                  <a:lnTo>
                    <a:pt x="577" y="541"/>
                  </a:lnTo>
                  <a:lnTo>
                    <a:pt x="577" y="541"/>
                  </a:lnTo>
                  <a:lnTo>
                    <a:pt x="580" y="542"/>
                  </a:lnTo>
                  <a:lnTo>
                    <a:pt x="582" y="544"/>
                  </a:lnTo>
                  <a:lnTo>
                    <a:pt x="582" y="544"/>
                  </a:lnTo>
                  <a:lnTo>
                    <a:pt x="582" y="545"/>
                  </a:lnTo>
                  <a:lnTo>
                    <a:pt x="582" y="545"/>
                  </a:lnTo>
                  <a:lnTo>
                    <a:pt x="582" y="545"/>
                  </a:lnTo>
                  <a:lnTo>
                    <a:pt x="579" y="547"/>
                  </a:lnTo>
                  <a:lnTo>
                    <a:pt x="579" y="547"/>
                  </a:lnTo>
                  <a:lnTo>
                    <a:pt x="580" y="550"/>
                  </a:lnTo>
                  <a:lnTo>
                    <a:pt x="583" y="551"/>
                  </a:lnTo>
                  <a:lnTo>
                    <a:pt x="583" y="551"/>
                  </a:lnTo>
                  <a:lnTo>
                    <a:pt x="589" y="555"/>
                  </a:lnTo>
                  <a:lnTo>
                    <a:pt x="596" y="557"/>
                  </a:lnTo>
                  <a:lnTo>
                    <a:pt x="596" y="557"/>
                  </a:lnTo>
                  <a:lnTo>
                    <a:pt x="599" y="558"/>
                  </a:lnTo>
                  <a:lnTo>
                    <a:pt x="599" y="558"/>
                  </a:lnTo>
                  <a:lnTo>
                    <a:pt x="602" y="560"/>
                  </a:lnTo>
                  <a:lnTo>
                    <a:pt x="602" y="560"/>
                  </a:lnTo>
                  <a:lnTo>
                    <a:pt x="605" y="562"/>
                  </a:lnTo>
                  <a:lnTo>
                    <a:pt x="607" y="562"/>
                  </a:lnTo>
                  <a:lnTo>
                    <a:pt x="607" y="562"/>
                  </a:lnTo>
                  <a:lnTo>
                    <a:pt x="610" y="561"/>
                  </a:lnTo>
                  <a:lnTo>
                    <a:pt x="610" y="561"/>
                  </a:lnTo>
                  <a:lnTo>
                    <a:pt x="612" y="560"/>
                  </a:lnTo>
                  <a:lnTo>
                    <a:pt x="612" y="558"/>
                  </a:lnTo>
                  <a:lnTo>
                    <a:pt x="612" y="558"/>
                  </a:lnTo>
                  <a:lnTo>
                    <a:pt x="616" y="557"/>
                  </a:lnTo>
                  <a:lnTo>
                    <a:pt x="617" y="555"/>
                  </a:lnTo>
                  <a:lnTo>
                    <a:pt x="617" y="555"/>
                  </a:lnTo>
                  <a:lnTo>
                    <a:pt x="623" y="555"/>
                  </a:lnTo>
                  <a:lnTo>
                    <a:pt x="623" y="555"/>
                  </a:lnTo>
                  <a:lnTo>
                    <a:pt x="627" y="554"/>
                  </a:lnTo>
                  <a:lnTo>
                    <a:pt x="630" y="550"/>
                  </a:lnTo>
                  <a:lnTo>
                    <a:pt x="630" y="550"/>
                  </a:lnTo>
                  <a:lnTo>
                    <a:pt x="632" y="545"/>
                  </a:lnTo>
                  <a:lnTo>
                    <a:pt x="632" y="541"/>
                  </a:lnTo>
                  <a:lnTo>
                    <a:pt x="632" y="541"/>
                  </a:lnTo>
                  <a:lnTo>
                    <a:pt x="632" y="541"/>
                  </a:lnTo>
                  <a:lnTo>
                    <a:pt x="632" y="541"/>
                  </a:lnTo>
                  <a:lnTo>
                    <a:pt x="636" y="540"/>
                  </a:lnTo>
                  <a:lnTo>
                    <a:pt x="637" y="538"/>
                  </a:lnTo>
                  <a:lnTo>
                    <a:pt x="639" y="535"/>
                  </a:lnTo>
                  <a:lnTo>
                    <a:pt x="639" y="535"/>
                  </a:lnTo>
                  <a:lnTo>
                    <a:pt x="639" y="531"/>
                  </a:lnTo>
                  <a:lnTo>
                    <a:pt x="639" y="531"/>
                  </a:lnTo>
                  <a:lnTo>
                    <a:pt x="639" y="530"/>
                  </a:lnTo>
                  <a:lnTo>
                    <a:pt x="639" y="530"/>
                  </a:lnTo>
                  <a:lnTo>
                    <a:pt x="639" y="530"/>
                  </a:lnTo>
                  <a:lnTo>
                    <a:pt x="639" y="530"/>
                  </a:lnTo>
                  <a:lnTo>
                    <a:pt x="642" y="528"/>
                  </a:lnTo>
                  <a:lnTo>
                    <a:pt x="642" y="528"/>
                  </a:lnTo>
                  <a:lnTo>
                    <a:pt x="645" y="528"/>
                  </a:lnTo>
                  <a:lnTo>
                    <a:pt x="647" y="524"/>
                  </a:lnTo>
                  <a:lnTo>
                    <a:pt x="647" y="524"/>
                  </a:lnTo>
                  <a:lnTo>
                    <a:pt x="652" y="520"/>
                  </a:lnTo>
                  <a:lnTo>
                    <a:pt x="652" y="520"/>
                  </a:lnTo>
                  <a:lnTo>
                    <a:pt x="655" y="515"/>
                  </a:lnTo>
                  <a:lnTo>
                    <a:pt x="655" y="515"/>
                  </a:lnTo>
                  <a:lnTo>
                    <a:pt x="657" y="512"/>
                  </a:lnTo>
                  <a:lnTo>
                    <a:pt x="662" y="508"/>
                  </a:lnTo>
                  <a:lnTo>
                    <a:pt x="662" y="508"/>
                  </a:lnTo>
                  <a:lnTo>
                    <a:pt x="663" y="508"/>
                  </a:lnTo>
                  <a:lnTo>
                    <a:pt x="663" y="508"/>
                  </a:lnTo>
                  <a:lnTo>
                    <a:pt x="665" y="507"/>
                  </a:lnTo>
                  <a:lnTo>
                    <a:pt x="666" y="505"/>
                  </a:lnTo>
                  <a:lnTo>
                    <a:pt x="666" y="502"/>
                  </a:lnTo>
                  <a:lnTo>
                    <a:pt x="666" y="502"/>
                  </a:lnTo>
                  <a:lnTo>
                    <a:pt x="667" y="501"/>
                  </a:lnTo>
                  <a:lnTo>
                    <a:pt x="667" y="501"/>
                  </a:lnTo>
                  <a:lnTo>
                    <a:pt x="669" y="495"/>
                  </a:lnTo>
                  <a:lnTo>
                    <a:pt x="667" y="492"/>
                  </a:lnTo>
                  <a:lnTo>
                    <a:pt x="665" y="490"/>
                  </a:lnTo>
                  <a:lnTo>
                    <a:pt x="665" y="490"/>
                  </a:lnTo>
                  <a:lnTo>
                    <a:pt x="663" y="487"/>
                  </a:lnTo>
                  <a:lnTo>
                    <a:pt x="663" y="485"/>
                  </a:lnTo>
                  <a:lnTo>
                    <a:pt x="663" y="482"/>
                  </a:lnTo>
                  <a:lnTo>
                    <a:pt x="663" y="482"/>
                  </a:lnTo>
                  <a:lnTo>
                    <a:pt x="663" y="482"/>
                  </a:lnTo>
                  <a:lnTo>
                    <a:pt x="663" y="482"/>
                  </a:lnTo>
                  <a:lnTo>
                    <a:pt x="666" y="480"/>
                  </a:lnTo>
                  <a:lnTo>
                    <a:pt x="666" y="480"/>
                  </a:lnTo>
                  <a:lnTo>
                    <a:pt x="669" y="478"/>
                  </a:lnTo>
                  <a:lnTo>
                    <a:pt x="673" y="478"/>
                  </a:lnTo>
                  <a:lnTo>
                    <a:pt x="673" y="478"/>
                  </a:lnTo>
                  <a:lnTo>
                    <a:pt x="677" y="481"/>
                  </a:lnTo>
                  <a:lnTo>
                    <a:pt x="677" y="481"/>
                  </a:lnTo>
                  <a:lnTo>
                    <a:pt x="680" y="481"/>
                  </a:lnTo>
                  <a:lnTo>
                    <a:pt x="683" y="482"/>
                  </a:lnTo>
                  <a:lnTo>
                    <a:pt x="683" y="482"/>
                  </a:lnTo>
                  <a:lnTo>
                    <a:pt x="685" y="481"/>
                  </a:lnTo>
                  <a:lnTo>
                    <a:pt x="687" y="480"/>
                  </a:lnTo>
                  <a:lnTo>
                    <a:pt x="687" y="480"/>
                  </a:lnTo>
                  <a:lnTo>
                    <a:pt x="689" y="478"/>
                  </a:lnTo>
                  <a:lnTo>
                    <a:pt x="690" y="478"/>
                  </a:lnTo>
                  <a:lnTo>
                    <a:pt x="690" y="478"/>
                  </a:lnTo>
                  <a:lnTo>
                    <a:pt x="693" y="477"/>
                  </a:lnTo>
                  <a:lnTo>
                    <a:pt x="696" y="474"/>
                  </a:lnTo>
                  <a:lnTo>
                    <a:pt x="696" y="474"/>
                  </a:lnTo>
                  <a:lnTo>
                    <a:pt x="699" y="471"/>
                  </a:lnTo>
                  <a:lnTo>
                    <a:pt x="699" y="471"/>
                  </a:lnTo>
                  <a:lnTo>
                    <a:pt x="700" y="470"/>
                  </a:lnTo>
                  <a:lnTo>
                    <a:pt x="702" y="468"/>
                  </a:lnTo>
                  <a:lnTo>
                    <a:pt x="702" y="468"/>
                  </a:lnTo>
                  <a:lnTo>
                    <a:pt x="703" y="465"/>
                  </a:lnTo>
                  <a:lnTo>
                    <a:pt x="703" y="465"/>
                  </a:lnTo>
                  <a:lnTo>
                    <a:pt x="706" y="461"/>
                  </a:lnTo>
                  <a:lnTo>
                    <a:pt x="706" y="461"/>
                  </a:lnTo>
                  <a:lnTo>
                    <a:pt x="712" y="461"/>
                  </a:lnTo>
                  <a:lnTo>
                    <a:pt x="715" y="460"/>
                  </a:lnTo>
                  <a:lnTo>
                    <a:pt x="717" y="458"/>
                  </a:lnTo>
                  <a:lnTo>
                    <a:pt x="717" y="458"/>
                  </a:lnTo>
                  <a:lnTo>
                    <a:pt x="717" y="458"/>
                  </a:lnTo>
                  <a:lnTo>
                    <a:pt x="717" y="458"/>
                  </a:lnTo>
                  <a:lnTo>
                    <a:pt x="720" y="455"/>
                  </a:lnTo>
                  <a:lnTo>
                    <a:pt x="719" y="450"/>
                  </a:lnTo>
                  <a:lnTo>
                    <a:pt x="719" y="450"/>
                  </a:lnTo>
                  <a:lnTo>
                    <a:pt x="717" y="444"/>
                  </a:lnTo>
                  <a:lnTo>
                    <a:pt x="717" y="444"/>
                  </a:lnTo>
                  <a:lnTo>
                    <a:pt x="717" y="441"/>
                  </a:lnTo>
                  <a:lnTo>
                    <a:pt x="717" y="441"/>
                  </a:lnTo>
                  <a:lnTo>
                    <a:pt x="720" y="441"/>
                  </a:lnTo>
                  <a:lnTo>
                    <a:pt x="720" y="441"/>
                  </a:lnTo>
                  <a:lnTo>
                    <a:pt x="723" y="440"/>
                  </a:lnTo>
                  <a:lnTo>
                    <a:pt x="727" y="438"/>
                  </a:lnTo>
                  <a:lnTo>
                    <a:pt x="727" y="438"/>
                  </a:lnTo>
                  <a:lnTo>
                    <a:pt x="730" y="437"/>
                  </a:lnTo>
                  <a:lnTo>
                    <a:pt x="733" y="434"/>
                  </a:lnTo>
                  <a:lnTo>
                    <a:pt x="735" y="431"/>
                  </a:lnTo>
                  <a:lnTo>
                    <a:pt x="736" y="430"/>
                  </a:lnTo>
                  <a:lnTo>
                    <a:pt x="735" y="428"/>
                  </a:lnTo>
                  <a:lnTo>
                    <a:pt x="735" y="428"/>
                  </a:lnTo>
                  <a:lnTo>
                    <a:pt x="733" y="427"/>
                  </a:lnTo>
                  <a:lnTo>
                    <a:pt x="733" y="427"/>
                  </a:lnTo>
                  <a:lnTo>
                    <a:pt x="736" y="425"/>
                  </a:lnTo>
                  <a:lnTo>
                    <a:pt x="736" y="425"/>
                  </a:lnTo>
                  <a:lnTo>
                    <a:pt x="740" y="422"/>
                  </a:lnTo>
                  <a:lnTo>
                    <a:pt x="745" y="420"/>
                  </a:lnTo>
                  <a:lnTo>
                    <a:pt x="745" y="420"/>
                  </a:lnTo>
                  <a:lnTo>
                    <a:pt x="750" y="417"/>
                  </a:lnTo>
                  <a:lnTo>
                    <a:pt x="750" y="417"/>
                  </a:lnTo>
                  <a:lnTo>
                    <a:pt x="752" y="415"/>
                  </a:lnTo>
                  <a:lnTo>
                    <a:pt x="753" y="412"/>
                  </a:lnTo>
                  <a:lnTo>
                    <a:pt x="755" y="407"/>
                  </a:lnTo>
                  <a:lnTo>
                    <a:pt x="755" y="407"/>
                  </a:lnTo>
                  <a:lnTo>
                    <a:pt x="765" y="407"/>
                  </a:lnTo>
                  <a:lnTo>
                    <a:pt x="765" y="407"/>
                  </a:lnTo>
                  <a:lnTo>
                    <a:pt x="772" y="407"/>
                  </a:lnTo>
                  <a:lnTo>
                    <a:pt x="772" y="407"/>
                  </a:lnTo>
                  <a:lnTo>
                    <a:pt x="776" y="407"/>
                  </a:lnTo>
                  <a:lnTo>
                    <a:pt x="780" y="405"/>
                  </a:lnTo>
                  <a:lnTo>
                    <a:pt x="780" y="405"/>
                  </a:lnTo>
                  <a:lnTo>
                    <a:pt x="785" y="402"/>
                  </a:lnTo>
                  <a:lnTo>
                    <a:pt x="787" y="401"/>
                  </a:lnTo>
                  <a:lnTo>
                    <a:pt x="787" y="401"/>
                  </a:lnTo>
                  <a:lnTo>
                    <a:pt x="787" y="400"/>
                  </a:lnTo>
                  <a:lnTo>
                    <a:pt x="787" y="400"/>
                  </a:lnTo>
                  <a:lnTo>
                    <a:pt x="790" y="404"/>
                  </a:lnTo>
                  <a:lnTo>
                    <a:pt x="790" y="404"/>
                  </a:lnTo>
                  <a:lnTo>
                    <a:pt x="793" y="405"/>
                  </a:lnTo>
                  <a:lnTo>
                    <a:pt x="797" y="404"/>
                  </a:lnTo>
                  <a:lnTo>
                    <a:pt x="797" y="404"/>
                  </a:lnTo>
                  <a:lnTo>
                    <a:pt x="802" y="405"/>
                  </a:lnTo>
                  <a:lnTo>
                    <a:pt x="802" y="405"/>
                  </a:lnTo>
                  <a:lnTo>
                    <a:pt x="806" y="407"/>
                  </a:lnTo>
                  <a:lnTo>
                    <a:pt x="810" y="408"/>
                  </a:lnTo>
                  <a:lnTo>
                    <a:pt x="810" y="408"/>
                  </a:lnTo>
                  <a:lnTo>
                    <a:pt x="814" y="407"/>
                  </a:lnTo>
                  <a:lnTo>
                    <a:pt x="816" y="404"/>
                  </a:lnTo>
                  <a:lnTo>
                    <a:pt x="816" y="404"/>
                  </a:lnTo>
                  <a:lnTo>
                    <a:pt x="819" y="402"/>
                  </a:lnTo>
                  <a:lnTo>
                    <a:pt x="822" y="400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7" y="398"/>
                  </a:lnTo>
                  <a:lnTo>
                    <a:pt x="830" y="395"/>
                  </a:lnTo>
                  <a:lnTo>
                    <a:pt x="830" y="395"/>
                  </a:lnTo>
                  <a:lnTo>
                    <a:pt x="836" y="391"/>
                  </a:lnTo>
                  <a:lnTo>
                    <a:pt x="842" y="390"/>
                  </a:lnTo>
                  <a:lnTo>
                    <a:pt x="842" y="390"/>
                  </a:lnTo>
                  <a:lnTo>
                    <a:pt x="852" y="388"/>
                  </a:lnTo>
                  <a:lnTo>
                    <a:pt x="852" y="388"/>
                  </a:lnTo>
                  <a:lnTo>
                    <a:pt x="857" y="387"/>
                  </a:lnTo>
                  <a:lnTo>
                    <a:pt x="857" y="387"/>
                  </a:lnTo>
                  <a:lnTo>
                    <a:pt x="860" y="387"/>
                  </a:lnTo>
                  <a:lnTo>
                    <a:pt x="860" y="387"/>
                  </a:lnTo>
                  <a:lnTo>
                    <a:pt x="863" y="388"/>
                  </a:lnTo>
                  <a:lnTo>
                    <a:pt x="863" y="388"/>
                  </a:lnTo>
                  <a:lnTo>
                    <a:pt x="867" y="387"/>
                  </a:lnTo>
                  <a:lnTo>
                    <a:pt x="870" y="382"/>
                  </a:lnTo>
                  <a:lnTo>
                    <a:pt x="870" y="382"/>
                  </a:lnTo>
                  <a:lnTo>
                    <a:pt x="874" y="377"/>
                  </a:lnTo>
                  <a:lnTo>
                    <a:pt x="874" y="377"/>
                  </a:lnTo>
                  <a:lnTo>
                    <a:pt x="877" y="372"/>
                  </a:lnTo>
                  <a:lnTo>
                    <a:pt x="877" y="372"/>
                  </a:lnTo>
                  <a:lnTo>
                    <a:pt x="879" y="371"/>
                  </a:lnTo>
                  <a:lnTo>
                    <a:pt x="880" y="371"/>
                  </a:lnTo>
                  <a:lnTo>
                    <a:pt x="880" y="371"/>
                  </a:lnTo>
                  <a:lnTo>
                    <a:pt x="883" y="370"/>
                  </a:lnTo>
                  <a:lnTo>
                    <a:pt x="883" y="370"/>
                  </a:lnTo>
                  <a:lnTo>
                    <a:pt x="890" y="368"/>
                  </a:lnTo>
                  <a:lnTo>
                    <a:pt x="890" y="368"/>
                  </a:lnTo>
                  <a:lnTo>
                    <a:pt x="894" y="364"/>
                  </a:lnTo>
                  <a:lnTo>
                    <a:pt x="897" y="361"/>
                  </a:lnTo>
                  <a:lnTo>
                    <a:pt x="897" y="361"/>
                  </a:lnTo>
                  <a:lnTo>
                    <a:pt x="900" y="357"/>
                  </a:lnTo>
                  <a:lnTo>
                    <a:pt x="900" y="357"/>
                  </a:lnTo>
                  <a:lnTo>
                    <a:pt x="910" y="354"/>
                  </a:lnTo>
                  <a:lnTo>
                    <a:pt x="910" y="354"/>
                  </a:lnTo>
                  <a:lnTo>
                    <a:pt x="920" y="350"/>
                  </a:lnTo>
                  <a:lnTo>
                    <a:pt x="920" y="350"/>
                  </a:lnTo>
                  <a:lnTo>
                    <a:pt x="923" y="347"/>
                  </a:lnTo>
                  <a:lnTo>
                    <a:pt x="924" y="344"/>
                  </a:lnTo>
                  <a:lnTo>
                    <a:pt x="924" y="335"/>
                  </a:lnTo>
                  <a:lnTo>
                    <a:pt x="924" y="335"/>
                  </a:lnTo>
                  <a:lnTo>
                    <a:pt x="924" y="334"/>
                  </a:lnTo>
                  <a:lnTo>
                    <a:pt x="924" y="334"/>
                  </a:lnTo>
                  <a:lnTo>
                    <a:pt x="927" y="337"/>
                  </a:lnTo>
                  <a:lnTo>
                    <a:pt x="930" y="340"/>
                  </a:lnTo>
                  <a:lnTo>
                    <a:pt x="930" y="340"/>
                  </a:lnTo>
                  <a:lnTo>
                    <a:pt x="932" y="341"/>
                  </a:lnTo>
                  <a:lnTo>
                    <a:pt x="934" y="344"/>
                  </a:lnTo>
                  <a:lnTo>
                    <a:pt x="940" y="345"/>
                  </a:lnTo>
                  <a:lnTo>
                    <a:pt x="946" y="345"/>
                  </a:lnTo>
                  <a:lnTo>
                    <a:pt x="946" y="345"/>
                  </a:lnTo>
                  <a:lnTo>
                    <a:pt x="954" y="345"/>
                  </a:lnTo>
                  <a:lnTo>
                    <a:pt x="963" y="342"/>
                  </a:lnTo>
                  <a:lnTo>
                    <a:pt x="963" y="342"/>
                  </a:lnTo>
                  <a:lnTo>
                    <a:pt x="979" y="337"/>
                  </a:lnTo>
                  <a:lnTo>
                    <a:pt x="989" y="335"/>
                  </a:lnTo>
                  <a:lnTo>
                    <a:pt x="989" y="335"/>
                  </a:lnTo>
                  <a:lnTo>
                    <a:pt x="994" y="332"/>
                  </a:lnTo>
                  <a:lnTo>
                    <a:pt x="994" y="332"/>
                  </a:lnTo>
                  <a:lnTo>
                    <a:pt x="1002" y="331"/>
                  </a:lnTo>
                  <a:lnTo>
                    <a:pt x="1009" y="331"/>
                  </a:lnTo>
                  <a:lnTo>
                    <a:pt x="1009" y="331"/>
                  </a:lnTo>
                  <a:lnTo>
                    <a:pt x="1016" y="332"/>
                  </a:lnTo>
                  <a:lnTo>
                    <a:pt x="1016" y="332"/>
                  </a:lnTo>
                  <a:lnTo>
                    <a:pt x="1020" y="334"/>
                  </a:lnTo>
                  <a:lnTo>
                    <a:pt x="1024" y="334"/>
                  </a:lnTo>
                  <a:lnTo>
                    <a:pt x="1024" y="334"/>
                  </a:lnTo>
                  <a:lnTo>
                    <a:pt x="1032" y="332"/>
                  </a:lnTo>
                  <a:lnTo>
                    <a:pt x="1034" y="331"/>
                  </a:lnTo>
                  <a:lnTo>
                    <a:pt x="1034" y="331"/>
                  </a:lnTo>
                  <a:lnTo>
                    <a:pt x="1040" y="330"/>
                  </a:lnTo>
                  <a:lnTo>
                    <a:pt x="1042" y="328"/>
                  </a:lnTo>
                  <a:lnTo>
                    <a:pt x="1042" y="328"/>
                  </a:lnTo>
                  <a:lnTo>
                    <a:pt x="1050" y="325"/>
                  </a:lnTo>
                  <a:lnTo>
                    <a:pt x="1050" y="325"/>
                  </a:lnTo>
                  <a:lnTo>
                    <a:pt x="1070" y="318"/>
                  </a:lnTo>
                  <a:lnTo>
                    <a:pt x="1070" y="318"/>
                  </a:lnTo>
                  <a:lnTo>
                    <a:pt x="1076" y="315"/>
                  </a:lnTo>
                  <a:lnTo>
                    <a:pt x="1076" y="315"/>
                  </a:lnTo>
                  <a:lnTo>
                    <a:pt x="1083" y="312"/>
                  </a:lnTo>
                  <a:lnTo>
                    <a:pt x="1090" y="310"/>
                  </a:lnTo>
                  <a:lnTo>
                    <a:pt x="1090" y="310"/>
                  </a:lnTo>
                  <a:lnTo>
                    <a:pt x="1094" y="308"/>
                  </a:lnTo>
                  <a:lnTo>
                    <a:pt x="1096" y="308"/>
                  </a:lnTo>
                  <a:lnTo>
                    <a:pt x="1096" y="308"/>
                  </a:lnTo>
                  <a:lnTo>
                    <a:pt x="1106" y="305"/>
                  </a:lnTo>
                  <a:lnTo>
                    <a:pt x="1116" y="302"/>
                  </a:lnTo>
                  <a:lnTo>
                    <a:pt x="1123" y="300"/>
                  </a:lnTo>
                  <a:lnTo>
                    <a:pt x="1124" y="297"/>
                  </a:lnTo>
                  <a:lnTo>
                    <a:pt x="1126" y="294"/>
                  </a:lnTo>
                  <a:lnTo>
                    <a:pt x="1126" y="294"/>
                  </a:lnTo>
                  <a:lnTo>
                    <a:pt x="1126" y="291"/>
                  </a:lnTo>
                  <a:lnTo>
                    <a:pt x="1126" y="288"/>
                  </a:lnTo>
                  <a:lnTo>
                    <a:pt x="1126" y="288"/>
                  </a:lnTo>
                  <a:lnTo>
                    <a:pt x="1124" y="288"/>
                  </a:lnTo>
                  <a:lnTo>
                    <a:pt x="1124" y="288"/>
                  </a:lnTo>
                  <a:lnTo>
                    <a:pt x="1126" y="285"/>
                  </a:lnTo>
                  <a:lnTo>
                    <a:pt x="1127" y="281"/>
                  </a:lnTo>
                  <a:lnTo>
                    <a:pt x="1127" y="281"/>
                  </a:lnTo>
                  <a:lnTo>
                    <a:pt x="1132" y="282"/>
                  </a:lnTo>
                  <a:lnTo>
                    <a:pt x="1132" y="282"/>
                  </a:lnTo>
                  <a:lnTo>
                    <a:pt x="1137" y="285"/>
                  </a:lnTo>
                  <a:lnTo>
                    <a:pt x="1137" y="285"/>
                  </a:lnTo>
                  <a:lnTo>
                    <a:pt x="1142" y="287"/>
                  </a:lnTo>
                  <a:lnTo>
                    <a:pt x="1142" y="287"/>
                  </a:lnTo>
                  <a:lnTo>
                    <a:pt x="1144" y="287"/>
                  </a:lnTo>
                  <a:lnTo>
                    <a:pt x="1144" y="287"/>
                  </a:lnTo>
                  <a:lnTo>
                    <a:pt x="1144" y="285"/>
                  </a:lnTo>
                  <a:lnTo>
                    <a:pt x="1146" y="285"/>
                  </a:lnTo>
                  <a:lnTo>
                    <a:pt x="1146" y="285"/>
                  </a:lnTo>
                  <a:lnTo>
                    <a:pt x="1146" y="285"/>
                  </a:lnTo>
                  <a:lnTo>
                    <a:pt x="1144" y="280"/>
                  </a:lnTo>
                  <a:lnTo>
                    <a:pt x="1144" y="280"/>
                  </a:lnTo>
                  <a:lnTo>
                    <a:pt x="1143" y="272"/>
                  </a:lnTo>
                  <a:lnTo>
                    <a:pt x="1143" y="272"/>
                  </a:lnTo>
                  <a:lnTo>
                    <a:pt x="1143" y="271"/>
                  </a:lnTo>
                  <a:lnTo>
                    <a:pt x="1143" y="271"/>
                  </a:lnTo>
                  <a:lnTo>
                    <a:pt x="1144" y="271"/>
                  </a:lnTo>
                  <a:lnTo>
                    <a:pt x="1146" y="268"/>
                  </a:lnTo>
                  <a:lnTo>
                    <a:pt x="1146" y="268"/>
                  </a:lnTo>
                  <a:lnTo>
                    <a:pt x="1147" y="264"/>
                  </a:lnTo>
                  <a:lnTo>
                    <a:pt x="1147" y="261"/>
                  </a:lnTo>
                  <a:lnTo>
                    <a:pt x="1147" y="261"/>
                  </a:lnTo>
                  <a:lnTo>
                    <a:pt x="1147" y="257"/>
                  </a:lnTo>
                  <a:lnTo>
                    <a:pt x="1146" y="254"/>
                  </a:lnTo>
                  <a:lnTo>
                    <a:pt x="1143" y="251"/>
                  </a:lnTo>
                  <a:lnTo>
                    <a:pt x="1143" y="251"/>
                  </a:lnTo>
                  <a:lnTo>
                    <a:pt x="1139" y="248"/>
                  </a:lnTo>
                  <a:lnTo>
                    <a:pt x="1139" y="248"/>
                  </a:lnTo>
                  <a:lnTo>
                    <a:pt x="1132" y="244"/>
                  </a:lnTo>
                  <a:lnTo>
                    <a:pt x="1132" y="244"/>
                  </a:lnTo>
                  <a:lnTo>
                    <a:pt x="1134" y="245"/>
                  </a:lnTo>
                  <a:lnTo>
                    <a:pt x="1134" y="245"/>
                  </a:lnTo>
                  <a:lnTo>
                    <a:pt x="1139" y="245"/>
                  </a:lnTo>
                  <a:lnTo>
                    <a:pt x="1143" y="245"/>
                  </a:lnTo>
                  <a:lnTo>
                    <a:pt x="1143" y="245"/>
                  </a:lnTo>
                  <a:lnTo>
                    <a:pt x="1144" y="245"/>
                  </a:lnTo>
                  <a:lnTo>
                    <a:pt x="1144" y="245"/>
                  </a:lnTo>
                  <a:lnTo>
                    <a:pt x="1146" y="244"/>
                  </a:lnTo>
                  <a:lnTo>
                    <a:pt x="1149" y="242"/>
                  </a:lnTo>
                  <a:lnTo>
                    <a:pt x="1149" y="242"/>
                  </a:lnTo>
                  <a:lnTo>
                    <a:pt x="1149" y="241"/>
                  </a:lnTo>
                  <a:lnTo>
                    <a:pt x="1149" y="238"/>
                  </a:lnTo>
                  <a:lnTo>
                    <a:pt x="1149" y="238"/>
                  </a:lnTo>
                  <a:lnTo>
                    <a:pt x="1147" y="234"/>
                  </a:lnTo>
                  <a:lnTo>
                    <a:pt x="1147" y="234"/>
                  </a:lnTo>
                  <a:lnTo>
                    <a:pt x="1152" y="232"/>
                  </a:lnTo>
                  <a:lnTo>
                    <a:pt x="1152" y="232"/>
                  </a:lnTo>
                  <a:lnTo>
                    <a:pt x="1154" y="231"/>
                  </a:lnTo>
                  <a:lnTo>
                    <a:pt x="1154" y="231"/>
                  </a:lnTo>
                  <a:lnTo>
                    <a:pt x="1156" y="230"/>
                  </a:lnTo>
                  <a:lnTo>
                    <a:pt x="1157" y="228"/>
                  </a:lnTo>
                  <a:lnTo>
                    <a:pt x="1157" y="228"/>
                  </a:lnTo>
                  <a:lnTo>
                    <a:pt x="1157" y="225"/>
                  </a:lnTo>
                  <a:lnTo>
                    <a:pt x="1156" y="224"/>
                  </a:lnTo>
                  <a:lnTo>
                    <a:pt x="1156" y="224"/>
                  </a:lnTo>
                  <a:lnTo>
                    <a:pt x="1152" y="222"/>
                  </a:lnTo>
                  <a:lnTo>
                    <a:pt x="1147" y="221"/>
                  </a:lnTo>
                  <a:lnTo>
                    <a:pt x="1147" y="221"/>
                  </a:lnTo>
                  <a:lnTo>
                    <a:pt x="1142" y="218"/>
                  </a:lnTo>
                  <a:lnTo>
                    <a:pt x="1142" y="218"/>
                  </a:lnTo>
                  <a:lnTo>
                    <a:pt x="1144" y="220"/>
                  </a:lnTo>
                  <a:lnTo>
                    <a:pt x="1144" y="220"/>
                  </a:lnTo>
                  <a:lnTo>
                    <a:pt x="1147" y="220"/>
                  </a:lnTo>
                  <a:lnTo>
                    <a:pt x="1147" y="220"/>
                  </a:lnTo>
                  <a:lnTo>
                    <a:pt x="1150" y="220"/>
                  </a:lnTo>
                  <a:lnTo>
                    <a:pt x="1150" y="220"/>
                  </a:lnTo>
                  <a:lnTo>
                    <a:pt x="1154" y="220"/>
                  </a:lnTo>
                  <a:lnTo>
                    <a:pt x="1154" y="220"/>
                  </a:lnTo>
                  <a:lnTo>
                    <a:pt x="1157" y="220"/>
                  </a:lnTo>
                  <a:lnTo>
                    <a:pt x="1159" y="218"/>
                  </a:lnTo>
                  <a:lnTo>
                    <a:pt x="1159" y="218"/>
                  </a:lnTo>
                  <a:lnTo>
                    <a:pt x="1162" y="215"/>
                  </a:lnTo>
                  <a:lnTo>
                    <a:pt x="1167" y="215"/>
                  </a:lnTo>
                  <a:lnTo>
                    <a:pt x="1167" y="215"/>
                  </a:lnTo>
                  <a:lnTo>
                    <a:pt x="1173" y="215"/>
                  </a:lnTo>
                  <a:lnTo>
                    <a:pt x="1173" y="215"/>
                  </a:lnTo>
                  <a:lnTo>
                    <a:pt x="1180" y="217"/>
                  </a:lnTo>
                  <a:lnTo>
                    <a:pt x="1180" y="217"/>
                  </a:lnTo>
                  <a:lnTo>
                    <a:pt x="1184" y="215"/>
                  </a:lnTo>
                  <a:lnTo>
                    <a:pt x="1187" y="214"/>
                  </a:lnTo>
                  <a:lnTo>
                    <a:pt x="1187" y="212"/>
                  </a:lnTo>
                  <a:lnTo>
                    <a:pt x="1187" y="211"/>
                  </a:lnTo>
                  <a:lnTo>
                    <a:pt x="1187" y="211"/>
                  </a:lnTo>
                  <a:lnTo>
                    <a:pt x="1187" y="208"/>
                  </a:lnTo>
                  <a:lnTo>
                    <a:pt x="1187" y="208"/>
                  </a:lnTo>
                  <a:lnTo>
                    <a:pt x="1189" y="207"/>
                  </a:lnTo>
                  <a:lnTo>
                    <a:pt x="1189" y="207"/>
                  </a:lnTo>
                  <a:lnTo>
                    <a:pt x="1190" y="205"/>
                  </a:lnTo>
                  <a:lnTo>
                    <a:pt x="1192" y="202"/>
                  </a:lnTo>
                  <a:lnTo>
                    <a:pt x="1192" y="202"/>
                  </a:lnTo>
                  <a:lnTo>
                    <a:pt x="1190" y="200"/>
                  </a:lnTo>
                  <a:lnTo>
                    <a:pt x="1189" y="200"/>
                  </a:lnTo>
                  <a:lnTo>
                    <a:pt x="1186" y="200"/>
                  </a:lnTo>
                  <a:lnTo>
                    <a:pt x="1184" y="200"/>
                  </a:lnTo>
                  <a:lnTo>
                    <a:pt x="1184" y="200"/>
                  </a:lnTo>
                  <a:lnTo>
                    <a:pt x="1182" y="200"/>
                  </a:lnTo>
                  <a:lnTo>
                    <a:pt x="1182" y="200"/>
                  </a:lnTo>
                  <a:lnTo>
                    <a:pt x="1189" y="197"/>
                  </a:lnTo>
                  <a:lnTo>
                    <a:pt x="1189" y="197"/>
                  </a:lnTo>
                  <a:lnTo>
                    <a:pt x="1192" y="197"/>
                  </a:lnTo>
                  <a:lnTo>
                    <a:pt x="1192" y="197"/>
                  </a:lnTo>
                  <a:lnTo>
                    <a:pt x="1192" y="197"/>
                  </a:lnTo>
                  <a:lnTo>
                    <a:pt x="1199" y="197"/>
                  </a:lnTo>
                  <a:lnTo>
                    <a:pt x="1199" y="197"/>
                  </a:lnTo>
                  <a:lnTo>
                    <a:pt x="1204" y="197"/>
                  </a:lnTo>
                  <a:lnTo>
                    <a:pt x="1204" y="197"/>
                  </a:lnTo>
                  <a:lnTo>
                    <a:pt x="1207" y="197"/>
                  </a:lnTo>
                  <a:lnTo>
                    <a:pt x="1210" y="197"/>
                  </a:lnTo>
                  <a:lnTo>
                    <a:pt x="1210" y="197"/>
                  </a:lnTo>
                  <a:lnTo>
                    <a:pt x="1210" y="197"/>
                  </a:lnTo>
                  <a:lnTo>
                    <a:pt x="1210" y="197"/>
                  </a:lnTo>
                  <a:lnTo>
                    <a:pt x="1213" y="197"/>
                  </a:lnTo>
                  <a:lnTo>
                    <a:pt x="1213" y="197"/>
                  </a:lnTo>
                  <a:lnTo>
                    <a:pt x="1216" y="195"/>
                  </a:lnTo>
                  <a:lnTo>
                    <a:pt x="1219" y="192"/>
                  </a:lnTo>
                  <a:lnTo>
                    <a:pt x="1219" y="192"/>
                  </a:lnTo>
                  <a:lnTo>
                    <a:pt x="1220" y="191"/>
                  </a:lnTo>
                  <a:lnTo>
                    <a:pt x="1222" y="191"/>
                  </a:lnTo>
                  <a:lnTo>
                    <a:pt x="1222" y="191"/>
                  </a:lnTo>
                  <a:lnTo>
                    <a:pt x="1224" y="190"/>
                  </a:lnTo>
                  <a:lnTo>
                    <a:pt x="1226" y="187"/>
                  </a:lnTo>
                  <a:lnTo>
                    <a:pt x="1226" y="187"/>
                  </a:lnTo>
                  <a:lnTo>
                    <a:pt x="1226" y="184"/>
                  </a:lnTo>
                  <a:lnTo>
                    <a:pt x="1226" y="184"/>
                  </a:lnTo>
                  <a:lnTo>
                    <a:pt x="1222" y="182"/>
                  </a:lnTo>
                  <a:lnTo>
                    <a:pt x="1216" y="181"/>
                  </a:lnTo>
                  <a:lnTo>
                    <a:pt x="1216" y="181"/>
                  </a:lnTo>
                  <a:lnTo>
                    <a:pt x="1209" y="180"/>
                  </a:lnTo>
                  <a:lnTo>
                    <a:pt x="1209" y="180"/>
                  </a:lnTo>
                  <a:lnTo>
                    <a:pt x="1207" y="178"/>
                  </a:lnTo>
                  <a:lnTo>
                    <a:pt x="1207" y="178"/>
                  </a:lnTo>
                  <a:lnTo>
                    <a:pt x="1207" y="177"/>
                  </a:lnTo>
                  <a:lnTo>
                    <a:pt x="1204" y="172"/>
                  </a:lnTo>
                  <a:lnTo>
                    <a:pt x="1204" y="172"/>
                  </a:lnTo>
                  <a:lnTo>
                    <a:pt x="1203" y="171"/>
                  </a:lnTo>
                  <a:lnTo>
                    <a:pt x="1203" y="171"/>
                  </a:lnTo>
                  <a:lnTo>
                    <a:pt x="1207" y="172"/>
                  </a:lnTo>
                  <a:lnTo>
                    <a:pt x="1207" y="172"/>
                  </a:lnTo>
                  <a:lnTo>
                    <a:pt x="1213" y="175"/>
                  </a:lnTo>
                  <a:lnTo>
                    <a:pt x="1216" y="174"/>
                  </a:lnTo>
                  <a:lnTo>
                    <a:pt x="1216" y="174"/>
                  </a:lnTo>
                  <a:lnTo>
                    <a:pt x="1217" y="171"/>
                  </a:lnTo>
                  <a:lnTo>
                    <a:pt x="1217" y="164"/>
                  </a:lnTo>
                  <a:lnTo>
                    <a:pt x="1217" y="164"/>
                  </a:lnTo>
                  <a:lnTo>
                    <a:pt x="1217" y="160"/>
                  </a:lnTo>
                  <a:lnTo>
                    <a:pt x="1216" y="154"/>
                  </a:lnTo>
                  <a:lnTo>
                    <a:pt x="1216" y="154"/>
                  </a:lnTo>
                  <a:lnTo>
                    <a:pt x="1216" y="152"/>
                  </a:lnTo>
                  <a:lnTo>
                    <a:pt x="1217" y="150"/>
                  </a:lnTo>
                  <a:lnTo>
                    <a:pt x="1217" y="150"/>
                  </a:lnTo>
                  <a:lnTo>
                    <a:pt x="1216" y="145"/>
                  </a:lnTo>
                  <a:lnTo>
                    <a:pt x="1214" y="144"/>
                  </a:lnTo>
                  <a:lnTo>
                    <a:pt x="1210" y="141"/>
                  </a:lnTo>
                  <a:lnTo>
                    <a:pt x="1210" y="141"/>
                  </a:lnTo>
                  <a:lnTo>
                    <a:pt x="1209" y="140"/>
                  </a:lnTo>
                  <a:lnTo>
                    <a:pt x="1209" y="140"/>
                  </a:lnTo>
                  <a:lnTo>
                    <a:pt x="1206" y="138"/>
                  </a:lnTo>
                  <a:lnTo>
                    <a:pt x="1206" y="138"/>
                  </a:lnTo>
                  <a:lnTo>
                    <a:pt x="1202" y="137"/>
                  </a:lnTo>
                  <a:lnTo>
                    <a:pt x="1202" y="137"/>
                  </a:lnTo>
                  <a:lnTo>
                    <a:pt x="1203" y="135"/>
                  </a:lnTo>
                  <a:lnTo>
                    <a:pt x="1207" y="135"/>
                  </a:lnTo>
                  <a:lnTo>
                    <a:pt x="1207" y="135"/>
                  </a:lnTo>
                  <a:lnTo>
                    <a:pt x="1212" y="135"/>
                  </a:lnTo>
                  <a:lnTo>
                    <a:pt x="1217" y="135"/>
                  </a:lnTo>
                  <a:lnTo>
                    <a:pt x="1217" y="135"/>
                  </a:lnTo>
                  <a:lnTo>
                    <a:pt x="1224" y="135"/>
                  </a:lnTo>
                  <a:lnTo>
                    <a:pt x="1224" y="135"/>
                  </a:lnTo>
                  <a:lnTo>
                    <a:pt x="1226" y="138"/>
                  </a:lnTo>
                  <a:lnTo>
                    <a:pt x="1226" y="138"/>
                  </a:lnTo>
                  <a:lnTo>
                    <a:pt x="1229" y="147"/>
                  </a:lnTo>
                  <a:lnTo>
                    <a:pt x="1229" y="147"/>
                  </a:lnTo>
                  <a:lnTo>
                    <a:pt x="1232" y="155"/>
                  </a:lnTo>
                  <a:lnTo>
                    <a:pt x="1233" y="157"/>
                  </a:lnTo>
                  <a:lnTo>
                    <a:pt x="1234" y="157"/>
                  </a:lnTo>
                  <a:lnTo>
                    <a:pt x="1234" y="157"/>
                  </a:lnTo>
                  <a:lnTo>
                    <a:pt x="1234" y="157"/>
                  </a:lnTo>
                  <a:lnTo>
                    <a:pt x="1234" y="157"/>
                  </a:lnTo>
                  <a:lnTo>
                    <a:pt x="1234" y="157"/>
                  </a:lnTo>
                  <a:lnTo>
                    <a:pt x="1234" y="157"/>
                  </a:lnTo>
                  <a:lnTo>
                    <a:pt x="1237" y="154"/>
                  </a:lnTo>
                  <a:lnTo>
                    <a:pt x="1237" y="154"/>
                  </a:lnTo>
                  <a:lnTo>
                    <a:pt x="1237" y="148"/>
                  </a:lnTo>
                  <a:lnTo>
                    <a:pt x="1237" y="148"/>
                  </a:lnTo>
                  <a:lnTo>
                    <a:pt x="1237" y="144"/>
                  </a:lnTo>
                  <a:lnTo>
                    <a:pt x="1237" y="140"/>
                  </a:lnTo>
                  <a:lnTo>
                    <a:pt x="1237" y="140"/>
                  </a:lnTo>
                  <a:lnTo>
                    <a:pt x="1240" y="138"/>
                  </a:lnTo>
                  <a:lnTo>
                    <a:pt x="1240" y="138"/>
                  </a:lnTo>
                  <a:lnTo>
                    <a:pt x="1243" y="138"/>
                  </a:lnTo>
                  <a:lnTo>
                    <a:pt x="1246" y="137"/>
                  </a:lnTo>
                  <a:lnTo>
                    <a:pt x="1246" y="137"/>
                  </a:lnTo>
                  <a:lnTo>
                    <a:pt x="1249" y="135"/>
                  </a:lnTo>
                  <a:lnTo>
                    <a:pt x="1249" y="135"/>
                  </a:lnTo>
                  <a:lnTo>
                    <a:pt x="1252" y="134"/>
                  </a:lnTo>
                  <a:lnTo>
                    <a:pt x="1253" y="130"/>
                  </a:lnTo>
                  <a:lnTo>
                    <a:pt x="1253" y="130"/>
                  </a:lnTo>
                  <a:lnTo>
                    <a:pt x="1252" y="125"/>
                  </a:lnTo>
                  <a:lnTo>
                    <a:pt x="1250" y="124"/>
                  </a:lnTo>
                  <a:lnTo>
                    <a:pt x="1249" y="123"/>
                  </a:lnTo>
                  <a:lnTo>
                    <a:pt x="1246" y="121"/>
                  </a:lnTo>
                  <a:lnTo>
                    <a:pt x="1242" y="121"/>
                  </a:lnTo>
                  <a:lnTo>
                    <a:pt x="1242" y="121"/>
                  </a:lnTo>
                  <a:lnTo>
                    <a:pt x="1242" y="121"/>
                  </a:lnTo>
                  <a:lnTo>
                    <a:pt x="1242" y="121"/>
                  </a:lnTo>
                  <a:lnTo>
                    <a:pt x="1242" y="120"/>
                  </a:lnTo>
                  <a:lnTo>
                    <a:pt x="1242" y="117"/>
                  </a:lnTo>
                  <a:lnTo>
                    <a:pt x="1242" y="117"/>
                  </a:lnTo>
                  <a:lnTo>
                    <a:pt x="1242" y="115"/>
                  </a:lnTo>
                  <a:lnTo>
                    <a:pt x="1239" y="113"/>
                  </a:lnTo>
                  <a:lnTo>
                    <a:pt x="1233" y="111"/>
                  </a:lnTo>
                  <a:lnTo>
                    <a:pt x="1233" y="111"/>
                  </a:lnTo>
                  <a:lnTo>
                    <a:pt x="1227" y="108"/>
                  </a:lnTo>
                  <a:lnTo>
                    <a:pt x="1227" y="108"/>
                  </a:lnTo>
                  <a:lnTo>
                    <a:pt x="1224" y="105"/>
                  </a:lnTo>
                  <a:lnTo>
                    <a:pt x="1224" y="105"/>
                  </a:lnTo>
                  <a:lnTo>
                    <a:pt x="1220" y="103"/>
                  </a:lnTo>
                  <a:lnTo>
                    <a:pt x="1217" y="101"/>
                  </a:lnTo>
                  <a:lnTo>
                    <a:pt x="1217" y="101"/>
                  </a:lnTo>
                  <a:lnTo>
                    <a:pt x="1214" y="101"/>
                  </a:lnTo>
                  <a:lnTo>
                    <a:pt x="1214" y="103"/>
                  </a:lnTo>
                  <a:lnTo>
                    <a:pt x="1214" y="103"/>
                  </a:lnTo>
                  <a:lnTo>
                    <a:pt x="1212" y="104"/>
                  </a:lnTo>
                  <a:lnTo>
                    <a:pt x="1212" y="104"/>
                  </a:lnTo>
                  <a:lnTo>
                    <a:pt x="1207" y="105"/>
                  </a:lnTo>
                  <a:lnTo>
                    <a:pt x="1203" y="110"/>
                  </a:lnTo>
                  <a:lnTo>
                    <a:pt x="1203" y="110"/>
                  </a:lnTo>
                  <a:lnTo>
                    <a:pt x="1203" y="110"/>
                  </a:lnTo>
                  <a:lnTo>
                    <a:pt x="1203" y="110"/>
                  </a:lnTo>
                  <a:lnTo>
                    <a:pt x="1204" y="107"/>
                  </a:lnTo>
                  <a:lnTo>
                    <a:pt x="1207" y="104"/>
                  </a:lnTo>
                  <a:lnTo>
                    <a:pt x="1207" y="104"/>
                  </a:lnTo>
                  <a:lnTo>
                    <a:pt x="1214" y="100"/>
                  </a:lnTo>
                  <a:lnTo>
                    <a:pt x="1217" y="95"/>
                  </a:lnTo>
                  <a:lnTo>
                    <a:pt x="1217" y="95"/>
                  </a:lnTo>
                  <a:lnTo>
                    <a:pt x="1220" y="94"/>
                  </a:lnTo>
                  <a:lnTo>
                    <a:pt x="1223" y="93"/>
                  </a:lnTo>
                  <a:lnTo>
                    <a:pt x="1223" y="93"/>
                  </a:lnTo>
                  <a:lnTo>
                    <a:pt x="1229" y="91"/>
                  </a:lnTo>
                  <a:lnTo>
                    <a:pt x="1229" y="91"/>
                  </a:lnTo>
                  <a:lnTo>
                    <a:pt x="1234" y="91"/>
                  </a:lnTo>
                  <a:lnTo>
                    <a:pt x="1236" y="90"/>
                  </a:lnTo>
                  <a:lnTo>
                    <a:pt x="1239" y="87"/>
                  </a:lnTo>
                  <a:lnTo>
                    <a:pt x="1239" y="87"/>
                  </a:lnTo>
                  <a:lnTo>
                    <a:pt x="1242" y="81"/>
                  </a:lnTo>
                  <a:lnTo>
                    <a:pt x="1242" y="81"/>
                  </a:lnTo>
                  <a:lnTo>
                    <a:pt x="1243" y="78"/>
                  </a:lnTo>
                  <a:lnTo>
                    <a:pt x="1246" y="77"/>
                  </a:lnTo>
                  <a:lnTo>
                    <a:pt x="1246" y="77"/>
                  </a:lnTo>
                  <a:lnTo>
                    <a:pt x="1252" y="74"/>
                  </a:lnTo>
                  <a:lnTo>
                    <a:pt x="1252" y="74"/>
                  </a:lnTo>
                  <a:lnTo>
                    <a:pt x="1256" y="73"/>
                  </a:lnTo>
                  <a:lnTo>
                    <a:pt x="1262" y="73"/>
                  </a:lnTo>
                  <a:lnTo>
                    <a:pt x="1262" y="73"/>
                  </a:lnTo>
                  <a:lnTo>
                    <a:pt x="1264" y="73"/>
                  </a:lnTo>
                  <a:lnTo>
                    <a:pt x="1264" y="73"/>
                  </a:lnTo>
                  <a:lnTo>
                    <a:pt x="1264" y="73"/>
                  </a:lnTo>
                  <a:lnTo>
                    <a:pt x="1274" y="73"/>
                  </a:lnTo>
                  <a:lnTo>
                    <a:pt x="1274" y="73"/>
                  </a:lnTo>
                  <a:lnTo>
                    <a:pt x="1280" y="73"/>
                  </a:lnTo>
                  <a:lnTo>
                    <a:pt x="1283" y="71"/>
                  </a:lnTo>
                  <a:lnTo>
                    <a:pt x="1284" y="68"/>
                  </a:lnTo>
                  <a:lnTo>
                    <a:pt x="1284" y="68"/>
                  </a:lnTo>
                  <a:lnTo>
                    <a:pt x="1287" y="68"/>
                  </a:lnTo>
                  <a:lnTo>
                    <a:pt x="1287" y="68"/>
                  </a:lnTo>
                  <a:lnTo>
                    <a:pt x="1293" y="67"/>
                  </a:lnTo>
                  <a:lnTo>
                    <a:pt x="1296" y="65"/>
                  </a:lnTo>
                  <a:lnTo>
                    <a:pt x="1296" y="65"/>
                  </a:lnTo>
                  <a:lnTo>
                    <a:pt x="1297" y="64"/>
                  </a:lnTo>
                  <a:lnTo>
                    <a:pt x="1297" y="64"/>
                  </a:lnTo>
                  <a:lnTo>
                    <a:pt x="1303" y="63"/>
                  </a:lnTo>
                  <a:lnTo>
                    <a:pt x="1303" y="63"/>
                  </a:lnTo>
                  <a:lnTo>
                    <a:pt x="1307" y="63"/>
                  </a:lnTo>
                  <a:lnTo>
                    <a:pt x="1310" y="61"/>
                  </a:lnTo>
                  <a:lnTo>
                    <a:pt x="1310" y="61"/>
                  </a:lnTo>
                  <a:lnTo>
                    <a:pt x="1312" y="58"/>
                  </a:lnTo>
                  <a:lnTo>
                    <a:pt x="1312" y="58"/>
                  </a:lnTo>
                  <a:lnTo>
                    <a:pt x="1313" y="57"/>
                  </a:lnTo>
                  <a:lnTo>
                    <a:pt x="1314" y="54"/>
                  </a:lnTo>
                  <a:lnTo>
                    <a:pt x="1314" y="54"/>
                  </a:lnTo>
                  <a:lnTo>
                    <a:pt x="1317" y="54"/>
                  </a:lnTo>
                  <a:lnTo>
                    <a:pt x="1317" y="54"/>
                  </a:lnTo>
                  <a:lnTo>
                    <a:pt x="1323" y="55"/>
                  </a:lnTo>
                  <a:lnTo>
                    <a:pt x="1323" y="55"/>
                  </a:lnTo>
                  <a:lnTo>
                    <a:pt x="1327" y="55"/>
                  </a:lnTo>
                  <a:lnTo>
                    <a:pt x="1332" y="54"/>
                  </a:lnTo>
                  <a:lnTo>
                    <a:pt x="1332" y="54"/>
                  </a:lnTo>
                  <a:lnTo>
                    <a:pt x="1334" y="53"/>
                  </a:lnTo>
                  <a:lnTo>
                    <a:pt x="1336" y="50"/>
                  </a:lnTo>
                  <a:lnTo>
                    <a:pt x="1336" y="50"/>
                  </a:lnTo>
                  <a:lnTo>
                    <a:pt x="1336" y="48"/>
                  </a:lnTo>
                  <a:lnTo>
                    <a:pt x="1336" y="48"/>
                  </a:lnTo>
                  <a:lnTo>
                    <a:pt x="1340" y="50"/>
                  </a:lnTo>
                  <a:lnTo>
                    <a:pt x="1340" y="50"/>
                  </a:lnTo>
                  <a:lnTo>
                    <a:pt x="1344" y="50"/>
                  </a:lnTo>
                  <a:lnTo>
                    <a:pt x="1347" y="48"/>
                  </a:lnTo>
                  <a:lnTo>
                    <a:pt x="1347" y="48"/>
                  </a:lnTo>
                  <a:lnTo>
                    <a:pt x="1356" y="47"/>
                  </a:lnTo>
                  <a:lnTo>
                    <a:pt x="1356" y="47"/>
                  </a:lnTo>
                  <a:lnTo>
                    <a:pt x="1359" y="45"/>
                  </a:lnTo>
                  <a:lnTo>
                    <a:pt x="1359" y="45"/>
                  </a:lnTo>
                  <a:lnTo>
                    <a:pt x="1363" y="44"/>
                  </a:lnTo>
                  <a:lnTo>
                    <a:pt x="1363" y="44"/>
                  </a:lnTo>
                  <a:lnTo>
                    <a:pt x="1369" y="43"/>
                  </a:lnTo>
                  <a:lnTo>
                    <a:pt x="1373" y="41"/>
                  </a:lnTo>
                  <a:lnTo>
                    <a:pt x="1373" y="41"/>
                  </a:lnTo>
                  <a:lnTo>
                    <a:pt x="1376" y="41"/>
                  </a:lnTo>
                  <a:lnTo>
                    <a:pt x="1376" y="40"/>
                  </a:lnTo>
                  <a:lnTo>
                    <a:pt x="1376" y="40"/>
                  </a:lnTo>
                  <a:lnTo>
                    <a:pt x="1376" y="38"/>
                  </a:lnTo>
                  <a:lnTo>
                    <a:pt x="1376" y="37"/>
                  </a:lnTo>
                  <a:lnTo>
                    <a:pt x="1370" y="35"/>
                  </a:lnTo>
                  <a:lnTo>
                    <a:pt x="1370" y="35"/>
                  </a:lnTo>
                  <a:close/>
                  <a:moveTo>
                    <a:pt x="1186" y="33"/>
                  </a:moveTo>
                  <a:lnTo>
                    <a:pt x="1186" y="33"/>
                  </a:lnTo>
                  <a:lnTo>
                    <a:pt x="1176" y="31"/>
                  </a:lnTo>
                  <a:lnTo>
                    <a:pt x="1176" y="31"/>
                  </a:lnTo>
                  <a:lnTo>
                    <a:pt x="1180" y="30"/>
                  </a:lnTo>
                  <a:lnTo>
                    <a:pt x="1186" y="30"/>
                  </a:lnTo>
                  <a:lnTo>
                    <a:pt x="1186" y="30"/>
                  </a:lnTo>
                  <a:lnTo>
                    <a:pt x="1190" y="30"/>
                  </a:lnTo>
                  <a:lnTo>
                    <a:pt x="1193" y="30"/>
                  </a:lnTo>
                  <a:lnTo>
                    <a:pt x="1193" y="30"/>
                  </a:lnTo>
                  <a:lnTo>
                    <a:pt x="1190" y="33"/>
                  </a:lnTo>
                  <a:lnTo>
                    <a:pt x="1186" y="33"/>
                  </a:lnTo>
                  <a:lnTo>
                    <a:pt x="1186" y="33"/>
                  </a:lnTo>
                  <a:close/>
                  <a:moveTo>
                    <a:pt x="1062" y="284"/>
                  </a:moveTo>
                  <a:lnTo>
                    <a:pt x="1062" y="284"/>
                  </a:lnTo>
                  <a:lnTo>
                    <a:pt x="1053" y="287"/>
                  </a:lnTo>
                  <a:lnTo>
                    <a:pt x="1053" y="287"/>
                  </a:lnTo>
                  <a:lnTo>
                    <a:pt x="1054" y="284"/>
                  </a:lnTo>
                  <a:lnTo>
                    <a:pt x="1059" y="282"/>
                  </a:lnTo>
                  <a:lnTo>
                    <a:pt x="1059" y="282"/>
                  </a:lnTo>
                  <a:lnTo>
                    <a:pt x="1063" y="282"/>
                  </a:lnTo>
                  <a:lnTo>
                    <a:pt x="1063" y="282"/>
                  </a:lnTo>
                  <a:lnTo>
                    <a:pt x="1064" y="282"/>
                  </a:lnTo>
                  <a:lnTo>
                    <a:pt x="1064" y="282"/>
                  </a:lnTo>
                  <a:lnTo>
                    <a:pt x="1062" y="284"/>
                  </a:lnTo>
                  <a:lnTo>
                    <a:pt x="1062" y="284"/>
                  </a:lnTo>
                  <a:close/>
                  <a:moveTo>
                    <a:pt x="1104" y="290"/>
                  </a:moveTo>
                  <a:lnTo>
                    <a:pt x="1104" y="290"/>
                  </a:lnTo>
                  <a:lnTo>
                    <a:pt x="1100" y="291"/>
                  </a:lnTo>
                  <a:lnTo>
                    <a:pt x="1096" y="290"/>
                  </a:lnTo>
                  <a:lnTo>
                    <a:pt x="1094" y="288"/>
                  </a:lnTo>
                  <a:lnTo>
                    <a:pt x="1094" y="288"/>
                  </a:lnTo>
                  <a:lnTo>
                    <a:pt x="1087" y="285"/>
                  </a:lnTo>
                  <a:lnTo>
                    <a:pt x="1080" y="284"/>
                  </a:lnTo>
                  <a:lnTo>
                    <a:pt x="1080" y="284"/>
                  </a:lnTo>
                  <a:lnTo>
                    <a:pt x="1076" y="282"/>
                  </a:lnTo>
                  <a:lnTo>
                    <a:pt x="1076" y="282"/>
                  </a:lnTo>
                  <a:lnTo>
                    <a:pt x="1069" y="282"/>
                  </a:lnTo>
                  <a:lnTo>
                    <a:pt x="1069" y="282"/>
                  </a:lnTo>
                  <a:lnTo>
                    <a:pt x="1073" y="281"/>
                  </a:lnTo>
                  <a:lnTo>
                    <a:pt x="1074" y="277"/>
                  </a:lnTo>
                  <a:lnTo>
                    <a:pt x="1074" y="277"/>
                  </a:lnTo>
                  <a:lnTo>
                    <a:pt x="1074" y="272"/>
                  </a:lnTo>
                  <a:lnTo>
                    <a:pt x="1073" y="268"/>
                  </a:lnTo>
                  <a:lnTo>
                    <a:pt x="1073" y="268"/>
                  </a:lnTo>
                  <a:lnTo>
                    <a:pt x="1076" y="265"/>
                  </a:lnTo>
                  <a:lnTo>
                    <a:pt x="1076" y="264"/>
                  </a:lnTo>
                  <a:lnTo>
                    <a:pt x="1076" y="261"/>
                  </a:lnTo>
                  <a:lnTo>
                    <a:pt x="1076" y="261"/>
                  </a:lnTo>
                  <a:lnTo>
                    <a:pt x="1076" y="260"/>
                  </a:lnTo>
                  <a:lnTo>
                    <a:pt x="1076" y="260"/>
                  </a:lnTo>
                  <a:lnTo>
                    <a:pt x="1083" y="262"/>
                  </a:lnTo>
                  <a:lnTo>
                    <a:pt x="1083" y="262"/>
                  </a:lnTo>
                  <a:lnTo>
                    <a:pt x="1089" y="265"/>
                  </a:lnTo>
                  <a:lnTo>
                    <a:pt x="1089" y="265"/>
                  </a:lnTo>
                  <a:lnTo>
                    <a:pt x="1093" y="268"/>
                  </a:lnTo>
                  <a:lnTo>
                    <a:pt x="1093" y="268"/>
                  </a:lnTo>
                  <a:lnTo>
                    <a:pt x="1094" y="271"/>
                  </a:lnTo>
                  <a:lnTo>
                    <a:pt x="1094" y="271"/>
                  </a:lnTo>
                  <a:lnTo>
                    <a:pt x="1094" y="277"/>
                  </a:lnTo>
                  <a:lnTo>
                    <a:pt x="1094" y="277"/>
                  </a:lnTo>
                  <a:lnTo>
                    <a:pt x="1094" y="281"/>
                  </a:lnTo>
                  <a:lnTo>
                    <a:pt x="1097" y="282"/>
                  </a:lnTo>
                  <a:lnTo>
                    <a:pt x="1104" y="285"/>
                  </a:lnTo>
                  <a:lnTo>
                    <a:pt x="1104" y="285"/>
                  </a:lnTo>
                  <a:lnTo>
                    <a:pt x="1109" y="287"/>
                  </a:lnTo>
                  <a:lnTo>
                    <a:pt x="1109" y="287"/>
                  </a:lnTo>
                  <a:lnTo>
                    <a:pt x="1113" y="288"/>
                  </a:lnTo>
                  <a:lnTo>
                    <a:pt x="1113" y="288"/>
                  </a:lnTo>
                  <a:lnTo>
                    <a:pt x="1104" y="290"/>
                  </a:lnTo>
                  <a:lnTo>
                    <a:pt x="1104" y="290"/>
                  </a:lnTo>
                  <a:close/>
                  <a:moveTo>
                    <a:pt x="1100" y="220"/>
                  </a:moveTo>
                  <a:lnTo>
                    <a:pt x="1100" y="220"/>
                  </a:lnTo>
                  <a:lnTo>
                    <a:pt x="1096" y="218"/>
                  </a:lnTo>
                  <a:lnTo>
                    <a:pt x="1096" y="218"/>
                  </a:lnTo>
                  <a:lnTo>
                    <a:pt x="1110" y="218"/>
                  </a:lnTo>
                  <a:lnTo>
                    <a:pt x="1110" y="218"/>
                  </a:lnTo>
                  <a:lnTo>
                    <a:pt x="1107" y="218"/>
                  </a:lnTo>
                  <a:lnTo>
                    <a:pt x="1107" y="220"/>
                  </a:lnTo>
                  <a:lnTo>
                    <a:pt x="1107" y="220"/>
                  </a:lnTo>
                  <a:lnTo>
                    <a:pt x="1106" y="221"/>
                  </a:lnTo>
                  <a:lnTo>
                    <a:pt x="1106" y="221"/>
                  </a:lnTo>
                  <a:lnTo>
                    <a:pt x="1106" y="224"/>
                  </a:lnTo>
                  <a:lnTo>
                    <a:pt x="1106" y="224"/>
                  </a:lnTo>
                  <a:lnTo>
                    <a:pt x="1104" y="222"/>
                  </a:lnTo>
                  <a:lnTo>
                    <a:pt x="1100" y="220"/>
                  </a:lnTo>
                  <a:lnTo>
                    <a:pt x="1100" y="220"/>
                  </a:lnTo>
                  <a:close/>
                  <a:moveTo>
                    <a:pt x="420" y="118"/>
                  </a:moveTo>
                  <a:lnTo>
                    <a:pt x="420" y="118"/>
                  </a:lnTo>
                  <a:lnTo>
                    <a:pt x="427" y="120"/>
                  </a:lnTo>
                  <a:lnTo>
                    <a:pt x="427" y="120"/>
                  </a:lnTo>
                  <a:lnTo>
                    <a:pt x="430" y="120"/>
                  </a:lnTo>
                  <a:lnTo>
                    <a:pt x="430" y="120"/>
                  </a:lnTo>
                  <a:lnTo>
                    <a:pt x="430" y="120"/>
                  </a:lnTo>
                  <a:lnTo>
                    <a:pt x="435" y="120"/>
                  </a:lnTo>
                  <a:lnTo>
                    <a:pt x="435" y="120"/>
                  </a:lnTo>
                  <a:lnTo>
                    <a:pt x="436" y="121"/>
                  </a:lnTo>
                  <a:lnTo>
                    <a:pt x="436" y="121"/>
                  </a:lnTo>
                  <a:lnTo>
                    <a:pt x="436" y="123"/>
                  </a:lnTo>
                  <a:lnTo>
                    <a:pt x="436" y="123"/>
                  </a:lnTo>
                  <a:lnTo>
                    <a:pt x="435" y="123"/>
                  </a:lnTo>
                  <a:lnTo>
                    <a:pt x="435" y="123"/>
                  </a:lnTo>
                  <a:lnTo>
                    <a:pt x="432" y="125"/>
                  </a:lnTo>
                  <a:lnTo>
                    <a:pt x="432" y="125"/>
                  </a:lnTo>
                  <a:lnTo>
                    <a:pt x="429" y="127"/>
                  </a:lnTo>
                  <a:lnTo>
                    <a:pt x="429" y="127"/>
                  </a:lnTo>
                  <a:lnTo>
                    <a:pt x="422" y="124"/>
                  </a:lnTo>
                  <a:lnTo>
                    <a:pt x="422" y="124"/>
                  </a:lnTo>
                  <a:lnTo>
                    <a:pt x="412" y="121"/>
                  </a:lnTo>
                  <a:lnTo>
                    <a:pt x="412" y="121"/>
                  </a:lnTo>
                  <a:lnTo>
                    <a:pt x="413" y="120"/>
                  </a:lnTo>
                  <a:lnTo>
                    <a:pt x="413" y="120"/>
                  </a:lnTo>
                  <a:lnTo>
                    <a:pt x="416" y="118"/>
                  </a:lnTo>
                  <a:lnTo>
                    <a:pt x="420" y="118"/>
                  </a:lnTo>
                  <a:lnTo>
                    <a:pt x="420" y="118"/>
                  </a:lnTo>
                  <a:close/>
                  <a:moveTo>
                    <a:pt x="1107" y="235"/>
                  </a:moveTo>
                  <a:lnTo>
                    <a:pt x="1107" y="235"/>
                  </a:lnTo>
                  <a:lnTo>
                    <a:pt x="1104" y="235"/>
                  </a:lnTo>
                  <a:lnTo>
                    <a:pt x="1104" y="235"/>
                  </a:lnTo>
                  <a:lnTo>
                    <a:pt x="1103" y="232"/>
                  </a:lnTo>
                  <a:lnTo>
                    <a:pt x="1104" y="228"/>
                  </a:lnTo>
                  <a:lnTo>
                    <a:pt x="1104" y="228"/>
                  </a:lnTo>
                  <a:lnTo>
                    <a:pt x="1106" y="228"/>
                  </a:lnTo>
                  <a:lnTo>
                    <a:pt x="1106" y="228"/>
                  </a:lnTo>
                  <a:lnTo>
                    <a:pt x="1104" y="228"/>
                  </a:lnTo>
                  <a:lnTo>
                    <a:pt x="1104" y="228"/>
                  </a:lnTo>
                  <a:lnTo>
                    <a:pt x="1104" y="230"/>
                  </a:lnTo>
                  <a:lnTo>
                    <a:pt x="1104" y="231"/>
                  </a:lnTo>
                  <a:lnTo>
                    <a:pt x="1104" y="231"/>
                  </a:lnTo>
                  <a:lnTo>
                    <a:pt x="1106" y="234"/>
                  </a:lnTo>
                  <a:lnTo>
                    <a:pt x="1109" y="234"/>
                  </a:lnTo>
                  <a:lnTo>
                    <a:pt x="1109" y="234"/>
                  </a:lnTo>
                  <a:lnTo>
                    <a:pt x="1113" y="237"/>
                  </a:lnTo>
                  <a:lnTo>
                    <a:pt x="1113" y="237"/>
                  </a:lnTo>
                  <a:lnTo>
                    <a:pt x="1120" y="238"/>
                  </a:lnTo>
                  <a:lnTo>
                    <a:pt x="1120" y="238"/>
                  </a:lnTo>
                  <a:lnTo>
                    <a:pt x="1122" y="241"/>
                  </a:lnTo>
                  <a:lnTo>
                    <a:pt x="1122" y="241"/>
                  </a:lnTo>
                  <a:lnTo>
                    <a:pt x="1122" y="241"/>
                  </a:lnTo>
                  <a:lnTo>
                    <a:pt x="1122" y="241"/>
                  </a:lnTo>
                  <a:lnTo>
                    <a:pt x="1122" y="241"/>
                  </a:lnTo>
                  <a:lnTo>
                    <a:pt x="1122" y="241"/>
                  </a:lnTo>
                  <a:lnTo>
                    <a:pt x="1119" y="240"/>
                  </a:lnTo>
                  <a:lnTo>
                    <a:pt x="1114" y="238"/>
                  </a:lnTo>
                  <a:lnTo>
                    <a:pt x="1114" y="238"/>
                  </a:lnTo>
                  <a:lnTo>
                    <a:pt x="1112" y="237"/>
                  </a:lnTo>
                  <a:lnTo>
                    <a:pt x="1107" y="235"/>
                  </a:lnTo>
                  <a:lnTo>
                    <a:pt x="1107" y="235"/>
                  </a:lnTo>
                  <a:close/>
                  <a:moveTo>
                    <a:pt x="1244" y="67"/>
                  </a:moveTo>
                  <a:lnTo>
                    <a:pt x="1244" y="67"/>
                  </a:lnTo>
                  <a:lnTo>
                    <a:pt x="1243" y="67"/>
                  </a:lnTo>
                  <a:lnTo>
                    <a:pt x="1243" y="67"/>
                  </a:lnTo>
                  <a:lnTo>
                    <a:pt x="1242" y="67"/>
                  </a:lnTo>
                  <a:lnTo>
                    <a:pt x="1242" y="67"/>
                  </a:lnTo>
                  <a:lnTo>
                    <a:pt x="1250" y="65"/>
                  </a:lnTo>
                  <a:lnTo>
                    <a:pt x="1250" y="65"/>
                  </a:lnTo>
                  <a:lnTo>
                    <a:pt x="1253" y="64"/>
                  </a:lnTo>
                  <a:lnTo>
                    <a:pt x="1253" y="64"/>
                  </a:lnTo>
                  <a:lnTo>
                    <a:pt x="1260" y="65"/>
                  </a:lnTo>
                  <a:lnTo>
                    <a:pt x="1260" y="65"/>
                  </a:lnTo>
                  <a:lnTo>
                    <a:pt x="1244" y="67"/>
                  </a:lnTo>
                  <a:lnTo>
                    <a:pt x="1244" y="67"/>
                  </a:lnTo>
                  <a:close/>
                  <a:moveTo>
                    <a:pt x="859" y="28"/>
                  </a:moveTo>
                  <a:lnTo>
                    <a:pt x="859" y="28"/>
                  </a:lnTo>
                  <a:lnTo>
                    <a:pt x="862" y="28"/>
                  </a:lnTo>
                  <a:lnTo>
                    <a:pt x="862" y="28"/>
                  </a:lnTo>
                  <a:lnTo>
                    <a:pt x="863" y="30"/>
                  </a:lnTo>
                  <a:lnTo>
                    <a:pt x="866" y="30"/>
                  </a:lnTo>
                  <a:lnTo>
                    <a:pt x="866" y="30"/>
                  </a:lnTo>
                  <a:lnTo>
                    <a:pt x="867" y="30"/>
                  </a:lnTo>
                  <a:lnTo>
                    <a:pt x="867" y="30"/>
                  </a:lnTo>
                  <a:lnTo>
                    <a:pt x="866" y="31"/>
                  </a:lnTo>
                  <a:lnTo>
                    <a:pt x="863" y="33"/>
                  </a:lnTo>
                  <a:lnTo>
                    <a:pt x="863" y="33"/>
                  </a:lnTo>
                  <a:lnTo>
                    <a:pt x="860" y="31"/>
                  </a:lnTo>
                  <a:lnTo>
                    <a:pt x="860" y="31"/>
                  </a:lnTo>
                  <a:lnTo>
                    <a:pt x="859" y="30"/>
                  </a:lnTo>
                  <a:lnTo>
                    <a:pt x="859" y="30"/>
                  </a:lnTo>
                  <a:lnTo>
                    <a:pt x="854" y="28"/>
                  </a:lnTo>
                  <a:lnTo>
                    <a:pt x="854" y="28"/>
                  </a:lnTo>
                  <a:lnTo>
                    <a:pt x="859" y="28"/>
                  </a:lnTo>
                  <a:lnTo>
                    <a:pt x="859" y="28"/>
                  </a:lnTo>
                  <a:close/>
                  <a:moveTo>
                    <a:pt x="1230" y="123"/>
                  </a:moveTo>
                  <a:lnTo>
                    <a:pt x="1230" y="123"/>
                  </a:lnTo>
                  <a:lnTo>
                    <a:pt x="1227" y="123"/>
                  </a:lnTo>
                  <a:lnTo>
                    <a:pt x="1227" y="123"/>
                  </a:lnTo>
                  <a:lnTo>
                    <a:pt x="1226" y="123"/>
                  </a:lnTo>
                  <a:lnTo>
                    <a:pt x="1226" y="121"/>
                  </a:lnTo>
                  <a:lnTo>
                    <a:pt x="1226" y="121"/>
                  </a:lnTo>
                  <a:lnTo>
                    <a:pt x="1224" y="118"/>
                  </a:lnTo>
                  <a:lnTo>
                    <a:pt x="1224" y="118"/>
                  </a:lnTo>
                  <a:lnTo>
                    <a:pt x="1233" y="120"/>
                  </a:lnTo>
                  <a:lnTo>
                    <a:pt x="1233" y="120"/>
                  </a:lnTo>
                  <a:lnTo>
                    <a:pt x="1236" y="121"/>
                  </a:lnTo>
                  <a:lnTo>
                    <a:pt x="1234" y="121"/>
                  </a:lnTo>
                  <a:lnTo>
                    <a:pt x="1234" y="121"/>
                  </a:lnTo>
                  <a:lnTo>
                    <a:pt x="1230" y="123"/>
                  </a:lnTo>
                  <a:lnTo>
                    <a:pt x="1230" y="123"/>
                  </a:lnTo>
                  <a:close/>
                  <a:moveTo>
                    <a:pt x="233" y="57"/>
                  </a:moveTo>
                  <a:lnTo>
                    <a:pt x="233" y="57"/>
                  </a:lnTo>
                  <a:lnTo>
                    <a:pt x="235" y="57"/>
                  </a:lnTo>
                  <a:lnTo>
                    <a:pt x="235" y="57"/>
                  </a:lnTo>
                  <a:lnTo>
                    <a:pt x="233" y="58"/>
                  </a:lnTo>
                  <a:lnTo>
                    <a:pt x="233" y="61"/>
                  </a:lnTo>
                  <a:lnTo>
                    <a:pt x="233" y="61"/>
                  </a:lnTo>
                  <a:lnTo>
                    <a:pt x="235" y="65"/>
                  </a:lnTo>
                  <a:lnTo>
                    <a:pt x="235" y="65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25" y="63"/>
                  </a:lnTo>
                  <a:lnTo>
                    <a:pt x="225" y="63"/>
                  </a:lnTo>
                  <a:lnTo>
                    <a:pt x="219" y="60"/>
                  </a:lnTo>
                  <a:lnTo>
                    <a:pt x="219" y="60"/>
                  </a:lnTo>
                  <a:lnTo>
                    <a:pt x="233" y="57"/>
                  </a:lnTo>
                  <a:lnTo>
                    <a:pt x="233" y="57"/>
                  </a:lnTo>
                  <a:close/>
                  <a:moveTo>
                    <a:pt x="550" y="43"/>
                  </a:moveTo>
                  <a:lnTo>
                    <a:pt x="550" y="43"/>
                  </a:lnTo>
                  <a:lnTo>
                    <a:pt x="552" y="40"/>
                  </a:lnTo>
                  <a:lnTo>
                    <a:pt x="552" y="40"/>
                  </a:lnTo>
                  <a:lnTo>
                    <a:pt x="550" y="37"/>
                  </a:lnTo>
                  <a:lnTo>
                    <a:pt x="550" y="37"/>
                  </a:lnTo>
                  <a:lnTo>
                    <a:pt x="550" y="37"/>
                  </a:lnTo>
                  <a:lnTo>
                    <a:pt x="550" y="37"/>
                  </a:lnTo>
                  <a:lnTo>
                    <a:pt x="552" y="37"/>
                  </a:lnTo>
                  <a:lnTo>
                    <a:pt x="552" y="37"/>
                  </a:lnTo>
                  <a:lnTo>
                    <a:pt x="565" y="37"/>
                  </a:lnTo>
                  <a:lnTo>
                    <a:pt x="565" y="37"/>
                  </a:lnTo>
                  <a:lnTo>
                    <a:pt x="580" y="37"/>
                  </a:lnTo>
                  <a:lnTo>
                    <a:pt x="580" y="37"/>
                  </a:lnTo>
                  <a:lnTo>
                    <a:pt x="592" y="37"/>
                  </a:lnTo>
                  <a:lnTo>
                    <a:pt x="599" y="35"/>
                  </a:lnTo>
                  <a:lnTo>
                    <a:pt x="599" y="35"/>
                  </a:lnTo>
                  <a:lnTo>
                    <a:pt x="609" y="33"/>
                  </a:lnTo>
                  <a:lnTo>
                    <a:pt x="609" y="33"/>
                  </a:lnTo>
                  <a:lnTo>
                    <a:pt x="606" y="35"/>
                  </a:lnTo>
                  <a:lnTo>
                    <a:pt x="605" y="38"/>
                  </a:lnTo>
                  <a:lnTo>
                    <a:pt x="605" y="38"/>
                  </a:lnTo>
                  <a:lnTo>
                    <a:pt x="602" y="44"/>
                  </a:lnTo>
                  <a:lnTo>
                    <a:pt x="602" y="44"/>
                  </a:lnTo>
                  <a:lnTo>
                    <a:pt x="597" y="44"/>
                  </a:lnTo>
                  <a:lnTo>
                    <a:pt x="592" y="45"/>
                  </a:lnTo>
                  <a:lnTo>
                    <a:pt x="592" y="45"/>
                  </a:lnTo>
                  <a:lnTo>
                    <a:pt x="585" y="44"/>
                  </a:lnTo>
                  <a:lnTo>
                    <a:pt x="585" y="44"/>
                  </a:lnTo>
                  <a:lnTo>
                    <a:pt x="577" y="41"/>
                  </a:lnTo>
                  <a:lnTo>
                    <a:pt x="570" y="40"/>
                  </a:lnTo>
                  <a:lnTo>
                    <a:pt x="565" y="41"/>
                  </a:lnTo>
                  <a:lnTo>
                    <a:pt x="560" y="43"/>
                  </a:lnTo>
                  <a:lnTo>
                    <a:pt x="560" y="43"/>
                  </a:lnTo>
                  <a:lnTo>
                    <a:pt x="556" y="44"/>
                  </a:lnTo>
                  <a:lnTo>
                    <a:pt x="550" y="45"/>
                  </a:lnTo>
                  <a:lnTo>
                    <a:pt x="546" y="45"/>
                  </a:lnTo>
                  <a:lnTo>
                    <a:pt x="546" y="45"/>
                  </a:lnTo>
                  <a:lnTo>
                    <a:pt x="550" y="43"/>
                  </a:lnTo>
                  <a:lnTo>
                    <a:pt x="55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30" name="Freeform 83"/>
            <p:cNvSpPr>
              <a:spLocks noEditPoints="1"/>
            </p:cNvSpPr>
            <p:nvPr/>
          </p:nvSpPr>
          <p:spPr bwMode="auto">
            <a:xfrm>
              <a:off x="998538" y="1741488"/>
              <a:ext cx="1990725" cy="2963863"/>
            </a:xfrm>
            <a:custGeom>
              <a:avLst/>
              <a:gdLst>
                <a:gd name="T0" fmla="*/ 2088 w 2508"/>
                <a:gd name="T1" fmla="*/ 2118 h 3735"/>
                <a:gd name="T2" fmla="*/ 1836 w 2508"/>
                <a:gd name="T3" fmla="*/ 1837 h 3735"/>
                <a:gd name="T4" fmla="*/ 1573 w 2508"/>
                <a:gd name="T5" fmla="*/ 1784 h 3735"/>
                <a:gd name="T6" fmla="*/ 1306 w 2508"/>
                <a:gd name="T7" fmla="*/ 1848 h 3735"/>
                <a:gd name="T8" fmla="*/ 1173 w 2508"/>
                <a:gd name="T9" fmla="*/ 1557 h 3735"/>
                <a:gd name="T10" fmla="*/ 936 w 2508"/>
                <a:gd name="T11" fmla="*/ 1456 h 3735"/>
                <a:gd name="T12" fmla="*/ 1296 w 2508"/>
                <a:gd name="T13" fmla="*/ 1240 h 3735"/>
                <a:gd name="T14" fmla="*/ 1500 w 2508"/>
                <a:gd name="T15" fmla="*/ 1117 h 3735"/>
                <a:gd name="T16" fmla="*/ 1740 w 2508"/>
                <a:gd name="T17" fmla="*/ 890 h 3735"/>
                <a:gd name="T18" fmla="*/ 1976 w 2508"/>
                <a:gd name="T19" fmla="*/ 796 h 3735"/>
                <a:gd name="T20" fmla="*/ 1906 w 2508"/>
                <a:gd name="T21" fmla="*/ 670 h 3735"/>
                <a:gd name="T22" fmla="*/ 2154 w 2508"/>
                <a:gd name="T23" fmla="*/ 500 h 3735"/>
                <a:gd name="T24" fmla="*/ 2024 w 2508"/>
                <a:gd name="T25" fmla="*/ 343 h 3735"/>
                <a:gd name="T26" fmla="*/ 1770 w 2508"/>
                <a:gd name="T27" fmla="*/ 496 h 3735"/>
                <a:gd name="T28" fmla="*/ 1564 w 2508"/>
                <a:gd name="T29" fmla="*/ 459 h 3735"/>
                <a:gd name="T30" fmla="*/ 1816 w 2508"/>
                <a:gd name="T31" fmla="*/ 209 h 3735"/>
                <a:gd name="T32" fmla="*/ 2016 w 2508"/>
                <a:gd name="T33" fmla="*/ 103 h 3735"/>
                <a:gd name="T34" fmla="*/ 1970 w 2508"/>
                <a:gd name="T35" fmla="*/ 252 h 3735"/>
                <a:gd name="T36" fmla="*/ 2123 w 2508"/>
                <a:gd name="T37" fmla="*/ 290 h 3735"/>
                <a:gd name="T38" fmla="*/ 2238 w 2508"/>
                <a:gd name="T39" fmla="*/ 222 h 3735"/>
                <a:gd name="T40" fmla="*/ 2150 w 2508"/>
                <a:gd name="T41" fmla="*/ 75 h 3735"/>
                <a:gd name="T42" fmla="*/ 1930 w 2508"/>
                <a:gd name="T43" fmla="*/ 76 h 3735"/>
                <a:gd name="T44" fmla="*/ 1817 w 2508"/>
                <a:gd name="T45" fmla="*/ 172 h 3735"/>
                <a:gd name="T46" fmla="*/ 1696 w 2508"/>
                <a:gd name="T47" fmla="*/ 120 h 3735"/>
                <a:gd name="T48" fmla="*/ 1626 w 2508"/>
                <a:gd name="T49" fmla="*/ 145 h 3735"/>
                <a:gd name="T50" fmla="*/ 1313 w 2508"/>
                <a:gd name="T51" fmla="*/ 133 h 3735"/>
                <a:gd name="T52" fmla="*/ 1626 w 2508"/>
                <a:gd name="T53" fmla="*/ 29 h 3735"/>
                <a:gd name="T54" fmla="*/ 1283 w 2508"/>
                <a:gd name="T55" fmla="*/ 15 h 3735"/>
                <a:gd name="T56" fmla="*/ 1290 w 2508"/>
                <a:gd name="T57" fmla="*/ 109 h 3735"/>
                <a:gd name="T58" fmla="*/ 947 w 2508"/>
                <a:gd name="T59" fmla="*/ 123 h 3735"/>
                <a:gd name="T60" fmla="*/ 451 w 2508"/>
                <a:gd name="T61" fmla="*/ 108 h 3735"/>
                <a:gd name="T62" fmla="*/ 184 w 2508"/>
                <a:gd name="T63" fmla="*/ 240 h 3735"/>
                <a:gd name="T64" fmla="*/ 53 w 2508"/>
                <a:gd name="T65" fmla="*/ 356 h 3735"/>
                <a:gd name="T66" fmla="*/ 32 w 2508"/>
                <a:gd name="T67" fmla="*/ 465 h 3735"/>
                <a:gd name="T68" fmla="*/ 309 w 2508"/>
                <a:gd name="T69" fmla="*/ 390 h 3735"/>
                <a:gd name="T70" fmla="*/ 603 w 2508"/>
                <a:gd name="T71" fmla="*/ 409 h 3735"/>
                <a:gd name="T72" fmla="*/ 593 w 2508"/>
                <a:gd name="T73" fmla="*/ 599 h 3735"/>
                <a:gd name="T74" fmla="*/ 594 w 2508"/>
                <a:gd name="T75" fmla="*/ 713 h 3735"/>
                <a:gd name="T76" fmla="*/ 531 w 2508"/>
                <a:gd name="T77" fmla="*/ 1194 h 3735"/>
                <a:gd name="T78" fmla="*/ 581 w 2508"/>
                <a:gd name="T79" fmla="*/ 1257 h 3735"/>
                <a:gd name="T80" fmla="*/ 720 w 2508"/>
                <a:gd name="T81" fmla="*/ 1520 h 3735"/>
                <a:gd name="T82" fmla="*/ 1196 w 2508"/>
                <a:gd name="T83" fmla="*/ 1784 h 3735"/>
                <a:gd name="T84" fmla="*/ 1379 w 2508"/>
                <a:gd name="T85" fmla="*/ 1861 h 3735"/>
                <a:gd name="T86" fmla="*/ 1310 w 2508"/>
                <a:gd name="T87" fmla="*/ 2164 h 3735"/>
                <a:gd name="T88" fmla="*/ 1503 w 2508"/>
                <a:gd name="T89" fmla="*/ 2573 h 3735"/>
                <a:gd name="T90" fmla="*/ 1656 w 2508"/>
                <a:gd name="T91" fmla="*/ 3138 h 3735"/>
                <a:gd name="T92" fmla="*/ 1697 w 2508"/>
                <a:gd name="T93" fmla="*/ 3407 h 3735"/>
                <a:gd name="T94" fmla="*/ 1733 w 2508"/>
                <a:gd name="T95" fmla="*/ 3562 h 3735"/>
                <a:gd name="T96" fmla="*/ 1883 w 2508"/>
                <a:gd name="T97" fmla="*/ 3701 h 3735"/>
                <a:gd name="T98" fmla="*/ 1920 w 2508"/>
                <a:gd name="T99" fmla="*/ 3642 h 3735"/>
                <a:gd name="T100" fmla="*/ 1877 w 2508"/>
                <a:gd name="T101" fmla="*/ 3449 h 3735"/>
                <a:gd name="T102" fmla="*/ 1946 w 2508"/>
                <a:gd name="T103" fmla="*/ 3272 h 3735"/>
                <a:gd name="T104" fmla="*/ 2143 w 2508"/>
                <a:gd name="T105" fmla="*/ 3024 h 3735"/>
                <a:gd name="T106" fmla="*/ 2356 w 2508"/>
                <a:gd name="T107" fmla="*/ 2778 h 3735"/>
                <a:gd name="T108" fmla="*/ 1356 w 2508"/>
                <a:gd name="T109" fmla="*/ 45 h 3735"/>
                <a:gd name="T110" fmla="*/ 1053 w 2508"/>
                <a:gd name="T111" fmla="*/ 232 h 3735"/>
                <a:gd name="T112" fmla="*/ 1119 w 2508"/>
                <a:gd name="T113" fmla="*/ 329 h 3735"/>
                <a:gd name="T114" fmla="*/ 1294 w 2508"/>
                <a:gd name="T115" fmla="*/ 539 h 3735"/>
                <a:gd name="T116" fmla="*/ 1457 w 2508"/>
                <a:gd name="T117" fmla="*/ 682 h 3735"/>
                <a:gd name="T118" fmla="*/ 1404 w 2508"/>
                <a:gd name="T119" fmla="*/ 842 h 3735"/>
                <a:gd name="T120" fmla="*/ 1539 w 2508"/>
                <a:gd name="T121" fmla="*/ 792 h 3735"/>
                <a:gd name="T122" fmla="*/ 2158 w 2508"/>
                <a:gd name="T123" fmla="*/ 537 h 3735"/>
                <a:gd name="T124" fmla="*/ 2118 w 2508"/>
                <a:gd name="T125" fmla="*/ 202 h 3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08" h="3735">
                  <a:moveTo>
                    <a:pt x="2503" y="2290"/>
                  </a:moveTo>
                  <a:lnTo>
                    <a:pt x="2503" y="2290"/>
                  </a:lnTo>
                  <a:lnTo>
                    <a:pt x="2501" y="2280"/>
                  </a:lnTo>
                  <a:lnTo>
                    <a:pt x="2503" y="2274"/>
                  </a:lnTo>
                  <a:lnTo>
                    <a:pt x="2503" y="2274"/>
                  </a:lnTo>
                  <a:lnTo>
                    <a:pt x="2503" y="2271"/>
                  </a:lnTo>
                  <a:lnTo>
                    <a:pt x="2503" y="2268"/>
                  </a:lnTo>
                  <a:lnTo>
                    <a:pt x="2501" y="2265"/>
                  </a:lnTo>
                  <a:lnTo>
                    <a:pt x="2497" y="2263"/>
                  </a:lnTo>
                  <a:lnTo>
                    <a:pt x="2497" y="2263"/>
                  </a:lnTo>
                  <a:lnTo>
                    <a:pt x="2493" y="2260"/>
                  </a:lnTo>
                  <a:lnTo>
                    <a:pt x="2493" y="2260"/>
                  </a:lnTo>
                  <a:lnTo>
                    <a:pt x="2486" y="2255"/>
                  </a:lnTo>
                  <a:lnTo>
                    <a:pt x="2477" y="2254"/>
                  </a:lnTo>
                  <a:lnTo>
                    <a:pt x="2454" y="2254"/>
                  </a:lnTo>
                  <a:lnTo>
                    <a:pt x="2454" y="2254"/>
                  </a:lnTo>
                  <a:lnTo>
                    <a:pt x="2443" y="2250"/>
                  </a:lnTo>
                  <a:lnTo>
                    <a:pt x="2438" y="2245"/>
                  </a:lnTo>
                  <a:lnTo>
                    <a:pt x="2436" y="2243"/>
                  </a:lnTo>
                  <a:lnTo>
                    <a:pt x="2436" y="2243"/>
                  </a:lnTo>
                  <a:lnTo>
                    <a:pt x="2430" y="2235"/>
                  </a:lnTo>
                  <a:lnTo>
                    <a:pt x="2423" y="2227"/>
                  </a:lnTo>
                  <a:lnTo>
                    <a:pt x="2423" y="2227"/>
                  </a:lnTo>
                  <a:lnTo>
                    <a:pt x="2418" y="2221"/>
                  </a:lnTo>
                  <a:lnTo>
                    <a:pt x="2418" y="2221"/>
                  </a:lnTo>
                  <a:lnTo>
                    <a:pt x="2411" y="2215"/>
                  </a:lnTo>
                  <a:lnTo>
                    <a:pt x="2406" y="2213"/>
                  </a:lnTo>
                  <a:lnTo>
                    <a:pt x="2406" y="2213"/>
                  </a:lnTo>
                  <a:lnTo>
                    <a:pt x="2400" y="2210"/>
                  </a:lnTo>
                  <a:lnTo>
                    <a:pt x="2400" y="2210"/>
                  </a:lnTo>
                  <a:lnTo>
                    <a:pt x="2393" y="2204"/>
                  </a:lnTo>
                  <a:lnTo>
                    <a:pt x="2393" y="2204"/>
                  </a:lnTo>
                  <a:lnTo>
                    <a:pt x="2383" y="2195"/>
                  </a:lnTo>
                  <a:lnTo>
                    <a:pt x="2378" y="2193"/>
                  </a:lnTo>
                  <a:lnTo>
                    <a:pt x="2374" y="2193"/>
                  </a:lnTo>
                  <a:lnTo>
                    <a:pt x="2374" y="2193"/>
                  </a:lnTo>
                  <a:lnTo>
                    <a:pt x="2367" y="2191"/>
                  </a:lnTo>
                  <a:lnTo>
                    <a:pt x="2367" y="2191"/>
                  </a:lnTo>
                  <a:lnTo>
                    <a:pt x="2353" y="2191"/>
                  </a:lnTo>
                  <a:lnTo>
                    <a:pt x="2353" y="2191"/>
                  </a:lnTo>
                  <a:lnTo>
                    <a:pt x="2343" y="2193"/>
                  </a:lnTo>
                  <a:lnTo>
                    <a:pt x="2343" y="2193"/>
                  </a:lnTo>
                  <a:lnTo>
                    <a:pt x="2328" y="2193"/>
                  </a:lnTo>
                  <a:lnTo>
                    <a:pt x="2328" y="2193"/>
                  </a:lnTo>
                  <a:lnTo>
                    <a:pt x="2320" y="2193"/>
                  </a:lnTo>
                  <a:lnTo>
                    <a:pt x="2313" y="2191"/>
                  </a:lnTo>
                  <a:lnTo>
                    <a:pt x="2313" y="2191"/>
                  </a:lnTo>
                  <a:lnTo>
                    <a:pt x="2308" y="2190"/>
                  </a:lnTo>
                  <a:lnTo>
                    <a:pt x="2304" y="2185"/>
                  </a:lnTo>
                  <a:lnTo>
                    <a:pt x="2304" y="2185"/>
                  </a:lnTo>
                  <a:lnTo>
                    <a:pt x="2301" y="2183"/>
                  </a:lnTo>
                  <a:lnTo>
                    <a:pt x="2296" y="2180"/>
                  </a:lnTo>
                  <a:lnTo>
                    <a:pt x="2296" y="2180"/>
                  </a:lnTo>
                  <a:lnTo>
                    <a:pt x="2291" y="2177"/>
                  </a:lnTo>
                  <a:lnTo>
                    <a:pt x="2290" y="2176"/>
                  </a:lnTo>
                  <a:lnTo>
                    <a:pt x="2290" y="2176"/>
                  </a:lnTo>
                  <a:lnTo>
                    <a:pt x="2286" y="2174"/>
                  </a:lnTo>
                  <a:lnTo>
                    <a:pt x="2284" y="2174"/>
                  </a:lnTo>
                  <a:lnTo>
                    <a:pt x="2280" y="2176"/>
                  </a:lnTo>
                  <a:lnTo>
                    <a:pt x="2280" y="2176"/>
                  </a:lnTo>
                  <a:lnTo>
                    <a:pt x="2273" y="2178"/>
                  </a:lnTo>
                  <a:lnTo>
                    <a:pt x="2273" y="2178"/>
                  </a:lnTo>
                  <a:lnTo>
                    <a:pt x="2266" y="2180"/>
                  </a:lnTo>
                  <a:lnTo>
                    <a:pt x="2263" y="2181"/>
                  </a:lnTo>
                  <a:lnTo>
                    <a:pt x="2261" y="2184"/>
                  </a:lnTo>
                  <a:lnTo>
                    <a:pt x="2261" y="2184"/>
                  </a:lnTo>
                  <a:lnTo>
                    <a:pt x="2250" y="2200"/>
                  </a:lnTo>
                  <a:lnTo>
                    <a:pt x="2250" y="2200"/>
                  </a:lnTo>
                  <a:lnTo>
                    <a:pt x="2250" y="2181"/>
                  </a:lnTo>
                  <a:lnTo>
                    <a:pt x="2250" y="2181"/>
                  </a:lnTo>
                  <a:lnTo>
                    <a:pt x="2250" y="2170"/>
                  </a:lnTo>
                  <a:lnTo>
                    <a:pt x="2250" y="2170"/>
                  </a:lnTo>
                  <a:lnTo>
                    <a:pt x="2247" y="2163"/>
                  </a:lnTo>
                  <a:lnTo>
                    <a:pt x="2244" y="2157"/>
                  </a:lnTo>
                  <a:lnTo>
                    <a:pt x="2244" y="2157"/>
                  </a:lnTo>
                  <a:lnTo>
                    <a:pt x="2243" y="2151"/>
                  </a:lnTo>
                  <a:lnTo>
                    <a:pt x="2243" y="2151"/>
                  </a:lnTo>
                  <a:lnTo>
                    <a:pt x="2243" y="2151"/>
                  </a:lnTo>
                  <a:lnTo>
                    <a:pt x="2241" y="2148"/>
                  </a:lnTo>
                  <a:lnTo>
                    <a:pt x="2241" y="2148"/>
                  </a:lnTo>
                  <a:lnTo>
                    <a:pt x="2240" y="2148"/>
                  </a:lnTo>
                  <a:lnTo>
                    <a:pt x="2240" y="2148"/>
                  </a:lnTo>
                  <a:lnTo>
                    <a:pt x="2236" y="2150"/>
                  </a:lnTo>
                  <a:lnTo>
                    <a:pt x="2233" y="2154"/>
                  </a:lnTo>
                  <a:lnTo>
                    <a:pt x="2233" y="2154"/>
                  </a:lnTo>
                  <a:lnTo>
                    <a:pt x="2230" y="2148"/>
                  </a:lnTo>
                  <a:lnTo>
                    <a:pt x="2227" y="2146"/>
                  </a:lnTo>
                  <a:lnTo>
                    <a:pt x="2224" y="2143"/>
                  </a:lnTo>
                  <a:lnTo>
                    <a:pt x="2224" y="2143"/>
                  </a:lnTo>
                  <a:lnTo>
                    <a:pt x="2218" y="2141"/>
                  </a:lnTo>
                  <a:lnTo>
                    <a:pt x="2214" y="2143"/>
                  </a:lnTo>
                  <a:lnTo>
                    <a:pt x="2214" y="2143"/>
                  </a:lnTo>
                  <a:lnTo>
                    <a:pt x="2211" y="2143"/>
                  </a:lnTo>
                  <a:lnTo>
                    <a:pt x="2211" y="2143"/>
                  </a:lnTo>
                  <a:lnTo>
                    <a:pt x="2210" y="2143"/>
                  </a:lnTo>
                  <a:lnTo>
                    <a:pt x="2206" y="2140"/>
                  </a:lnTo>
                  <a:lnTo>
                    <a:pt x="2206" y="2140"/>
                  </a:lnTo>
                  <a:lnTo>
                    <a:pt x="2200" y="2136"/>
                  </a:lnTo>
                  <a:lnTo>
                    <a:pt x="2197" y="2134"/>
                  </a:lnTo>
                  <a:lnTo>
                    <a:pt x="2197" y="2134"/>
                  </a:lnTo>
                  <a:lnTo>
                    <a:pt x="2194" y="2134"/>
                  </a:lnTo>
                  <a:lnTo>
                    <a:pt x="2191" y="2131"/>
                  </a:lnTo>
                  <a:lnTo>
                    <a:pt x="2191" y="2131"/>
                  </a:lnTo>
                  <a:lnTo>
                    <a:pt x="2186" y="2128"/>
                  </a:lnTo>
                  <a:lnTo>
                    <a:pt x="2178" y="2126"/>
                  </a:lnTo>
                  <a:lnTo>
                    <a:pt x="2173" y="2126"/>
                  </a:lnTo>
                  <a:lnTo>
                    <a:pt x="2167" y="2126"/>
                  </a:lnTo>
                  <a:lnTo>
                    <a:pt x="2167" y="2126"/>
                  </a:lnTo>
                  <a:lnTo>
                    <a:pt x="2163" y="2128"/>
                  </a:lnTo>
                  <a:lnTo>
                    <a:pt x="2160" y="2133"/>
                  </a:lnTo>
                  <a:lnTo>
                    <a:pt x="2154" y="2144"/>
                  </a:lnTo>
                  <a:lnTo>
                    <a:pt x="2154" y="2144"/>
                  </a:lnTo>
                  <a:lnTo>
                    <a:pt x="2148" y="2151"/>
                  </a:lnTo>
                  <a:lnTo>
                    <a:pt x="2148" y="2151"/>
                  </a:lnTo>
                  <a:lnTo>
                    <a:pt x="2147" y="2154"/>
                  </a:lnTo>
                  <a:lnTo>
                    <a:pt x="2147" y="2154"/>
                  </a:lnTo>
                  <a:lnTo>
                    <a:pt x="2143" y="2158"/>
                  </a:lnTo>
                  <a:lnTo>
                    <a:pt x="2143" y="2158"/>
                  </a:lnTo>
                  <a:lnTo>
                    <a:pt x="2143" y="2157"/>
                  </a:lnTo>
                  <a:lnTo>
                    <a:pt x="2143" y="2157"/>
                  </a:lnTo>
                  <a:lnTo>
                    <a:pt x="2143" y="2154"/>
                  </a:lnTo>
                  <a:lnTo>
                    <a:pt x="2143" y="2154"/>
                  </a:lnTo>
                  <a:lnTo>
                    <a:pt x="2143" y="2150"/>
                  </a:lnTo>
                  <a:lnTo>
                    <a:pt x="2144" y="2146"/>
                  </a:lnTo>
                  <a:lnTo>
                    <a:pt x="2146" y="2144"/>
                  </a:lnTo>
                  <a:lnTo>
                    <a:pt x="2146" y="2144"/>
                  </a:lnTo>
                  <a:lnTo>
                    <a:pt x="2153" y="2133"/>
                  </a:lnTo>
                  <a:lnTo>
                    <a:pt x="2156" y="2126"/>
                  </a:lnTo>
                  <a:lnTo>
                    <a:pt x="2156" y="2123"/>
                  </a:lnTo>
                  <a:lnTo>
                    <a:pt x="2154" y="2120"/>
                  </a:lnTo>
                  <a:lnTo>
                    <a:pt x="2154" y="2120"/>
                  </a:lnTo>
                  <a:lnTo>
                    <a:pt x="2153" y="2117"/>
                  </a:lnTo>
                  <a:lnTo>
                    <a:pt x="2150" y="2114"/>
                  </a:lnTo>
                  <a:lnTo>
                    <a:pt x="2146" y="2114"/>
                  </a:lnTo>
                  <a:lnTo>
                    <a:pt x="2138" y="2113"/>
                  </a:lnTo>
                  <a:lnTo>
                    <a:pt x="2138" y="2113"/>
                  </a:lnTo>
                  <a:lnTo>
                    <a:pt x="2124" y="2114"/>
                  </a:lnTo>
                  <a:lnTo>
                    <a:pt x="2121" y="2114"/>
                  </a:lnTo>
                  <a:lnTo>
                    <a:pt x="2121" y="2114"/>
                  </a:lnTo>
                  <a:lnTo>
                    <a:pt x="2116" y="2116"/>
                  </a:lnTo>
                  <a:lnTo>
                    <a:pt x="2110" y="2114"/>
                  </a:lnTo>
                  <a:lnTo>
                    <a:pt x="2110" y="2114"/>
                  </a:lnTo>
                  <a:lnTo>
                    <a:pt x="2103" y="2113"/>
                  </a:lnTo>
                  <a:lnTo>
                    <a:pt x="2101" y="2113"/>
                  </a:lnTo>
                  <a:lnTo>
                    <a:pt x="2101" y="2113"/>
                  </a:lnTo>
                  <a:lnTo>
                    <a:pt x="2093" y="2114"/>
                  </a:lnTo>
                  <a:lnTo>
                    <a:pt x="2090" y="2116"/>
                  </a:lnTo>
                  <a:lnTo>
                    <a:pt x="2088" y="2118"/>
                  </a:lnTo>
                  <a:lnTo>
                    <a:pt x="2088" y="2128"/>
                  </a:lnTo>
                  <a:lnTo>
                    <a:pt x="2088" y="2128"/>
                  </a:lnTo>
                  <a:lnTo>
                    <a:pt x="2087" y="2134"/>
                  </a:lnTo>
                  <a:lnTo>
                    <a:pt x="2084" y="2137"/>
                  </a:lnTo>
                  <a:lnTo>
                    <a:pt x="2084" y="2137"/>
                  </a:lnTo>
                  <a:lnTo>
                    <a:pt x="2076" y="2144"/>
                  </a:lnTo>
                  <a:lnTo>
                    <a:pt x="2067" y="2150"/>
                  </a:lnTo>
                  <a:lnTo>
                    <a:pt x="2067" y="2150"/>
                  </a:lnTo>
                  <a:lnTo>
                    <a:pt x="2061" y="2153"/>
                  </a:lnTo>
                  <a:lnTo>
                    <a:pt x="2061" y="2153"/>
                  </a:lnTo>
                  <a:lnTo>
                    <a:pt x="2061" y="2151"/>
                  </a:lnTo>
                  <a:lnTo>
                    <a:pt x="2063" y="2146"/>
                  </a:lnTo>
                  <a:lnTo>
                    <a:pt x="2063" y="2146"/>
                  </a:lnTo>
                  <a:lnTo>
                    <a:pt x="2067" y="2136"/>
                  </a:lnTo>
                  <a:lnTo>
                    <a:pt x="2073" y="2126"/>
                  </a:lnTo>
                  <a:lnTo>
                    <a:pt x="2077" y="2116"/>
                  </a:lnTo>
                  <a:lnTo>
                    <a:pt x="2083" y="2110"/>
                  </a:lnTo>
                  <a:lnTo>
                    <a:pt x="2083" y="2110"/>
                  </a:lnTo>
                  <a:lnTo>
                    <a:pt x="2087" y="2106"/>
                  </a:lnTo>
                  <a:lnTo>
                    <a:pt x="2087" y="2106"/>
                  </a:lnTo>
                  <a:lnTo>
                    <a:pt x="2094" y="2100"/>
                  </a:lnTo>
                  <a:lnTo>
                    <a:pt x="2097" y="2097"/>
                  </a:lnTo>
                  <a:lnTo>
                    <a:pt x="2098" y="2093"/>
                  </a:lnTo>
                  <a:lnTo>
                    <a:pt x="2098" y="2093"/>
                  </a:lnTo>
                  <a:lnTo>
                    <a:pt x="2100" y="2091"/>
                  </a:lnTo>
                  <a:lnTo>
                    <a:pt x="2101" y="2088"/>
                  </a:lnTo>
                  <a:lnTo>
                    <a:pt x="2101" y="2088"/>
                  </a:lnTo>
                  <a:lnTo>
                    <a:pt x="2106" y="2086"/>
                  </a:lnTo>
                  <a:lnTo>
                    <a:pt x="2110" y="2077"/>
                  </a:lnTo>
                  <a:lnTo>
                    <a:pt x="2110" y="2077"/>
                  </a:lnTo>
                  <a:lnTo>
                    <a:pt x="2114" y="2064"/>
                  </a:lnTo>
                  <a:lnTo>
                    <a:pt x="2114" y="2057"/>
                  </a:lnTo>
                  <a:lnTo>
                    <a:pt x="2114" y="2057"/>
                  </a:lnTo>
                  <a:lnTo>
                    <a:pt x="2113" y="2056"/>
                  </a:lnTo>
                  <a:lnTo>
                    <a:pt x="2111" y="2054"/>
                  </a:lnTo>
                  <a:lnTo>
                    <a:pt x="2107" y="2054"/>
                  </a:lnTo>
                  <a:lnTo>
                    <a:pt x="2107" y="2054"/>
                  </a:lnTo>
                  <a:lnTo>
                    <a:pt x="2103" y="2053"/>
                  </a:lnTo>
                  <a:lnTo>
                    <a:pt x="2100" y="2051"/>
                  </a:lnTo>
                  <a:lnTo>
                    <a:pt x="2097" y="2048"/>
                  </a:lnTo>
                  <a:lnTo>
                    <a:pt x="2094" y="2044"/>
                  </a:lnTo>
                  <a:lnTo>
                    <a:pt x="2094" y="2044"/>
                  </a:lnTo>
                  <a:lnTo>
                    <a:pt x="2093" y="2030"/>
                  </a:lnTo>
                  <a:lnTo>
                    <a:pt x="2088" y="2013"/>
                  </a:lnTo>
                  <a:lnTo>
                    <a:pt x="2083" y="1997"/>
                  </a:lnTo>
                  <a:lnTo>
                    <a:pt x="2081" y="1990"/>
                  </a:lnTo>
                  <a:lnTo>
                    <a:pt x="2078" y="1987"/>
                  </a:lnTo>
                  <a:lnTo>
                    <a:pt x="2078" y="1987"/>
                  </a:lnTo>
                  <a:lnTo>
                    <a:pt x="2073" y="1981"/>
                  </a:lnTo>
                  <a:lnTo>
                    <a:pt x="2073" y="1981"/>
                  </a:lnTo>
                  <a:lnTo>
                    <a:pt x="2067" y="1978"/>
                  </a:lnTo>
                  <a:lnTo>
                    <a:pt x="2063" y="1977"/>
                  </a:lnTo>
                  <a:lnTo>
                    <a:pt x="2063" y="1977"/>
                  </a:lnTo>
                  <a:lnTo>
                    <a:pt x="2051" y="1973"/>
                  </a:lnTo>
                  <a:lnTo>
                    <a:pt x="2051" y="1973"/>
                  </a:lnTo>
                  <a:lnTo>
                    <a:pt x="2048" y="1971"/>
                  </a:lnTo>
                  <a:lnTo>
                    <a:pt x="2048" y="1968"/>
                  </a:lnTo>
                  <a:lnTo>
                    <a:pt x="2048" y="1963"/>
                  </a:lnTo>
                  <a:lnTo>
                    <a:pt x="2048" y="1963"/>
                  </a:lnTo>
                  <a:lnTo>
                    <a:pt x="2050" y="1958"/>
                  </a:lnTo>
                  <a:lnTo>
                    <a:pt x="2050" y="1954"/>
                  </a:lnTo>
                  <a:lnTo>
                    <a:pt x="2050" y="1954"/>
                  </a:lnTo>
                  <a:lnTo>
                    <a:pt x="2048" y="1951"/>
                  </a:lnTo>
                  <a:lnTo>
                    <a:pt x="2047" y="1950"/>
                  </a:lnTo>
                  <a:lnTo>
                    <a:pt x="2041" y="1947"/>
                  </a:lnTo>
                  <a:lnTo>
                    <a:pt x="2034" y="1946"/>
                  </a:lnTo>
                  <a:lnTo>
                    <a:pt x="2028" y="1944"/>
                  </a:lnTo>
                  <a:lnTo>
                    <a:pt x="2027" y="1944"/>
                  </a:lnTo>
                  <a:lnTo>
                    <a:pt x="2027" y="1944"/>
                  </a:lnTo>
                  <a:lnTo>
                    <a:pt x="2024" y="1944"/>
                  </a:lnTo>
                  <a:lnTo>
                    <a:pt x="2021" y="1941"/>
                  </a:lnTo>
                  <a:lnTo>
                    <a:pt x="2021" y="1941"/>
                  </a:lnTo>
                  <a:lnTo>
                    <a:pt x="2017" y="1940"/>
                  </a:lnTo>
                  <a:lnTo>
                    <a:pt x="2013" y="1938"/>
                  </a:lnTo>
                  <a:lnTo>
                    <a:pt x="2013" y="1938"/>
                  </a:lnTo>
                  <a:lnTo>
                    <a:pt x="2008" y="1938"/>
                  </a:lnTo>
                  <a:lnTo>
                    <a:pt x="2008" y="1938"/>
                  </a:lnTo>
                  <a:lnTo>
                    <a:pt x="2006" y="1936"/>
                  </a:lnTo>
                  <a:lnTo>
                    <a:pt x="2001" y="1933"/>
                  </a:lnTo>
                  <a:lnTo>
                    <a:pt x="2001" y="1933"/>
                  </a:lnTo>
                  <a:lnTo>
                    <a:pt x="1996" y="1931"/>
                  </a:lnTo>
                  <a:lnTo>
                    <a:pt x="1996" y="1931"/>
                  </a:lnTo>
                  <a:lnTo>
                    <a:pt x="1988" y="1930"/>
                  </a:lnTo>
                  <a:lnTo>
                    <a:pt x="1988" y="1930"/>
                  </a:lnTo>
                  <a:lnTo>
                    <a:pt x="1984" y="1931"/>
                  </a:lnTo>
                  <a:lnTo>
                    <a:pt x="1981" y="1934"/>
                  </a:lnTo>
                  <a:lnTo>
                    <a:pt x="1981" y="1934"/>
                  </a:lnTo>
                  <a:lnTo>
                    <a:pt x="1980" y="1938"/>
                  </a:lnTo>
                  <a:lnTo>
                    <a:pt x="1980" y="1941"/>
                  </a:lnTo>
                  <a:lnTo>
                    <a:pt x="1980" y="1941"/>
                  </a:lnTo>
                  <a:lnTo>
                    <a:pt x="1980" y="1943"/>
                  </a:lnTo>
                  <a:lnTo>
                    <a:pt x="1980" y="1943"/>
                  </a:lnTo>
                  <a:lnTo>
                    <a:pt x="1977" y="1941"/>
                  </a:lnTo>
                  <a:lnTo>
                    <a:pt x="1977" y="1941"/>
                  </a:lnTo>
                  <a:lnTo>
                    <a:pt x="1974" y="1941"/>
                  </a:lnTo>
                  <a:lnTo>
                    <a:pt x="1974" y="1941"/>
                  </a:lnTo>
                  <a:lnTo>
                    <a:pt x="1971" y="1937"/>
                  </a:lnTo>
                  <a:lnTo>
                    <a:pt x="1971" y="1937"/>
                  </a:lnTo>
                  <a:lnTo>
                    <a:pt x="1966" y="1934"/>
                  </a:lnTo>
                  <a:lnTo>
                    <a:pt x="1957" y="1931"/>
                  </a:lnTo>
                  <a:lnTo>
                    <a:pt x="1946" y="1930"/>
                  </a:lnTo>
                  <a:lnTo>
                    <a:pt x="1937" y="1930"/>
                  </a:lnTo>
                  <a:lnTo>
                    <a:pt x="1937" y="1930"/>
                  </a:lnTo>
                  <a:lnTo>
                    <a:pt x="1928" y="1931"/>
                  </a:lnTo>
                  <a:lnTo>
                    <a:pt x="1928" y="1931"/>
                  </a:lnTo>
                  <a:lnTo>
                    <a:pt x="1924" y="1923"/>
                  </a:lnTo>
                  <a:lnTo>
                    <a:pt x="1920" y="1920"/>
                  </a:lnTo>
                  <a:lnTo>
                    <a:pt x="1916" y="1916"/>
                  </a:lnTo>
                  <a:lnTo>
                    <a:pt x="1916" y="1916"/>
                  </a:lnTo>
                  <a:lnTo>
                    <a:pt x="1913" y="1914"/>
                  </a:lnTo>
                  <a:lnTo>
                    <a:pt x="1910" y="1914"/>
                  </a:lnTo>
                  <a:lnTo>
                    <a:pt x="1910" y="1914"/>
                  </a:lnTo>
                  <a:lnTo>
                    <a:pt x="1904" y="1914"/>
                  </a:lnTo>
                  <a:lnTo>
                    <a:pt x="1900" y="1917"/>
                  </a:lnTo>
                  <a:lnTo>
                    <a:pt x="1900" y="1917"/>
                  </a:lnTo>
                  <a:lnTo>
                    <a:pt x="1896" y="1918"/>
                  </a:lnTo>
                  <a:lnTo>
                    <a:pt x="1896" y="1918"/>
                  </a:lnTo>
                  <a:lnTo>
                    <a:pt x="1896" y="1917"/>
                  </a:lnTo>
                  <a:lnTo>
                    <a:pt x="1896" y="1917"/>
                  </a:lnTo>
                  <a:lnTo>
                    <a:pt x="1896" y="1913"/>
                  </a:lnTo>
                  <a:lnTo>
                    <a:pt x="1896" y="1908"/>
                  </a:lnTo>
                  <a:lnTo>
                    <a:pt x="1896" y="1908"/>
                  </a:lnTo>
                  <a:lnTo>
                    <a:pt x="1897" y="1901"/>
                  </a:lnTo>
                  <a:lnTo>
                    <a:pt x="1897" y="1897"/>
                  </a:lnTo>
                  <a:lnTo>
                    <a:pt x="1896" y="1893"/>
                  </a:lnTo>
                  <a:lnTo>
                    <a:pt x="1896" y="1893"/>
                  </a:lnTo>
                  <a:lnTo>
                    <a:pt x="1890" y="1884"/>
                  </a:lnTo>
                  <a:lnTo>
                    <a:pt x="1881" y="1874"/>
                  </a:lnTo>
                  <a:lnTo>
                    <a:pt x="1871" y="1866"/>
                  </a:lnTo>
                  <a:lnTo>
                    <a:pt x="1863" y="1860"/>
                  </a:lnTo>
                  <a:lnTo>
                    <a:pt x="1863" y="1860"/>
                  </a:lnTo>
                  <a:lnTo>
                    <a:pt x="1860" y="1858"/>
                  </a:lnTo>
                  <a:lnTo>
                    <a:pt x="1854" y="1856"/>
                  </a:lnTo>
                  <a:lnTo>
                    <a:pt x="1854" y="1856"/>
                  </a:lnTo>
                  <a:lnTo>
                    <a:pt x="1847" y="1856"/>
                  </a:lnTo>
                  <a:lnTo>
                    <a:pt x="1847" y="1856"/>
                  </a:lnTo>
                  <a:lnTo>
                    <a:pt x="1841" y="1856"/>
                  </a:lnTo>
                  <a:lnTo>
                    <a:pt x="1834" y="1858"/>
                  </a:lnTo>
                  <a:lnTo>
                    <a:pt x="1834" y="1858"/>
                  </a:lnTo>
                  <a:lnTo>
                    <a:pt x="1828" y="1860"/>
                  </a:lnTo>
                  <a:lnTo>
                    <a:pt x="1828" y="1860"/>
                  </a:lnTo>
                  <a:lnTo>
                    <a:pt x="1823" y="1858"/>
                  </a:lnTo>
                  <a:lnTo>
                    <a:pt x="1823" y="1858"/>
                  </a:lnTo>
                  <a:lnTo>
                    <a:pt x="1826" y="1857"/>
                  </a:lnTo>
                  <a:lnTo>
                    <a:pt x="1826" y="1857"/>
                  </a:lnTo>
                  <a:lnTo>
                    <a:pt x="1831" y="1850"/>
                  </a:lnTo>
                  <a:lnTo>
                    <a:pt x="1834" y="1840"/>
                  </a:lnTo>
                  <a:lnTo>
                    <a:pt x="1836" y="1837"/>
                  </a:lnTo>
                  <a:lnTo>
                    <a:pt x="1836" y="1837"/>
                  </a:lnTo>
                  <a:lnTo>
                    <a:pt x="1837" y="1833"/>
                  </a:lnTo>
                  <a:lnTo>
                    <a:pt x="1837" y="1830"/>
                  </a:lnTo>
                  <a:lnTo>
                    <a:pt x="1836" y="1827"/>
                  </a:lnTo>
                  <a:lnTo>
                    <a:pt x="1831" y="1823"/>
                  </a:lnTo>
                  <a:lnTo>
                    <a:pt x="1831" y="1823"/>
                  </a:lnTo>
                  <a:lnTo>
                    <a:pt x="1826" y="1820"/>
                  </a:lnTo>
                  <a:lnTo>
                    <a:pt x="1826" y="1820"/>
                  </a:lnTo>
                  <a:lnTo>
                    <a:pt x="1823" y="1817"/>
                  </a:lnTo>
                  <a:lnTo>
                    <a:pt x="1818" y="1817"/>
                  </a:lnTo>
                  <a:lnTo>
                    <a:pt x="1818" y="1817"/>
                  </a:lnTo>
                  <a:lnTo>
                    <a:pt x="1817" y="1820"/>
                  </a:lnTo>
                  <a:lnTo>
                    <a:pt x="1816" y="1823"/>
                  </a:lnTo>
                  <a:lnTo>
                    <a:pt x="1816" y="1823"/>
                  </a:lnTo>
                  <a:lnTo>
                    <a:pt x="1816" y="1824"/>
                  </a:lnTo>
                  <a:lnTo>
                    <a:pt x="1816" y="1824"/>
                  </a:lnTo>
                  <a:lnTo>
                    <a:pt x="1816" y="1823"/>
                  </a:lnTo>
                  <a:lnTo>
                    <a:pt x="1816" y="1823"/>
                  </a:lnTo>
                  <a:lnTo>
                    <a:pt x="1811" y="1820"/>
                  </a:lnTo>
                  <a:lnTo>
                    <a:pt x="1811" y="1820"/>
                  </a:lnTo>
                  <a:lnTo>
                    <a:pt x="1808" y="1817"/>
                  </a:lnTo>
                  <a:lnTo>
                    <a:pt x="1807" y="1817"/>
                  </a:lnTo>
                  <a:lnTo>
                    <a:pt x="1807" y="1817"/>
                  </a:lnTo>
                  <a:lnTo>
                    <a:pt x="1804" y="1817"/>
                  </a:lnTo>
                  <a:lnTo>
                    <a:pt x="1804" y="1817"/>
                  </a:lnTo>
                  <a:lnTo>
                    <a:pt x="1803" y="1818"/>
                  </a:lnTo>
                  <a:lnTo>
                    <a:pt x="1803" y="1820"/>
                  </a:lnTo>
                  <a:lnTo>
                    <a:pt x="1803" y="1820"/>
                  </a:lnTo>
                  <a:lnTo>
                    <a:pt x="1800" y="1816"/>
                  </a:lnTo>
                  <a:lnTo>
                    <a:pt x="1800" y="1816"/>
                  </a:lnTo>
                  <a:lnTo>
                    <a:pt x="1797" y="1811"/>
                  </a:lnTo>
                  <a:lnTo>
                    <a:pt x="1797" y="1810"/>
                  </a:lnTo>
                  <a:lnTo>
                    <a:pt x="1794" y="1808"/>
                  </a:lnTo>
                  <a:lnTo>
                    <a:pt x="1794" y="1808"/>
                  </a:lnTo>
                  <a:lnTo>
                    <a:pt x="1793" y="1808"/>
                  </a:lnTo>
                  <a:lnTo>
                    <a:pt x="1791" y="1810"/>
                  </a:lnTo>
                  <a:lnTo>
                    <a:pt x="1790" y="1810"/>
                  </a:lnTo>
                  <a:lnTo>
                    <a:pt x="1790" y="1810"/>
                  </a:lnTo>
                  <a:lnTo>
                    <a:pt x="1786" y="1814"/>
                  </a:lnTo>
                  <a:lnTo>
                    <a:pt x="1786" y="1814"/>
                  </a:lnTo>
                  <a:lnTo>
                    <a:pt x="1784" y="1813"/>
                  </a:lnTo>
                  <a:lnTo>
                    <a:pt x="1784" y="1813"/>
                  </a:lnTo>
                  <a:lnTo>
                    <a:pt x="1786" y="1807"/>
                  </a:lnTo>
                  <a:lnTo>
                    <a:pt x="1786" y="1807"/>
                  </a:lnTo>
                  <a:lnTo>
                    <a:pt x="1787" y="1803"/>
                  </a:lnTo>
                  <a:lnTo>
                    <a:pt x="1786" y="1800"/>
                  </a:lnTo>
                  <a:lnTo>
                    <a:pt x="1784" y="1797"/>
                  </a:lnTo>
                  <a:lnTo>
                    <a:pt x="1784" y="1797"/>
                  </a:lnTo>
                  <a:lnTo>
                    <a:pt x="1781" y="1796"/>
                  </a:lnTo>
                  <a:lnTo>
                    <a:pt x="1778" y="1796"/>
                  </a:lnTo>
                  <a:lnTo>
                    <a:pt x="1778" y="1796"/>
                  </a:lnTo>
                  <a:lnTo>
                    <a:pt x="1774" y="1797"/>
                  </a:lnTo>
                  <a:lnTo>
                    <a:pt x="1768" y="1798"/>
                  </a:lnTo>
                  <a:lnTo>
                    <a:pt x="1768" y="1798"/>
                  </a:lnTo>
                  <a:lnTo>
                    <a:pt x="1763" y="1801"/>
                  </a:lnTo>
                  <a:lnTo>
                    <a:pt x="1763" y="1801"/>
                  </a:lnTo>
                  <a:lnTo>
                    <a:pt x="1758" y="1801"/>
                  </a:lnTo>
                  <a:lnTo>
                    <a:pt x="1758" y="1801"/>
                  </a:lnTo>
                  <a:lnTo>
                    <a:pt x="1754" y="1801"/>
                  </a:lnTo>
                  <a:lnTo>
                    <a:pt x="1748" y="1801"/>
                  </a:lnTo>
                  <a:lnTo>
                    <a:pt x="1748" y="1801"/>
                  </a:lnTo>
                  <a:lnTo>
                    <a:pt x="1741" y="1807"/>
                  </a:lnTo>
                  <a:lnTo>
                    <a:pt x="1741" y="1807"/>
                  </a:lnTo>
                  <a:lnTo>
                    <a:pt x="1736" y="1811"/>
                  </a:lnTo>
                  <a:lnTo>
                    <a:pt x="1736" y="1811"/>
                  </a:lnTo>
                  <a:lnTo>
                    <a:pt x="1734" y="1811"/>
                  </a:lnTo>
                  <a:lnTo>
                    <a:pt x="1734" y="1811"/>
                  </a:lnTo>
                  <a:lnTo>
                    <a:pt x="1726" y="1813"/>
                  </a:lnTo>
                  <a:lnTo>
                    <a:pt x="1726" y="1813"/>
                  </a:lnTo>
                  <a:lnTo>
                    <a:pt x="1720" y="1811"/>
                  </a:lnTo>
                  <a:lnTo>
                    <a:pt x="1716" y="1810"/>
                  </a:lnTo>
                  <a:lnTo>
                    <a:pt x="1713" y="1808"/>
                  </a:lnTo>
                  <a:lnTo>
                    <a:pt x="1710" y="1804"/>
                  </a:lnTo>
                  <a:lnTo>
                    <a:pt x="1710" y="1804"/>
                  </a:lnTo>
                  <a:lnTo>
                    <a:pt x="1706" y="1800"/>
                  </a:lnTo>
                  <a:lnTo>
                    <a:pt x="1701" y="1796"/>
                  </a:lnTo>
                  <a:lnTo>
                    <a:pt x="1698" y="1794"/>
                  </a:lnTo>
                  <a:lnTo>
                    <a:pt x="1694" y="1793"/>
                  </a:lnTo>
                  <a:lnTo>
                    <a:pt x="1694" y="1793"/>
                  </a:lnTo>
                  <a:lnTo>
                    <a:pt x="1688" y="1794"/>
                  </a:lnTo>
                  <a:lnTo>
                    <a:pt x="1688" y="1794"/>
                  </a:lnTo>
                  <a:lnTo>
                    <a:pt x="1686" y="1796"/>
                  </a:lnTo>
                  <a:lnTo>
                    <a:pt x="1686" y="1796"/>
                  </a:lnTo>
                  <a:lnTo>
                    <a:pt x="1681" y="1798"/>
                  </a:lnTo>
                  <a:lnTo>
                    <a:pt x="1678" y="1801"/>
                  </a:lnTo>
                  <a:lnTo>
                    <a:pt x="1678" y="1801"/>
                  </a:lnTo>
                  <a:lnTo>
                    <a:pt x="1678" y="1801"/>
                  </a:lnTo>
                  <a:lnTo>
                    <a:pt x="1678" y="1801"/>
                  </a:lnTo>
                  <a:lnTo>
                    <a:pt x="1674" y="1800"/>
                  </a:lnTo>
                  <a:lnTo>
                    <a:pt x="1668" y="1798"/>
                  </a:lnTo>
                  <a:lnTo>
                    <a:pt x="1668" y="1798"/>
                  </a:lnTo>
                  <a:lnTo>
                    <a:pt x="1657" y="1800"/>
                  </a:lnTo>
                  <a:lnTo>
                    <a:pt x="1657" y="1800"/>
                  </a:lnTo>
                  <a:lnTo>
                    <a:pt x="1654" y="1800"/>
                  </a:lnTo>
                  <a:lnTo>
                    <a:pt x="1651" y="1798"/>
                  </a:lnTo>
                  <a:lnTo>
                    <a:pt x="1650" y="1796"/>
                  </a:lnTo>
                  <a:lnTo>
                    <a:pt x="1648" y="1793"/>
                  </a:lnTo>
                  <a:lnTo>
                    <a:pt x="1648" y="1791"/>
                  </a:lnTo>
                  <a:lnTo>
                    <a:pt x="1648" y="1791"/>
                  </a:lnTo>
                  <a:lnTo>
                    <a:pt x="1647" y="1787"/>
                  </a:lnTo>
                  <a:lnTo>
                    <a:pt x="1646" y="1783"/>
                  </a:lnTo>
                  <a:lnTo>
                    <a:pt x="1646" y="1783"/>
                  </a:lnTo>
                  <a:lnTo>
                    <a:pt x="1643" y="1781"/>
                  </a:lnTo>
                  <a:lnTo>
                    <a:pt x="1643" y="1781"/>
                  </a:lnTo>
                  <a:lnTo>
                    <a:pt x="1640" y="1776"/>
                  </a:lnTo>
                  <a:lnTo>
                    <a:pt x="1636" y="1773"/>
                  </a:lnTo>
                  <a:lnTo>
                    <a:pt x="1631" y="1770"/>
                  </a:lnTo>
                  <a:lnTo>
                    <a:pt x="1626" y="1768"/>
                  </a:lnTo>
                  <a:lnTo>
                    <a:pt x="1624" y="1768"/>
                  </a:lnTo>
                  <a:lnTo>
                    <a:pt x="1624" y="1768"/>
                  </a:lnTo>
                  <a:lnTo>
                    <a:pt x="1618" y="1770"/>
                  </a:lnTo>
                  <a:lnTo>
                    <a:pt x="1618" y="1770"/>
                  </a:lnTo>
                  <a:lnTo>
                    <a:pt x="1616" y="1768"/>
                  </a:lnTo>
                  <a:lnTo>
                    <a:pt x="1613" y="1767"/>
                  </a:lnTo>
                  <a:lnTo>
                    <a:pt x="1613" y="1767"/>
                  </a:lnTo>
                  <a:lnTo>
                    <a:pt x="1613" y="1763"/>
                  </a:lnTo>
                  <a:lnTo>
                    <a:pt x="1613" y="1760"/>
                  </a:lnTo>
                  <a:lnTo>
                    <a:pt x="1613" y="1760"/>
                  </a:lnTo>
                  <a:lnTo>
                    <a:pt x="1613" y="1753"/>
                  </a:lnTo>
                  <a:lnTo>
                    <a:pt x="1611" y="1751"/>
                  </a:lnTo>
                  <a:lnTo>
                    <a:pt x="1607" y="1750"/>
                  </a:lnTo>
                  <a:lnTo>
                    <a:pt x="1607" y="1750"/>
                  </a:lnTo>
                  <a:lnTo>
                    <a:pt x="1600" y="1750"/>
                  </a:lnTo>
                  <a:lnTo>
                    <a:pt x="1597" y="1751"/>
                  </a:lnTo>
                  <a:lnTo>
                    <a:pt x="1594" y="1754"/>
                  </a:lnTo>
                  <a:lnTo>
                    <a:pt x="1594" y="1754"/>
                  </a:lnTo>
                  <a:lnTo>
                    <a:pt x="1594" y="1757"/>
                  </a:lnTo>
                  <a:lnTo>
                    <a:pt x="1596" y="1763"/>
                  </a:lnTo>
                  <a:lnTo>
                    <a:pt x="1596" y="1763"/>
                  </a:lnTo>
                  <a:lnTo>
                    <a:pt x="1597" y="1768"/>
                  </a:lnTo>
                  <a:lnTo>
                    <a:pt x="1598" y="1771"/>
                  </a:lnTo>
                  <a:lnTo>
                    <a:pt x="1598" y="1771"/>
                  </a:lnTo>
                  <a:lnTo>
                    <a:pt x="1597" y="1773"/>
                  </a:lnTo>
                  <a:lnTo>
                    <a:pt x="1597" y="1773"/>
                  </a:lnTo>
                  <a:lnTo>
                    <a:pt x="1597" y="1774"/>
                  </a:lnTo>
                  <a:lnTo>
                    <a:pt x="1596" y="1776"/>
                  </a:lnTo>
                  <a:lnTo>
                    <a:pt x="1593" y="1777"/>
                  </a:lnTo>
                  <a:lnTo>
                    <a:pt x="1588" y="1778"/>
                  </a:lnTo>
                  <a:lnTo>
                    <a:pt x="1588" y="1778"/>
                  </a:lnTo>
                  <a:lnTo>
                    <a:pt x="1586" y="1778"/>
                  </a:lnTo>
                  <a:lnTo>
                    <a:pt x="1583" y="1780"/>
                  </a:lnTo>
                  <a:lnTo>
                    <a:pt x="1581" y="1783"/>
                  </a:lnTo>
                  <a:lnTo>
                    <a:pt x="1581" y="1783"/>
                  </a:lnTo>
                  <a:lnTo>
                    <a:pt x="1580" y="1784"/>
                  </a:lnTo>
                  <a:lnTo>
                    <a:pt x="1579" y="1784"/>
                  </a:lnTo>
                  <a:lnTo>
                    <a:pt x="1579" y="1784"/>
                  </a:lnTo>
                  <a:lnTo>
                    <a:pt x="1573" y="1784"/>
                  </a:lnTo>
                  <a:lnTo>
                    <a:pt x="1573" y="1784"/>
                  </a:lnTo>
                  <a:lnTo>
                    <a:pt x="1569" y="1784"/>
                  </a:lnTo>
                  <a:lnTo>
                    <a:pt x="1569" y="1784"/>
                  </a:lnTo>
                  <a:lnTo>
                    <a:pt x="1564" y="1786"/>
                  </a:lnTo>
                  <a:lnTo>
                    <a:pt x="1564" y="1786"/>
                  </a:lnTo>
                  <a:lnTo>
                    <a:pt x="1563" y="1787"/>
                  </a:lnTo>
                  <a:lnTo>
                    <a:pt x="1563" y="1788"/>
                  </a:lnTo>
                  <a:lnTo>
                    <a:pt x="1563" y="1788"/>
                  </a:lnTo>
                  <a:lnTo>
                    <a:pt x="1561" y="1793"/>
                  </a:lnTo>
                  <a:lnTo>
                    <a:pt x="1561" y="1793"/>
                  </a:lnTo>
                  <a:lnTo>
                    <a:pt x="1561" y="1796"/>
                  </a:lnTo>
                  <a:lnTo>
                    <a:pt x="1561" y="1796"/>
                  </a:lnTo>
                  <a:lnTo>
                    <a:pt x="1560" y="1783"/>
                  </a:lnTo>
                  <a:lnTo>
                    <a:pt x="1559" y="1778"/>
                  </a:lnTo>
                  <a:lnTo>
                    <a:pt x="1556" y="1774"/>
                  </a:lnTo>
                  <a:lnTo>
                    <a:pt x="1556" y="1774"/>
                  </a:lnTo>
                  <a:lnTo>
                    <a:pt x="1559" y="1770"/>
                  </a:lnTo>
                  <a:lnTo>
                    <a:pt x="1559" y="1770"/>
                  </a:lnTo>
                  <a:lnTo>
                    <a:pt x="1563" y="1768"/>
                  </a:lnTo>
                  <a:lnTo>
                    <a:pt x="1566" y="1768"/>
                  </a:lnTo>
                  <a:lnTo>
                    <a:pt x="1566" y="1768"/>
                  </a:lnTo>
                  <a:lnTo>
                    <a:pt x="1571" y="1767"/>
                  </a:lnTo>
                  <a:lnTo>
                    <a:pt x="1573" y="1764"/>
                  </a:lnTo>
                  <a:lnTo>
                    <a:pt x="1574" y="1761"/>
                  </a:lnTo>
                  <a:lnTo>
                    <a:pt x="1574" y="1761"/>
                  </a:lnTo>
                  <a:lnTo>
                    <a:pt x="1576" y="1757"/>
                  </a:lnTo>
                  <a:lnTo>
                    <a:pt x="1576" y="1757"/>
                  </a:lnTo>
                  <a:lnTo>
                    <a:pt x="1579" y="1751"/>
                  </a:lnTo>
                  <a:lnTo>
                    <a:pt x="1579" y="1748"/>
                  </a:lnTo>
                  <a:lnTo>
                    <a:pt x="1576" y="1746"/>
                  </a:lnTo>
                  <a:lnTo>
                    <a:pt x="1576" y="1746"/>
                  </a:lnTo>
                  <a:lnTo>
                    <a:pt x="1570" y="1743"/>
                  </a:lnTo>
                  <a:lnTo>
                    <a:pt x="1564" y="1741"/>
                  </a:lnTo>
                  <a:lnTo>
                    <a:pt x="1564" y="1741"/>
                  </a:lnTo>
                  <a:lnTo>
                    <a:pt x="1560" y="1741"/>
                  </a:lnTo>
                  <a:lnTo>
                    <a:pt x="1554" y="1746"/>
                  </a:lnTo>
                  <a:lnTo>
                    <a:pt x="1554" y="1746"/>
                  </a:lnTo>
                  <a:lnTo>
                    <a:pt x="1550" y="1751"/>
                  </a:lnTo>
                  <a:lnTo>
                    <a:pt x="1550" y="1751"/>
                  </a:lnTo>
                  <a:lnTo>
                    <a:pt x="1546" y="1757"/>
                  </a:lnTo>
                  <a:lnTo>
                    <a:pt x="1544" y="1758"/>
                  </a:lnTo>
                  <a:lnTo>
                    <a:pt x="1540" y="1760"/>
                  </a:lnTo>
                  <a:lnTo>
                    <a:pt x="1540" y="1760"/>
                  </a:lnTo>
                  <a:lnTo>
                    <a:pt x="1534" y="1761"/>
                  </a:lnTo>
                  <a:lnTo>
                    <a:pt x="1530" y="1764"/>
                  </a:lnTo>
                  <a:lnTo>
                    <a:pt x="1524" y="1770"/>
                  </a:lnTo>
                  <a:lnTo>
                    <a:pt x="1524" y="1770"/>
                  </a:lnTo>
                  <a:lnTo>
                    <a:pt x="1521" y="1774"/>
                  </a:lnTo>
                  <a:lnTo>
                    <a:pt x="1521" y="1774"/>
                  </a:lnTo>
                  <a:lnTo>
                    <a:pt x="1519" y="1774"/>
                  </a:lnTo>
                  <a:lnTo>
                    <a:pt x="1513" y="1776"/>
                  </a:lnTo>
                  <a:lnTo>
                    <a:pt x="1513" y="1776"/>
                  </a:lnTo>
                  <a:lnTo>
                    <a:pt x="1503" y="1774"/>
                  </a:lnTo>
                  <a:lnTo>
                    <a:pt x="1503" y="1774"/>
                  </a:lnTo>
                  <a:lnTo>
                    <a:pt x="1499" y="1774"/>
                  </a:lnTo>
                  <a:lnTo>
                    <a:pt x="1499" y="1774"/>
                  </a:lnTo>
                  <a:lnTo>
                    <a:pt x="1496" y="1774"/>
                  </a:lnTo>
                  <a:lnTo>
                    <a:pt x="1494" y="1776"/>
                  </a:lnTo>
                  <a:lnTo>
                    <a:pt x="1494" y="1776"/>
                  </a:lnTo>
                  <a:lnTo>
                    <a:pt x="1493" y="1780"/>
                  </a:lnTo>
                  <a:lnTo>
                    <a:pt x="1493" y="1780"/>
                  </a:lnTo>
                  <a:lnTo>
                    <a:pt x="1493" y="1786"/>
                  </a:lnTo>
                  <a:lnTo>
                    <a:pt x="1491" y="1787"/>
                  </a:lnTo>
                  <a:lnTo>
                    <a:pt x="1490" y="1790"/>
                  </a:lnTo>
                  <a:lnTo>
                    <a:pt x="1490" y="1790"/>
                  </a:lnTo>
                  <a:lnTo>
                    <a:pt x="1489" y="1790"/>
                  </a:lnTo>
                  <a:lnTo>
                    <a:pt x="1489" y="1790"/>
                  </a:lnTo>
                  <a:lnTo>
                    <a:pt x="1487" y="1788"/>
                  </a:lnTo>
                  <a:lnTo>
                    <a:pt x="1486" y="1786"/>
                  </a:lnTo>
                  <a:lnTo>
                    <a:pt x="1486" y="1786"/>
                  </a:lnTo>
                  <a:lnTo>
                    <a:pt x="1483" y="1783"/>
                  </a:lnTo>
                  <a:lnTo>
                    <a:pt x="1481" y="1781"/>
                  </a:lnTo>
                  <a:lnTo>
                    <a:pt x="1479" y="1781"/>
                  </a:lnTo>
                  <a:lnTo>
                    <a:pt x="1479" y="1781"/>
                  </a:lnTo>
                  <a:lnTo>
                    <a:pt x="1477" y="1781"/>
                  </a:lnTo>
                  <a:lnTo>
                    <a:pt x="1477" y="1781"/>
                  </a:lnTo>
                  <a:lnTo>
                    <a:pt x="1476" y="1781"/>
                  </a:lnTo>
                  <a:lnTo>
                    <a:pt x="1474" y="1783"/>
                  </a:lnTo>
                  <a:lnTo>
                    <a:pt x="1471" y="1787"/>
                  </a:lnTo>
                  <a:lnTo>
                    <a:pt x="1471" y="1787"/>
                  </a:lnTo>
                  <a:lnTo>
                    <a:pt x="1470" y="1788"/>
                  </a:lnTo>
                  <a:lnTo>
                    <a:pt x="1469" y="1790"/>
                  </a:lnTo>
                  <a:lnTo>
                    <a:pt x="1469" y="1790"/>
                  </a:lnTo>
                  <a:lnTo>
                    <a:pt x="1466" y="1791"/>
                  </a:lnTo>
                  <a:lnTo>
                    <a:pt x="1461" y="1794"/>
                  </a:lnTo>
                  <a:lnTo>
                    <a:pt x="1459" y="1797"/>
                  </a:lnTo>
                  <a:lnTo>
                    <a:pt x="1457" y="1801"/>
                  </a:lnTo>
                  <a:lnTo>
                    <a:pt x="1457" y="1801"/>
                  </a:lnTo>
                  <a:lnTo>
                    <a:pt x="1456" y="1814"/>
                  </a:lnTo>
                  <a:lnTo>
                    <a:pt x="1456" y="1814"/>
                  </a:lnTo>
                  <a:lnTo>
                    <a:pt x="1456" y="1823"/>
                  </a:lnTo>
                  <a:lnTo>
                    <a:pt x="1454" y="1830"/>
                  </a:lnTo>
                  <a:lnTo>
                    <a:pt x="1454" y="1830"/>
                  </a:lnTo>
                  <a:lnTo>
                    <a:pt x="1454" y="1830"/>
                  </a:lnTo>
                  <a:lnTo>
                    <a:pt x="1454" y="1830"/>
                  </a:lnTo>
                  <a:lnTo>
                    <a:pt x="1450" y="1830"/>
                  </a:lnTo>
                  <a:lnTo>
                    <a:pt x="1446" y="1831"/>
                  </a:lnTo>
                  <a:lnTo>
                    <a:pt x="1446" y="1831"/>
                  </a:lnTo>
                  <a:lnTo>
                    <a:pt x="1441" y="1833"/>
                  </a:lnTo>
                  <a:lnTo>
                    <a:pt x="1439" y="1836"/>
                  </a:lnTo>
                  <a:lnTo>
                    <a:pt x="1439" y="1836"/>
                  </a:lnTo>
                  <a:lnTo>
                    <a:pt x="1437" y="1840"/>
                  </a:lnTo>
                  <a:lnTo>
                    <a:pt x="1437" y="1840"/>
                  </a:lnTo>
                  <a:lnTo>
                    <a:pt x="1433" y="1846"/>
                  </a:lnTo>
                  <a:lnTo>
                    <a:pt x="1429" y="1848"/>
                  </a:lnTo>
                  <a:lnTo>
                    <a:pt x="1429" y="1848"/>
                  </a:lnTo>
                  <a:lnTo>
                    <a:pt x="1424" y="1851"/>
                  </a:lnTo>
                  <a:lnTo>
                    <a:pt x="1423" y="1854"/>
                  </a:lnTo>
                  <a:lnTo>
                    <a:pt x="1423" y="1854"/>
                  </a:lnTo>
                  <a:lnTo>
                    <a:pt x="1421" y="1857"/>
                  </a:lnTo>
                  <a:lnTo>
                    <a:pt x="1423" y="1866"/>
                  </a:lnTo>
                  <a:lnTo>
                    <a:pt x="1423" y="1866"/>
                  </a:lnTo>
                  <a:lnTo>
                    <a:pt x="1423" y="1867"/>
                  </a:lnTo>
                  <a:lnTo>
                    <a:pt x="1423" y="1867"/>
                  </a:lnTo>
                  <a:lnTo>
                    <a:pt x="1419" y="1860"/>
                  </a:lnTo>
                  <a:lnTo>
                    <a:pt x="1416" y="1857"/>
                  </a:lnTo>
                  <a:lnTo>
                    <a:pt x="1413" y="1854"/>
                  </a:lnTo>
                  <a:lnTo>
                    <a:pt x="1413" y="1854"/>
                  </a:lnTo>
                  <a:lnTo>
                    <a:pt x="1411" y="1854"/>
                  </a:lnTo>
                  <a:lnTo>
                    <a:pt x="1411" y="1854"/>
                  </a:lnTo>
                  <a:lnTo>
                    <a:pt x="1403" y="1844"/>
                  </a:lnTo>
                  <a:lnTo>
                    <a:pt x="1389" y="1831"/>
                  </a:lnTo>
                  <a:lnTo>
                    <a:pt x="1389" y="1831"/>
                  </a:lnTo>
                  <a:lnTo>
                    <a:pt x="1383" y="1828"/>
                  </a:lnTo>
                  <a:lnTo>
                    <a:pt x="1377" y="1827"/>
                  </a:lnTo>
                  <a:lnTo>
                    <a:pt x="1377" y="1827"/>
                  </a:lnTo>
                  <a:lnTo>
                    <a:pt x="1374" y="1827"/>
                  </a:lnTo>
                  <a:lnTo>
                    <a:pt x="1374" y="1827"/>
                  </a:lnTo>
                  <a:lnTo>
                    <a:pt x="1369" y="1827"/>
                  </a:lnTo>
                  <a:lnTo>
                    <a:pt x="1369" y="1827"/>
                  </a:lnTo>
                  <a:lnTo>
                    <a:pt x="1359" y="1826"/>
                  </a:lnTo>
                  <a:lnTo>
                    <a:pt x="1351" y="1827"/>
                  </a:lnTo>
                  <a:lnTo>
                    <a:pt x="1351" y="1827"/>
                  </a:lnTo>
                  <a:lnTo>
                    <a:pt x="1343" y="1831"/>
                  </a:lnTo>
                  <a:lnTo>
                    <a:pt x="1340" y="1834"/>
                  </a:lnTo>
                  <a:lnTo>
                    <a:pt x="1336" y="1838"/>
                  </a:lnTo>
                  <a:lnTo>
                    <a:pt x="1336" y="1838"/>
                  </a:lnTo>
                  <a:lnTo>
                    <a:pt x="1334" y="1841"/>
                  </a:lnTo>
                  <a:lnTo>
                    <a:pt x="1331" y="1841"/>
                  </a:lnTo>
                  <a:lnTo>
                    <a:pt x="1327" y="1843"/>
                  </a:lnTo>
                  <a:lnTo>
                    <a:pt x="1327" y="1843"/>
                  </a:lnTo>
                  <a:lnTo>
                    <a:pt x="1323" y="1843"/>
                  </a:lnTo>
                  <a:lnTo>
                    <a:pt x="1320" y="1844"/>
                  </a:lnTo>
                  <a:lnTo>
                    <a:pt x="1319" y="1846"/>
                  </a:lnTo>
                  <a:lnTo>
                    <a:pt x="1319" y="1846"/>
                  </a:lnTo>
                  <a:lnTo>
                    <a:pt x="1316" y="1847"/>
                  </a:lnTo>
                  <a:lnTo>
                    <a:pt x="1313" y="1847"/>
                  </a:lnTo>
                  <a:lnTo>
                    <a:pt x="1313" y="1847"/>
                  </a:lnTo>
                  <a:lnTo>
                    <a:pt x="1306" y="1848"/>
                  </a:lnTo>
                  <a:lnTo>
                    <a:pt x="1306" y="1848"/>
                  </a:lnTo>
                  <a:lnTo>
                    <a:pt x="1304" y="1848"/>
                  </a:lnTo>
                  <a:lnTo>
                    <a:pt x="1303" y="1847"/>
                  </a:lnTo>
                  <a:lnTo>
                    <a:pt x="1300" y="1843"/>
                  </a:lnTo>
                  <a:lnTo>
                    <a:pt x="1300" y="1843"/>
                  </a:lnTo>
                  <a:lnTo>
                    <a:pt x="1297" y="1841"/>
                  </a:lnTo>
                  <a:lnTo>
                    <a:pt x="1297" y="1841"/>
                  </a:lnTo>
                  <a:lnTo>
                    <a:pt x="1296" y="1841"/>
                  </a:lnTo>
                  <a:lnTo>
                    <a:pt x="1293" y="1843"/>
                  </a:lnTo>
                  <a:lnTo>
                    <a:pt x="1293" y="1843"/>
                  </a:lnTo>
                  <a:lnTo>
                    <a:pt x="1289" y="1844"/>
                  </a:lnTo>
                  <a:lnTo>
                    <a:pt x="1289" y="1844"/>
                  </a:lnTo>
                  <a:lnTo>
                    <a:pt x="1287" y="1843"/>
                  </a:lnTo>
                  <a:lnTo>
                    <a:pt x="1287" y="1841"/>
                  </a:lnTo>
                  <a:lnTo>
                    <a:pt x="1284" y="1833"/>
                  </a:lnTo>
                  <a:lnTo>
                    <a:pt x="1284" y="1833"/>
                  </a:lnTo>
                  <a:lnTo>
                    <a:pt x="1281" y="1828"/>
                  </a:lnTo>
                  <a:lnTo>
                    <a:pt x="1279" y="1827"/>
                  </a:lnTo>
                  <a:lnTo>
                    <a:pt x="1273" y="1824"/>
                  </a:lnTo>
                  <a:lnTo>
                    <a:pt x="1273" y="1824"/>
                  </a:lnTo>
                  <a:lnTo>
                    <a:pt x="1273" y="1817"/>
                  </a:lnTo>
                  <a:lnTo>
                    <a:pt x="1270" y="1813"/>
                  </a:lnTo>
                  <a:lnTo>
                    <a:pt x="1267" y="1810"/>
                  </a:lnTo>
                  <a:lnTo>
                    <a:pt x="1264" y="1808"/>
                  </a:lnTo>
                  <a:lnTo>
                    <a:pt x="1264" y="1808"/>
                  </a:lnTo>
                  <a:lnTo>
                    <a:pt x="1263" y="1807"/>
                  </a:lnTo>
                  <a:lnTo>
                    <a:pt x="1263" y="1807"/>
                  </a:lnTo>
                  <a:lnTo>
                    <a:pt x="1260" y="1804"/>
                  </a:lnTo>
                  <a:lnTo>
                    <a:pt x="1256" y="1803"/>
                  </a:lnTo>
                  <a:lnTo>
                    <a:pt x="1256" y="1803"/>
                  </a:lnTo>
                  <a:lnTo>
                    <a:pt x="1253" y="1791"/>
                  </a:lnTo>
                  <a:lnTo>
                    <a:pt x="1251" y="1786"/>
                  </a:lnTo>
                  <a:lnTo>
                    <a:pt x="1251" y="1780"/>
                  </a:lnTo>
                  <a:lnTo>
                    <a:pt x="1251" y="1780"/>
                  </a:lnTo>
                  <a:lnTo>
                    <a:pt x="1253" y="1777"/>
                  </a:lnTo>
                  <a:lnTo>
                    <a:pt x="1254" y="1774"/>
                  </a:lnTo>
                  <a:lnTo>
                    <a:pt x="1254" y="1774"/>
                  </a:lnTo>
                  <a:lnTo>
                    <a:pt x="1256" y="1770"/>
                  </a:lnTo>
                  <a:lnTo>
                    <a:pt x="1257" y="1763"/>
                  </a:lnTo>
                  <a:lnTo>
                    <a:pt x="1257" y="1763"/>
                  </a:lnTo>
                  <a:lnTo>
                    <a:pt x="1254" y="1758"/>
                  </a:lnTo>
                  <a:lnTo>
                    <a:pt x="1253" y="1756"/>
                  </a:lnTo>
                  <a:lnTo>
                    <a:pt x="1253" y="1756"/>
                  </a:lnTo>
                  <a:lnTo>
                    <a:pt x="1253" y="1754"/>
                  </a:lnTo>
                  <a:lnTo>
                    <a:pt x="1253" y="1754"/>
                  </a:lnTo>
                  <a:lnTo>
                    <a:pt x="1254" y="1753"/>
                  </a:lnTo>
                  <a:lnTo>
                    <a:pt x="1254" y="1753"/>
                  </a:lnTo>
                  <a:lnTo>
                    <a:pt x="1260" y="1750"/>
                  </a:lnTo>
                  <a:lnTo>
                    <a:pt x="1260" y="1750"/>
                  </a:lnTo>
                  <a:lnTo>
                    <a:pt x="1263" y="1748"/>
                  </a:lnTo>
                  <a:lnTo>
                    <a:pt x="1264" y="1746"/>
                  </a:lnTo>
                  <a:lnTo>
                    <a:pt x="1264" y="1743"/>
                  </a:lnTo>
                  <a:lnTo>
                    <a:pt x="1264" y="1737"/>
                  </a:lnTo>
                  <a:lnTo>
                    <a:pt x="1264" y="1737"/>
                  </a:lnTo>
                  <a:lnTo>
                    <a:pt x="1264" y="1726"/>
                  </a:lnTo>
                  <a:lnTo>
                    <a:pt x="1264" y="1726"/>
                  </a:lnTo>
                  <a:lnTo>
                    <a:pt x="1263" y="1719"/>
                  </a:lnTo>
                  <a:lnTo>
                    <a:pt x="1263" y="1713"/>
                  </a:lnTo>
                  <a:lnTo>
                    <a:pt x="1263" y="1713"/>
                  </a:lnTo>
                  <a:lnTo>
                    <a:pt x="1267" y="1704"/>
                  </a:lnTo>
                  <a:lnTo>
                    <a:pt x="1267" y="1704"/>
                  </a:lnTo>
                  <a:lnTo>
                    <a:pt x="1273" y="1696"/>
                  </a:lnTo>
                  <a:lnTo>
                    <a:pt x="1274" y="1691"/>
                  </a:lnTo>
                  <a:lnTo>
                    <a:pt x="1274" y="1687"/>
                  </a:lnTo>
                  <a:lnTo>
                    <a:pt x="1274" y="1687"/>
                  </a:lnTo>
                  <a:lnTo>
                    <a:pt x="1274" y="1681"/>
                  </a:lnTo>
                  <a:lnTo>
                    <a:pt x="1274" y="1681"/>
                  </a:lnTo>
                  <a:lnTo>
                    <a:pt x="1274" y="1674"/>
                  </a:lnTo>
                  <a:lnTo>
                    <a:pt x="1274" y="1674"/>
                  </a:lnTo>
                  <a:lnTo>
                    <a:pt x="1276" y="1669"/>
                  </a:lnTo>
                  <a:lnTo>
                    <a:pt x="1276" y="1667"/>
                  </a:lnTo>
                  <a:lnTo>
                    <a:pt x="1274" y="1666"/>
                  </a:lnTo>
                  <a:lnTo>
                    <a:pt x="1274" y="1666"/>
                  </a:lnTo>
                  <a:lnTo>
                    <a:pt x="1271" y="1664"/>
                  </a:lnTo>
                  <a:lnTo>
                    <a:pt x="1270" y="1666"/>
                  </a:lnTo>
                  <a:lnTo>
                    <a:pt x="1270" y="1666"/>
                  </a:lnTo>
                  <a:lnTo>
                    <a:pt x="1267" y="1666"/>
                  </a:lnTo>
                  <a:lnTo>
                    <a:pt x="1267" y="1666"/>
                  </a:lnTo>
                  <a:lnTo>
                    <a:pt x="1254" y="1657"/>
                  </a:lnTo>
                  <a:lnTo>
                    <a:pt x="1254" y="1657"/>
                  </a:lnTo>
                  <a:lnTo>
                    <a:pt x="1250" y="1656"/>
                  </a:lnTo>
                  <a:lnTo>
                    <a:pt x="1246" y="1654"/>
                  </a:lnTo>
                  <a:lnTo>
                    <a:pt x="1246" y="1654"/>
                  </a:lnTo>
                  <a:lnTo>
                    <a:pt x="1243" y="1653"/>
                  </a:lnTo>
                  <a:lnTo>
                    <a:pt x="1240" y="1650"/>
                  </a:lnTo>
                  <a:lnTo>
                    <a:pt x="1240" y="1650"/>
                  </a:lnTo>
                  <a:lnTo>
                    <a:pt x="1240" y="1644"/>
                  </a:lnTo>
                  <a:lnTo>
                    <a:pt x="1240" y="1644"/>
                  </a:lnTo>
                  <a:lnTo>
                    <a:pt x="1239" y="1640"/>
                  </a:lnTo>
                  <a:lnTo>
                    <a:pt x="1237" y="1637"/>
                  </a:lnTo>
                  <a:lnTo>
                    <a:pt x="1237" y="1637"/>
                  </a:lnTo>
                  <a:lnTo>
                    <a:pt x="1234" y="1636"/>
                  </a:lnTo>
                  <a:lnTo>
                    <a:pt x="1231" y="1637"/>
                  </a:lnTo>
                  <a:lnTo>
                    <a:pt x="1231" y="1637"/>
                  </a:lnTo>
                  <a:lnTo>
                    <a:pt x="1227" y="1639"/>
                  </a:lnTo>
                  <a:lnTo>
                    <a:pt x="1224" y="1641"/>
                  </a:lnTo>
                  <a:lnTo>
                    <a:pt x="1224" y="1641"/>
                  </a:lnTo>
                  <a:lnTo>
                    <a:pt x="1223" y="1644"/>
                  </a:lnTo>
                  <a:lnTo>
                    <a:pt x="1223" y="1644"/>
                  </a:lnTo>
                  <a:lnTo>
                    <a:pt x="1223" y="1644"/>
                  </a:lnTo>
                  <a:lnTo>
                    <a:pt x="1219" y="1643"/>
                  </a:lnTo>
                  <a:lnTo>
                    <a:pt x="1219" y="1643"/>
                  </a:lnTo>
                  <a:lnTo>
                    <a:pt x="1211" y="1640"/>
                  </a:lnTo>
                  <a:lnTo>
                    <a:pt x="1204" y="1640"/>
                  </a:lnTo>
                  <a:lnTo>
                    <a:pt x="1204" y="1640"/>
                  </a:lnTo>
                  <a:lnTo>
                    <a:pt x="1197" y="1640"/>
                  </a:lnTo>
                  <a:lnTo>
                    <a:pt x="1191" y="1644"/>
                  </a:lnTo>
                  <a:lnTo>
                    <a:pt x="1191" y="1644"/>
                  </a:lnTo>
                  <a:lnTo>
                    <a:pt x="1187" y="1650"/>
                  </a:lnTo>
                  <a:lnTo>
                    <a:pt x="1187" y="1650"/>
                  </a:lnTo>
                  <a:lnTo>
                    <a:pt x="1186" y="1650"/>
                  </a:lnTo>
                  <a:lnTo>
                    <a:pt x="1186" y="1650"/>
                  </a:lnTo>
                  <a:lnTo>
                    <a:pt x="1183" y="1650"/>
                  </a:lnTo>
                  <a:lnTo>
                    <a:pt x="1183" y="1650"/>
                  </a:lnTo>
                  <a:lnTo>
                    <a:pt x="1183" y="1650"/>
                  </a:lnTo>
                  <a:lnTo>
                    <a:pt x="1179" y="1649"/>
                  </a:lnTo>
                  <a:lnTo>
                    <a:pt x="1174" y="1647"/>
                  </a:lnTo>
                  <a:lnTo>
                    <a:pt x="1174" y="1647"/>
                  </a:lnTo>
                  <a:lnTo>
                    <a:pt x="1164" y="1643"/>
                  </a:lnTo>
                  <a:lnTo>
                    <a:pt x="1160" y="1643"/>
                  </a:lnTo>
                  <a:lnTo>
                    <a:pt x="1156" y="1644"/>
                  </a:lnTo>
                  <a:lnTo>
                    <a:pt x="1156" y="1644"/>
                  </a:lnTo>
                  <a:lnTo>
                    <a:pt x="1154" y="1644"/>
                  </a:lnTo>
                  <a:lnTo>
                    <a:pt x="1154" y="1644"/>
                  </a:lnTo>
                  <a:lnTo>
                    <a:pt x="1153" y="1644"/>
                  </a:lnTo>
                  <a:lnTo>
                    <a:pt x="1153" y="1644"/>
                  </a:lnTo>
                  <a:lnTo>
                    <a:pt x="1151" y="1644"/>
                  </a:lnTo>
                  <a:lnTo>
                    <a:pt x="1151" y="1644"/>
                  </a:lnTo>
                  <a:lnTo>
                    <a:pt x="1144" y="1643"/>
                  </a:lnTo>
                  <a:lnTo>
                    <a:pt x="1140" y="1640"/>
                  </a:lnTo>
                  <a:lnTo>
                    <a:pt x="1140" y="1640"/>
                  </a:lnTo>
                  <a:lnTo>
                    <a:pt x="1146" y="1633"/>
                  </a:lnTo>
                  <a:lnTo>
                    <a:pt x="1149" y="1627"/>
                  </a:lnTo>
                  <a:lnTo>
                    <a:pt x="1150" y="1621"/>
                  </a:lnTo>
                  <a:lnTo>
                    <a:pt x="1150" y="1621"/>
                  </a:lnTo>
                  <a:lnTo>
                    <a:pt x="1160" y="1590"/>
                  </a:lnTo>
                  <a:lnTo>
                    <a:pt x="1160" y="1590"/>
                  </a:lnTo>
                  <a:lnTo>
                    <a:pt x="1160" y="1589"/>
                  </a:lnTo>
                  <a:lnTo>
                    <a:pt x="1160" y="1589"/>
                  </a:lnTo>
                  <a:lnTo>
                    <a:pt x="1164" y="1586"/>
                  </a:lnTo>
                  <a:lnTo>
                    <a:pt x="1170" y="1580"/>
                  </a:lnTo>
                  <a:lnTo>
                    <a:pt x="1171" y="1576"/>
                  </a:lnTo>
                  <a:lnTo>
                    <a:pt x="1173" y="1571"/>
                  </a:lnTo>
                  <a:lnTo>
                    <a:pt x="1173" y="1566"/>
                  </a:lnTo>
                  <a:lnTo>
                    <a:pt x="1171" y="1559"/>
                  </a:lnTo>
                  <a:lnTo>
                    <a:pt x="1171" y="1559"/>
                  </a:lnTo>
                  <a:lnTo>
                    <a:pt x="1173" y="1557"/>
                  </a:lnTo>
                  <a:lnTo>
                    <a:pt x="1173" y="1557"/>
                  </a:lnTo>
                  <a:lnTo>
                    <a:pt x="1180" y="1544"/>
                  </a:lnTo>
                  <a:lnTo>
                    <a:pt x="1186" y="1533"/>
                  </a:lnTo>
                  <a:lnTo>
                    <a:pt x="1186" y="1533"/>
                  </a:lnTo>
                  <a:lnTo>
                    <a:pt x="1187" y="1529"/>
                  </a:lnTo>
                  <a:lnTo>
                    <a:pt x="1187" y="1526"/>
                  </a:lnTo>
                  <a:lnTo>
                    <a:pt x="1187" y="1526"/>
                  </a:lnTo>
                  <a:lnTo>
                    <a:pt x="1187" y="1523"/>
                  </a:lnTo>
                  <a:lnTo>
                    <a:pt x="1189" y="1519"/>
                  </a:lnTo>
                  <a:lnTo>
                    <a:pt x="1189" y="1519"/>
                  </a:lnTo>
                  <a:lnTo>
                    <a:pt x="1191" y="1516"/>
                  </a:lnTo>
                  <a:lnTo>
                    <a:pt x="1194" y="1514"/>
                  </a:lnTo>
                  <a:lnTo>
                    <a:pt x="1194" y="1514"/>
                  </a:lnTo>
                  <a:lnTo>
                    <a:pt x="1197" y="1511"/>
                  </a:lnTo>
                  <a:lnTo>
                    <a:pt x="1200" y="1509"/>
                  </a:lnTo>
                  <a:lnTo>
                    <a:pt x="1201" y="1503"/>
                  </a:lnTo>
                  <a:lnTo>
                    <a:pt x="1201" y="1503"/>
                  </a:lnTo>
                  <a:lnTo>
                    <a:pt x="1204" y="1499"/>
                  </a:lnTo>
                  <a:lnTo>
                    <a:pt x="1207" y="1494"/>
                  </a:lnTo>
                  <a:lnTo>
                    <a:pt x="1207" y="1494"/>
                  </a:lnTo>
                  <a:lnTo>
                    <a:pt x="1209" y="1491"/>
                  </a:lnTo>
                  <a:lnTo>
                    <a:pt x="1210" y="1489"/>
                  </a:lnTo>
                  <a:lnTo>
                    <a:pt x="1210" y="1484"/>
                  </a:lnTo>
                  <a:lnTo>
                    <a:pt x="1209" y="1480"/>
                  </a:lnTo>
                  <a:lnTo>
                    <a:pt x="1209" y="1480"/>
                  </a:lnTo>
                  <a:lnTo>
                    <a:pt x="1204" y="1476"/>
                  </a:lnTo>
                  <a:lnTo>
                    <a:pt x="1200" y="1474"/>
                  </a:lnTo>
                  <a:lnTo>
                    <a:pt x="1200" y="1474"/>
                  </a:lnTo>
                  <a:lnTo>
                    <a:pt x="1197" y="1476"/>
                  </a:lnTo>
                  <a:lnTo>
                    <a:pt x="1197" y="1476"/>
                  </a:lnTo>
                  <a:lnTo>
                    <a:pt x="1193" y="1476"/>
                  </a:lnTo>
                  <a:lnTo>
                    <a:pt x="1193" y="1476"/>
                  </a:lnTo>
                  <a:lnTo>
                    <a:pt x="1190" y="1474"/>
                  </a:lnTo>
                  <a:lnTo>
                    <a:pt x="1186" y="1473"/>
                  </a:lnTo>
                  <a:lnTo>
                    <a:pt x="1186" y="1473"/>
                  </a:lnTo>
                  <a:lnTo>
                    <a:pt x="1179" y="1470"/>
                  </a:lnTo>
                  <a:lnTo>
                    <a:pt x="1173" y="1469"/>
                  </a:lnTo>
                  <a:lnTo>
                    <a:pt x="1173" y="1469"/>
                  </a:lnTo>
                  <a:lnTo>
                    <a:pt x="1167" y="1469"/>
                  </a:lnTo>
                  <a:lnTo>
                    <a:pt x="1167" y="1469"/>
                  </a:lnTo>
                  <a:lnTo>
                    <a:pt x="1163" y="1473"/>
                  </a:lnTo>
                  <a:lnTo>
                    <a:pt x="1160" y="1476"/>
                  </a:lnTo>
                  <a:lnTo>
                    <a:pt x="1160" y="1476"/>
                  </a:lnTo>
                  <a:lnTo>
                    <a:pt x="1159" y="1477"/>
                  </a:lnTo>
                  <a:lnTo>
                    <a:pt x="1153" y="1479"/>
                  </a:lnTo>
                  <a:lnTo>
                    <a:pt x="1153" y="1479"/>
                  </a:lnTo>
                  <a:lnTo>
                    <a:pt x="1140" y="1479"/>
                  </a:lnTo>
                  <a:lnTo>
                    <a:pt x="1134" y="1480"/>
                  </a:lnTo>
                  <a:lnTo>
                    <a:pt x="1130" y="1481"/>
                  </a:lnTo>
                  <a:lnTo>
                    <a:pt x="1130" y="1481"/>
                  </a:lnTo>
                  <a:lnTo>
                    <a:pt x="1124" y="1483"/>
                  </a:lnTo>
                  <a:lnTo>
                    <a:pt x="1124" y="1483"/>
                  </a:lnTo>
                  <a:lnTo>
                    <a:pt x="1120" y="1483"/>
                  </a:lnTo>
                  <a:lnTo>
                    <a:pt x="1116" y="1484"/>
                  </a:lnTo>
                  <a:lnTo>
                    <a:pt x="1113" y="1487"/>
                  </a:lnTo>
                  <a:lnTo>
                    <a:pt x="1110" y="1493"/>
                  </a:lnTo>
                  <a:lnTo>
                    <a:pt x="1110" y="1493"/>
                  </a:lnTo>
                  <a:lnTo>
                    <a:pt x="1110" y="1503"/>
                  </a:lnTo>
                  <a:lnTo>
                    <a:pt x="1110" y="1503"/>
                  </a:lnTo>
                  <a:lnTo>
                    <a:pt x="1110" y="1507"/>
                  </a:lnTo>
                  <a:lnTo>
                    <a:pt x="1109" y="1510"/>
                  </a:lnTo>
                  <a:lnTo>
                    <a:pt x="1109" y="1510"/>
                  </a:lnTo>
                  <a:lnTo>
                    <a:pt x="1100" y="1527"/>
                  </a:lnTo>
                  <a:lnTo>
                    <a:pt x="1100" y="1527"/>
                  </a:lnTo>
                  <a:lnTo>
                    <a:pt x="1099" y="1531"/>
                  </a:lnTo>
                  <a:lnTo>
                    <a:pt x="1099" y="1536"/>
                  </a:lnTo>
                  <a:lnTo>
                    <a:pt x="1099" y="1536"/>
                  </a:lnTo>
                  <a:lnTo>
                    <a:pt x="1097" y="1540"/>
                  </a:lnTo>
                  <a:lnTo>
                    <a:pt x="1096" y="1543"/>
                  </a:lnTo>
                  <a:lnTo>
                    <a:pt x="1093" y="1544"/>
                  </a:lnTo>
                  <a:lnTo>
                    <a:pt x="1093" y="1544"/>
                  </a:lnTo>
                  <a:lnTo>
                    <a:pt x="1086" y="1549"/>
                  </a:lnTo>
                  <a:lnTo>
                    <a:pt x="1081" y="1553"/>
                  </a:lnTo>
                  <a:lnTo>
                    <a:pt x="1081" y="1553"/>
                  </a:lnTo>
                  <a:lnTo>
                    <a:pt x="1074" y="1560"/>
                  </a:lnTo>
                  <a:lnTo>
                    <a:pt x="1074" y="1560"/>
                  </a:lnTo>
                  <a:lnTo>
                    <a:pt x="1070" y="1563"/>
                  </a:lnTo>
                  <a:lnTo>
                    <a:pt x="1070" y="1563"/>
                  </a:lnTo>
                  <a:lnTo>
                    <a:pt x="1069" y="1563"/>
                  </a:lnTo>
                  <a:lnTo>
                    <a:pt x="1069" y="1563"/>
                  </a:lnTo>
                  <a:lnTo>
                    <a:pt x="1066" y="1561"/>
                  </a:lnTo>
                  <a:lnTo>
                    <a:pt x="1060" y="1560"/>
                  </a:lnTo>
                  <a:lnTo>
                    <a:pt x="1060" y="1560"/>
                  </a:lnTo>
                  <a:lnTo>
                    <a:pt x="1057" y="1559"/>
                  </a:lnTo>
                  <a:lnTo>
                    <a:pt x="1057" y="1559"/>
                  </a:lnTo>
                  <a:lnTo>
                    <a:pt x="1049" y="1560"/>
                  </a:lnTo>
                  <a:lnTo>
                    <a:pt x="1041" y="1563"/>
                  </a:lnTo>
                  <a:lnTo>
                    <a:pt x="1041" y="1563"/>
                  </a:lnTo>
                  <a:lnTo>
                    <a:pt x="1037" y="1566"/>
                  </a:lnTo>
                  <a:lnTo>
                    <a:pt x="1034" y="1567"/>
                  </a:lnTo>
                  <a:lnTo>
                    <a:pt x="1034" y="1567"/>
                  </a:lnTo>
                  <a:lnTo>
                    <a:pt x="1027" y="1566"/>
                  </a:lnTo>
                  <a:lnTo>
                    <a:pt x="1027" y="1566"/>
                  </a:lnTo>
                  <a:lnTo>
                    <a:pt x="1024" y="1566"/>
                  </a:lnTo>
                  <a:lnTo>
                    <a:pt x="1021" y="1566"/>
                  </a:lnTo>
                  <a:lnTo>
                    <a:pt x="1021" y="1566"/>
                  </a:lnTo>
                  <a:lnTo>
                    <a:pt x="1017" y="1567"/>
                  </a:lnTo>
                  <a:lnTo>
                    <a:pt x="1017" y="1567"/>
                  </a:lnTo>
                  <a:lnTo>
                    <a:pt x="1010" y="1571"/>
                  </a:lnTo>
                  <a:lnTo>
                    <a:pt x="1003" y="1573"/>
                  </a:lnTo>
                  <a:lnTo>
                    <a:pt x="1003" y="1573"/>
                  </a:lnTo>
                  <a:lnTo>
                    <a:pt x="999" y="1573"/>
                  </a:lnTo>
                  <a:lnTo>
                    <a:pt x="999" y="1573"/>
                  </a:lnTo>
                  <a:lnTo>
                    <a:pt x="997" y="1574"/>
                  </a:lnTo>
                  <a:lnTo>
                    <a:pt x="997" y="1574"/>
                  </a:lnTo>
                  <a:lnTo>
                    <a:pt x="996" y="1573"/>
                  </a:lnTo>
                  <a:lnTo>
                    <a:pt x="991" y="1569"/>
                  </a:lnTo>
                  <a:lnTo>
                    <a:pt x="991" y="1569"/>
                  </a:lnTo>
                  <a:lnTo>
                    <a:pt x="989" y="1566"/>
                  </a:lnTo>
                  <a:lnTo>
                    <a:pt x="984" y="1563"/>
                  </a:lnTo>
                  <a:lnTo>
                    <a:pt x="976" y="1563"/>
                  </a:lnTo>
                  <a:lnTo>
                    <a:pt x="976" y="1563"/>
                  </a:lnTo>
                  <a:lnTo>
                    <a:pt x="970" y="1563"/>
                  </a:lnTo>
                  <a:lnTo>
                    <a:pt x="967" y="1561"/>
                  </a:lnTo>
                  <a:lnTo>
                    <a:pt x="966" y="1560"/>
                  </a:lnTo>
                  <a:lnTo>
                    <a:pt x="966" y="1560"/>
                  </a:lnTo>
                  <a:lnTo>
                    <a:pt x="963" y="1553"/>
                  </a:lnTo>
                  <a:lnTo>
                    <a:pt x="963" y="1553"/>
                  </a:lnTo>
                  <a:lnTo>
                    <a:pt x="960" y="1549"/>
                  </a:lnTo>
                  <a:lnTo>
                    <a:pt x="957" y="1543"/>
                  </a:lnTo>
                  <a:lnTo>
                    <a:pt x="957" y="1543"/>
                  </a:lnTo>
                  <a:lnTo>
                    <a:pt x="956" y="1541"/>
                  </a:lnTo>
                  <a:lnTo>
                    <a:pt x="956" y="1541"/>
                  </a:lnTo>
                  <a:lnTo>
                    <a:pt x="957" y="1540"/>
                  </a:lnTo>
                  <a:lnTo>
                    <a:pt x="957" y="1540"/>
                  </a:lnTo>
                  <a:lnTo>
                    <a:pt x="959" y="1537"/>
                  </a:lnTo>
                  <a:lnTo>
                    <a:pt x="960" y="1534"/>
                  </a:lnTo>
                  <a:lnTo>
                    <a:pt x="960" y="1529"/>
                  </a:lnTo>
                  <a:lnTo>
                    <a:pt x="957" y="1520"/>
                  </a:lnTo>
                  <a:lnTo>
                    <a:pt x="957" y="1520"/>
                  </a:lnTo>
                  <a:lnTo>
                    <a:pt x="953" y="1514"/>
                  </a:lnTo>
                  <a:lnTo>
                    <a:pt x="950" y="1510"/>
                  </a:lnTo>
                  <a:lnTo>
                    <a:pt x="944" y="1504"/>
                  </a:lnTo>
                  <a:lnTo>
                    <a:pt x="944" y="1504"/>
                  </a:lnTo>
                  <a:lnTo>
                    <a:pt x="941" y="1503"/>
                  </a:lnTo>
                  <a:lnTo>
                    <a:pt x="940" y="1497"/>
                  </a:lnTo>
                  <a:lnTo>
                    <a:pt x="940" y="1497"/>
                  </a:lnTo>
                  <a:lnTo>
                    <a:pt x="940" y="1486"/>
                  </a:lnTo>
                  <a:lnTo>
                    <a:pt x="940" y="1486"/>
                  </a:lnTo>
                  <a:lnTo>
                    <a:pt x="940" y="1480"/>
                  </a:lnTo>
                  <a:lnTo>
                    <a:pt x="939" y="1473"/>
                  </a:lnTo>
                  <a:lnTo>
                    <a:pt x="939" y="1473"/>
                  </a:lnTo>
                  <a:lnTo>
                    <a:pt x="937" y="1470"/>
                  </a:lnTo>
                  <a:lnTo>
                    <a:pt x="934" y="1469"/>
                  </a:lnTo>
                  <a:lnTo>
                    <a:pt x="934" y="1469"/>
                  </a:lnTo>
                  <a:lnTo>
                    <a:pt x="933" y="1467"/>
                  </a:lnTo>
                  <a:lnTo>
                    <a:pt x="933" y="1466"/>
                  </a:lnTo>
                  <a:lnTo>
                    <a:pt x="936" y="1456"/>
                  </a:lnTo>
                  <a:lnTo>
                    <a:pt x="936" y="1456"/>
                  </a:lnTo>
                  <a:lnTo>
                    <a:pt x="939" y="1443"/>
                  </a:lnTo>
                  <a:lnTo>
                    <a:pt x="939" y="1439"/>
                  </a:lnTo>
                  <a:lnTo>
                    <a:pt x="939" y="1439"/>
                  </a:lnTo>
                  <a:lnTo>
                    <a:pt x="939" y="1433"/>
                  </a:lnTo>
                  <a:lnTo>
                    <a:pt x="939" y="1433"/>
                  </a:lnTo>
                  <a:lnTo>
                    <a:pt x="939" y="1429"/>
                  </a:lnTo>
                  <a:lnTo>
                    <a:pt x="941" y="1424"/>
                  </a:lnTo>
                  <a:lnTo>
                    <a:pt x="941" y="1424"/>
                  </a:lnTo>
                  <a:lnTo>
                    <a:pt x="944" y="1419"/>
                  </a:lnTo>
                  <a:lnTo>
                    <a:pt x="946" y="1410"/>
                  </a:lnTo>
                  <a:lnTo>
                    <a:pt x="946" y="1410"/>
                  </a:lnTo>
                  <a:lnTo>
                    <a:pt x="946" y="1401"/>
                  </a:lnTo>
                  <a:lnTo>
                    <a:pt x="947" y="1396"/>
                  </a:lnTo>
                  <a:lnTo>
                    <a:pt x="949" y="1390"/>
                  </a:lnTo>
                  <a:lnTo>
                    <a:pt x="953" y="1383"/>
                  </a:lnTo>
                  <a:lnTo>
                    <a:pt x="953" y="1383"/>
                  </a:lnTo>
                  <a:lnTo>
                    <a:pt x="953" y="1383"/>
                  </a:lnTo>
                  <a:lnTo>
                    <a:pt x="960" y="1369"/>
                  </a:lnTo>
                  <a:lnTo>
                    <a:pt x="963" y="1360"/>
                  </a:lnTo>
                  <a:lnTo>
                    <a:pt x="964" y="1351"/>
                  </a:lnTo>
                  <a:lnTo>
                    <a:pt x="964" y="1351"/>
                  </a:lnTo>
                  <a:lnTo>
                    <a:pt x="964" y="1351"/>
                  </a:lnTo>
                  <a:lnTo>
                    <a:pt x="966" y="1350"/>
                  </a:lnTo>
                  <a:lnTo>
                    <a:pt x="966" y="1350"/>
                  </a:lnTo>
                  <a:lnTo>
                    <a:pt x="967" y="1347"/>
                  </a:lnTo>
                  <a:lnTo>
                    <a:pt x="969" y="1343"/>
                  </a:lnTo>
                  <a:lnTo>
                    <a:pt x="969" y="1320"/>
                  </a:lnTo>
                  <a:lnTo>
                    <a:pt x="969" y="1320"/>
                  </a:lnTo>
                  <a:lnTo>
                    <a:pt x="969" y="1316"/>
                  </a:lnTo>
                  <a:lnTo>
                    <a:pt x="969" y="1316"/>
                  </a:lnTo>
                  <a:lnTo>
                    <a:pt x="969" y="1313"/>
                  </a:lnTo>
                  <a:lnTo>
                    <a:pt x="969" y="1313"/>
                  </a:lnTo>
                  <a:lnTo>
                    <a:pt x="970" y="1310"/>
                  </a:lnTo>
                  <a:lnTo>
                    <a:pt x="970" y="1310"/>
                  </a:lnTo>
                  <a:lnTo>
                    <a:pt x="973" y="1304"/>
                  </a:lnTo>
                  <a:lnTo>
                    <a:pt x="973" y="1304"/>
                  </a:lnTo>
                  <a:lnTo>
                    <a:pt x="979" y="1294"/>
                  </a:lnTo>
                  <a:lnTo>
                    <a:pt x="983" y="1289"/>
                  </a:lnTo>
                  <a:lnTo>
                    <a:pt x="983" y="1289"/>
                  </a:lnTo>
                  <a:lnTo>
                    <a:pt x="991" y="1280"/>
                  </a:lnTo>
                  <a:lnTo>
                    <a:pt x="1000" y="1274"/>
                  </a:lnTo>
                  <a:lnTo>
                    <a:pt x="1007" y="1270"/>
                  </a:lnTo>
                  <a:lnTo>
                    <a:pt x="1011" y="1269"/>
                  </a:lnTo>
                  <a:lnTo>
                    <a:pt x="1011" y="1269"/>
                  </a:lnTo>
                  <a:lnTo>
                    <a:pt x="1013" y="1269"/>
                  </a:lnTo>
                  <a:lnTo>
                    <a:pt x="1013" y="1269"/>
                  </a:lnTo>
                  <a:lnTo>
                    <a:pt x="1020" y="1270"/>
                  </a:lnTo>
                  <a:lnTo>
                    <a:pt x="1027" y="1269"/>
                  </a:lnTo>
                  <a:lnTo>
                    <a:pt x="1033" y="1266"/>
                  </a:lnTo>
                  <a:lnTo>
                    <a:pt x="1037" y="1262"/>
                  </a:lnTo>
                  <a:lnTo>
                    <a:pt x="1037" y="1262"/>
                  </a:lnTo>
                  <a:lnTo>
                    <a:pt x="1043" y="1254"/>
                  </a:lnTo>
                  <a:lnTo>
                    <a:pt x="1047" y="1250"/>
                  </a:lnTo>
                  <a:lnTo>
                    <a:pt x="1054" y="1246"/>
                  </a:lnTo>
                  <a:lnTo>
                    <a:pt x="1054" y="1246"/>
                  </a:lnTo>
                  <a:lnTo>
                    <a:pt x="1060" y="1243"/>
                  </a:lnTo>
                  <a:lnTo>
                    <a:pt x="1066" y="1243"/>
                  </a:lnTo>
                  <a:lnTo>
                    <a:pt x="1066" y="1243"/>
                  </a:lnTo>
                  <a:lnTo>
                    <a:pt x="1070" y="1242"/>
                  </a:lnTo>
                  <a:lnTo>
                    <a:pt x="1076" y="1239"/>
                  </a:lnTo>
                  <a:lnTo>
                    <a:pt x="1076" y="1239"/>
                  </a:lnTo>
                  <a:lnTo>
                    <a:pt x="1084" y="1234"/>
                  </a:lnTo>
                  <a:lnTo>
                    <a:pt x="1090" y="1233"/>
                  </a:lnTo>
                  <a:lnTo>
                    <a:pt x="1090" y="1233"/>
                  </a:lnTo>
                  <a:lnTo>
                    <a:pt x="1094" y="1234"/>
                  </a:lnTo>
                  <a:lnTo>
                    <a:pt x="1097" y="1236"/>
                  </a:lnTo>
                  <a:lnTo>
                    <a:pt x="1097" y="1236"/>
                  </a:lnTo>
                  <a:lnTo>
                    <a:pt x="1100" y="1239"/>
                  </a:lnTo>
                  <a:lnTo>
                    <a:pt x="1100" y="1239"/>
                  </a:lnTo>
                  <a:lnTo>
                    <a:pt x="1106" y="1242"/>
                  </a:lnTo>
                  <a:lnTo>
                    <a:pt x="1110" y="1243"/>
                  </a:lnTo>
                  <a:lnTo>
                    <a:pt x="1114" y="1243"/>
                  </a:lnTo>
                  <a:lnTo>
                    <a:pt x="1114" y="1243"/>
                  </a:lnTo>
                  <a:lnTo>
                    <a:pt x="1119" y="1243"/>
                  </a:lnTo>
                  <a:lnTo>
                    <a:pt x="1120" y="1242"/>
                  </a:lnTo>
                  <a:lnTo>
                    <a:pt x="1123" y="1237"/>
                  </a:lnTo>
                  <a:lnTo>
                    <a:pt x="1123" y="1237"/>
                  </a:lnTo>
                  <a:lnTo>
                    <a:pt x="1126" y="1236"/>
                  </a:lnTo>
                  <a:lnTo>
                    <a:pt x="1126" y="1236"/>
                  </a:lnTo>
                  <a:lnTo>
                    <a:pt x="1129" y="1237"/>
                  </a:lnTo>
                  <a:lnTo>
                    <a:pt x="1129" y="1237"/>
                  </a:lnTo>
                  <a:lnTo>
                    <a:pt x="1133" y="1242"/>
                  </a:lnTo>
                  <a:lnTo>
                    <a:pt x="1136" y="1246"/>
                  </a:lnTo>
                  <a:lnTo>
                    <a:pt x="1136" y="1246"/>
                  </a:lnTo>
                  <a:lnTo>
                    <a:pt x="1139" y="1252"/>
                  </a:lnTo>
                  <a:lnTo>
                    <a:pt x="1143" y="1253"/>
                  </a:lnTo>
                  <a:lnTo>
                    <a:pt x="1147" y="1254"/>
                  </a:lnTo>
                  <a:lnTo>
                    <a:pt x="1147" y="1254"/>
                  </a:lnTo>
                  <a:lnTo>
                    <a:pt x="1166" y="1254"/>
                  </a:lnTo>
                  <a:lnTo>
                    <a:pt x="1166" y="1254"/>
                  </a:lnTo>
                  <a:lnTo>
                    <a:pt x="1173" y="1254"/>
                  </a:lnTo>
                  <a:lnTo>
                    <a:pt x="1173" y="1254"/>
                  </a:lnTo>
                  <a:lnTo>
                    <a:pt x="1174" y="1253"/>
                  </a:lnTo>
                  <a:lnTo>
                    <a:pt x="1176" y="1249"/>
                  </a:lnTo>
                  <a:lnTo>
                    <a:pt x="1176" y="1242"/>
                  </a:lnTo>
                  <a:lnTo>
                    <a:pt x="1176" y="1227"/>
                  </a:lnTo>
                  <a:lnTo>
                    <a:pt x="1176" y="1227"/>
                  </a:lnTo>
                  <a:lnTo>
                    <a:pt x="1176" y="1223"/>
                  </a:lnTo>
                  <a:lnTo>
                    <a:pt x="1176" y="1223"/>
                  </a:lnTo>
                  <a:lnTo>
                    <a:pt x="1177" y="1223"/>
                  </a:lnTo>
                  <a:lnTo>
                    <a:pt x="1177" y="1223"/>
                  </a:lnTo>
                  <a:lnTo>
                    <a:pt x="1177" y="1223"/>
                  </a:lnTo>
                  <a:lnTo>
                    <a:pt x="1184" y="1224"/>
                  </a:lnTo>
                  <a:lnTo>
                    <a:pt x="1184" y="1224"/>
                  </a:lnTo>
                  <a:lnTo>
                    <a:pt x="1190" y="1226"/>
                  </a:lnTo>
                  <a:lnTo>
                    <a:pt x="1190" y="1226"/>
                  </a:lnTo>
                  <a:lnTo>
                    <a:pt x="1194" y="1224"/>
                  </a:lnTo>
                  <a:lnTo>
                    <a:pt x="1197" y="1224"/>
                  </a:lnTo>
                  <a:lnTo>
                    <a:pt x="1200" y="1222"/>
                  </a:lnTo>
                  <a:lnTo>
                    <a:pt x="1200" y="1222"/>
                  </a:lnTo>
                  <a:lnTo>
                    <a:pt x="1201" y="1220"/>
                  </a:lnTo>
                  <a:lnTo>
                    <a:pt x="1201" y="1220"/>
                  </a:lnTo>
                  <a:lnTo>
                    <a:pt x="1207" y="1220"/>
                  </a:lnTo>
                  <a:lnTo>
                    <a:pt x="1207" y="1220"/>
                  </a:lnTo>
                  <a:lnTo>
                    <a:pt x="1211" y="1222"/>
                  </a:lnTo>
                  <a:lnTo>
                    <a:pt x="1216" y="1220"/>
                  </a:lnTo>
                  <a:lnTo>
                    <a:pt x="1216" y="1220"/>
                  </a:lnTo>
                  <a:lnTo>
                    <a:pt x="1217" y="1220"/>
                  </a:lnTo>
                  <a:lnTo>
                    <a:pt x="1217" y="1220"/>
                  </a:lnTo>
                  <a:lnTo>
                    <a:pt x="1220" y="1220"/>
                  </a:lnTo>
                  <a:lnTo>
                    <a:pt x="1220" y="1220"/>
                  </a:lnTo>
                  <a:lnTo>
                    <a:pt x="1223" y="1222"/>
                  </a:lnTo>
                  <a:lnTo>
                    <a:pt x="1226" y="1223"/>
                  </a:lnTo>
                  <a:lnTo>
                    <a:pt x="1226" y="1223"/>
                  </a:lnTo>
                  <a:lnTo>
                    <a:pt x="1227" y="1222"/>
                  </a:lnTo>
                  <a:lnTo>
                    <a:pt x="1230" y="1219"/>
                  </a:lnTo>
                  <a:lnTo>
                    <a:pt x="1230" y="1219"/>
                  </a:lnTo>
                  <a:lnTo>
                    <a:pt x="1231" y="1222"/>
                  </a:lnTo>
                  <a:lnTo>
                    <a:pt x="1236" y="1223"/>
                  </a:lnTo>
                  <a:lnTo>
                    <a:pt x="1236" y="1223"/>
                  </a:lnTo>
                  <a:lnTo>
                    <a:pt x="1237" y="1223"/>
                  </a:lnTo>
                  <a:lnTo>
                    <a:pt x="1237" y="1223"/>
                  </a:lnTo>
                  <a:lnTo>
                    <a:pt x="1243" y="1220"/>
                  </a:lnTo>
                  <a:lnTo>
                    <a:pt x="1243" y="1220"/>
                  </a:lnTo>
                  <a:lnTo>
                    <a:pt x="1243" y="1220"/>
                  </a:lnTo>
                  <a:lnTo>
                    <a:pt x="1251" y="1217"/>
                  </a:lnTo>
                  <a:lnTo>
                    <a:pt x="1260" y="1216"/>
                  </a:lnTo>
                  <a:lnTo>
                    <a:pt x="1260" y="1216"/>
                  </a:lnTo>
                  <a:lnTo>
                    <a:pt x="1269" y="1217"/>
                  </a:lnTo>
                  <a:lnTo>
                    <a:pt x="1276" y="1219"/>
                  </a:lnTo>
                  <a:lnTo>
                    <a:pt x="1280" y="1220"/>
                  </a:lnTo>
                  <a:lnTo>
                    <a:pt x="1281" y="1222"/>
                  </a:lnTo>
                  <a:lnTo>
                    <a:pt x="1281" y="1222"/>
                  </a:lnTo>
                  <a:lnTo>
                    <a:pt x="1286" y="1226"/>
                  </a:lnTo>
                  <a:lnTo>
                    <a:pt x="1290" y="1232"/>
                  </a:lnTo>
                  <a:lnTo>
                    <a:pt x="1291" y="1233"/>
                  </a:lnTo>
                  <a:lnTo>
                    <a:pt x="1291" y="1233"/>
                  </a:lnTo>
                  <a:lnTo>
                    <a:pt x="1296" y="1240"/>
                  </a:lnTo>
                  <a:lnTo>
                    <a:pt x="1299" y="1242"/>
                  </a:lnTo>
                  <a:lnTo>
                    <a:pt x="1301" y="1243"/>
                  </a:lnTo>
                  <a:lnTo>
                    <a:pt x="1301" y="1243"/>
                  </a:lnTo>
                  <a:lnTo>
                    <a:pt x="1301" y="1243"/>
                  </a:lnTo>
                  <a:lnTo>
                    <a:pt x="1304" y="1242"/>
                  </a:lnTo>
                  <a:lnTo>
                    <a:pt x="1307" y="1240"/>
                  </a:lnTo>
                  <a:lnTo>
                    <a:pt x="1307" y="1240"/>
                  </a:lnTo>
                  <a:lnTo>
                    <a:pt x="1310" y="1236"/>
                  </a:lnTo>
                  <a:lnTo>
                    <a:pt x="1310" y="1236"/>
                  </a:lnTo>
                  <a:lnTo>
                    <a:pt x="1313" y="1232"/>
                  </a:lnTo>
                  <a:lnTo>
                    <a:pt x="1314" y="1230"/>
                  </a:lnTo>
                  <a:lnTo>
                    <a:pt x="1317" y="1229"/>
                  </a:lnTo>
                  <a:lnTo>
                    <a:pt x="1317" y="1229"/>
                  </a:lnTo>
                  <a:lnTo>
                    <a:pt x="1320" y="1230"/>
                  </a:lnTo>
                  <a:lnTo>
                    <a:pt x="1320" y="1230"/>
                  </a:lnTo>
                  <a:lnTo>
                    <a:pt x="1326" y="1232"/>
                  </a:lnTo>
                  <a:lnTo>
                    <a:pt x="1330" y="1234"/>
                  </a:lnTo>
                  <a:lnTo>
                    <a:pt x="1336" y="1244"/>
                  </a:lnTo>
                  <a:lnTo>
                    <a:pt x="1336" y="1244"/>
                  </a:lnTo>
                  <a:lnTo>
                    <a:pt x="1339" y="1249"/>
                  </a:lnTo>
                  <a:lnTo>
                    <a:pt x="1341" y="1252"/>
                  </a:lnTo>
                  <a:lnTo>
                    <a:pt x="1343" y="1252"/>
                  </a:lnTo>
                  <a:lnTo>
                    <a:pt x="1343" y="1252"/>
                  </a:lnTo>
                  <a:lnTo>
                    <a:pt x="1347" y="1256"/>
                  </a:lnTo>
                  <a:lnTo>
                    <a:pt x="1349" y="1257"/>
                  </a:lnTo>
                  <a:lnTo>
                    <a:pt x="1347" y="1260"/>
                  </a:lnTo>
                  <a:lnTo>
                    <a:pt x="1347" y="1260"/>
                  </a:lnTo>
                  <a:lnTo>
                    <a:pt x="1346" y="1264"/>
                  </a:lnTo>
                  <a:lnTo>
                    <a:pt x="1344" y="1266"/>
                  </a:lnTo>
                  <a:lnTo>
                    <a:pt x="1344" y="1266"/>
                  </a:lnTo>
                  <a:lnTo>
                    <a:pt x="1341" y="1272"/>
                  </a:lnTo>
                  <a:lnTo>
                    <a:pt x="1341" y="1274"/>
                  </a:lnTo>
                  <a:lnTo>
                    <a:pt x="1343" y="1277"/>
                  </a:lnTo>
                  <a:lnTo>
                    <a:pt x="1343" y="1277"/>
                  </a:lnTo>
                  <a:lnTo>
                    <a:pt x="1344" y="1282"/>
                  </a:lnTo>
                  <a:lnTo>
                    <a:pt x="1347" y="1284"/>
                  </a:lnTo>
                  <a:lnTo>
                    <a:pt x="1347" y="1284"/>
                  </a:lnTo>
                  <a:lnTo>
                    <a:pt x="1349" y="1287"/>
                  </a:lnTo>
                  <a:lnTo>
                    <a:pt x="1349" y="1289"/>
                  </a:lnTo>
                  <a:lnTo>
                    <a:pt x="1349" y="1289"/>
                  </a:lnTo>
                  <a:lnTo>
                    <a:pt x="1346" y="1292"/>
                  </a:lnTo>
                  <a:lnTo>
                    <a:pt x="1346" y="1292"/>
                  </a:lnTo>
                  <a:lnTo>
                    <a:pt x="1344" y="1293"/>
                  </a:lnTo>
                  <a:lnTo>
                    <a:pt x="1343" y="1294"/>
                  </a:lnTo>
                  <a:lnTo>
                    <a:pt x="1341" y="1297"/>
                  </a:lnTo>
                  <a:lnTo>
                    <a:pt x="1341" y="1303"/>
                  </a:lnTo>
                  <a:lnTo>
                    <a:pt x="1341" y="1303"/>
                  </a:lnTo>
                  <a:lnTo>
                    <a:pt x="1346" y="1313"/>
                  </a:lnTo>
                  <a:lnTo>
                    <a:pt x="1350" y="1319"/>
                  </a:lnTo>
                  <a:lnTo>
                    <a:pt x="1350" y="1319"/>
                  </a:lnTo>
                  <a:lnTo>
                    <a:pt x="1353" y="1320"/>
                  </a:lnTo>
                  <a:lnTo>
                    <a:pt x="1353" y="1320"/>
                  </a:lnTo>
                  <a:lnTo>
                    <a:pt x="1354" y="1321"/>
                  </a:lnTo>
                  <a:lnTo>
                    <a:pt x="1354" y="1321"/>
                  </a:lnTo>
                  <a:lnTo>
                    <a:pt x="1354" y="1324"/>
                  </a:lnTo>
                  <a:lnTo>
                    <a:pt x="1354" y="1324"/>
                  </a:lnTo>
                  <a:lnTo>
                    <a:pt x="1354" y="1333"/>
                  </a:lnTo>
                  <a:lnTo>
                    <a:pt x="1354" y="1333"/>
                  </a:lnTo>
                  <a:lnTo>
                    <a:pt x="1353" y="1337"/>
                  </a:lnTo>
                  <a:lnTo>
                    <a:pt x="1353" y="1337"/>
                  </a:lnTo>
                  <a:lnTo>
                    <a:pt x="1351" y="1341"/>
                  </a:lnTo>
                  <a:lnTo>
                    <a:pt x="1353" y="1344"/>
                  </a:lnTo>
                  <a:lnTo>
                    <a:pt x="1356" y="1347"/>
                  </a:lnTo>
                  <a:lnTo>
                    <a:pt x="1356" y="1347"/>
                  </a:lnTo>
                  <a:lnTo>
                    <a:pt x="1360" y="1350"/>
                  </a:lnTo>
                  <a:lnTo>
                    <a:pt x="1360" y="1350"/>
                  </a:lnTo>
                  <a:lnTo>
                    <a:pt x="1363" y="1351"/>
                  </a:lnTo>
                  <a:lnTo>
                    <a:pt x="1364" y="1353"/>
                  </a:lnTo>
                  <a:lnTo>
                    <a:pt x="1364" y="1353"/>
                  </a:lnTo>
                  <a:lnTo>
                    <a:pt x="1366" y="1359"/>
                  </a:lnTo>
                  <a:lnTo>
                    <a:pt x="1370" y="1364"/>
                  </a:lnTo>
                  <a:lnTo>
                    <a:pt x="1379" y="1371"/>
                  </a:lnTo>
                  <a:lnTo>
                    <a:pt x="1379" y="1371"/>
                  </a:lnTo>
                  <a:lnTo>
                    <a:pt x="1380" y="1373"/>
                  </a:lnTo>
                  <a:lnTo>
                    <a:pt x="1383" y="1374"/>
                  </a:lnTo>
                  <a:lnTo>
                    <a:pt x="1383" y="1374"/>
                  </a:lnTo>
                  <a:lnTo>
                    <a:pt x="1383" y="1374"/>
                  </a:lnTo>
                  <a:lnTo>
                    <a:pt x="1386" y="1374"/>
                  </a:lnTo>
                  <a:lnTo>
                    <a:pt x="1389" y="1371"/>
                  </a:lnTo>
                  <a:lnTo>
                    <a:pt x="1389" y="1371"/>
                  </a:lnTo>
                  <a:lnTo>
                    <a:pt x="1391" y="1367"/>
                  </a:lnTo>
                  <a:lnTo>
                    <a:pt x="1393" y="1363"/>
                  </a:lnTo>
                  <a:lnTo>
                    <a:pt x="1393" y="1363"/>
                  </a:lnTo>
                  <a:lnTo>
                    <a:pt x="1394" y="1357"/>
                  </a:lnTo>
                  <a:lnTo>
                    <a:pt x="1394" y="1357"/>
                  </a:lnTo>
                  <a:lnTo>
                    <a:pt x="1399" y="1350"/>
                  </a:lnTo>
                  <a:lnTo>
                    <a:pt x="1399" y="1350"/>
                  </a:lnTo>
                  <a:lnTo>
                    <a:pt x="1401" y="1347"/>
                  </a:lnTo>
                  <a:lnTo>
                    <a:pt x="1403" y="1343"/>
                  </a:lnTo>
                  <a:lnTo>
                    <a:pt x="1403" y="1343"/>
                  </a:lnTo>
                  <a:lnTo>
                    <a:pt x="1406" y="1334"/>
                  </a:lnTo>
                  <a:lnTo>
                    <a:pt x="1406" y="1326"/>
                  </a:lnTo>
                  <a:lnTo>
                    <a:pt x="1406" y="1326"/>
                  </a:lnTo>
                  <a:lnTo>
                    <a:pt x="1406" y="1316"/>
                  </a:lnTo>
                  <a:lnTo>
                    <a:pt x="1403" y="1304"/>
                  </a:lnTo>
                  <a:lnTo>
                    <a:pt x="1403" y="1304"/>
                  </a:lnTo>
                  <a:lnTo>
                    <a:pt x="1400" y="1293"/>
                  </a:lnTo>
                  <a:lnTo>
                    <a:pt x="1400" y="1293"/>
                  </a:lnTo>
                  <a:lnTo>
                    <a:pt x="1400" y="1290"/>
                  </a:lnTo>
                  <a:lnTo>
                    <a:pt x="1401" y="1286"/>
                  </a:lnTo>
                  <a:lnTo>
                    <a:pt x="1401" y="1286"/>
                  </a:lnTo>
                  <a:lnTo>
                    <a:pt x="1403" y="1282"/>
                  </a:lnTo>
                  <a:lnTo>
                    <a:pt x="1403" y="1276"/>
                  </a:lnTo>
                  <a:lnTo>
                    <a:pt x="1403" y="1276"/>
                  </a:lnTo>
                  <a:lnTo>
                    <a:pt x="1403" y="1272"/>
                  </a:lnTo>
                  <a:lnTo>
                    <a:pt x="1403" y="1272"/>
                  </a:lnTo>
                  <a:lnTo>
                    <a:pt x="1403" y="1264"/>
                  </a:lnTo>
                  <a:lnTo>
                    <a:pt x="1400" y="1256"/>
                  </a:lnTo>
                  <a:lnTo>
                    <a:pt x="1400" y="1256"/>
                  </a:lnTo>
                  <a:lnTo>
                    <a:pt x="1399" y="1250"/>
                  </a:lnTo>
                  <a:lnTo>
                    <a:pt x="1399" y="1250"/>
                  </a:lnTo>
                  <a:lnTo>
                    <a:pt x="1396" y="1246"/>
                  </a:lnTo>
                  <a:lnTo>
                    <a:pt x="1396" y="1234"/>
                  </a:lnTo>
                  <a:lnTo>
                    <a:pt x="1396" y="1234"/>
                  </a:lnTo>
                  <a:lnTo>
                    <a:pt x="1396" y="1222"/>
                  </a:lnTo>
                  <a:lnTo>
                    <a:pt x="1399" y="1209"/>
                  </a:lnTo>
                  <a:lnTo>
                    <a:pt x="1403" y="1196"/>
                  </a:lnTo>
                  <a:lnTo>
                    <a:pt x="1406" y="1190"/>
                  </a:lnTo>
                  <a:lnTo>
                    <a:pt x="1410" y="1186"/>
                  </a:lnTo>
                  <a:lnTo>
                    <a:pt x="1410" y="1186"/>
                  </a:lnTo>
                  <a:lnTo>
                    <a:pt x="1417" y="1180"/>
                  </a:lnTo>
                  <a:lnTo>
                    <a:pt x="1420" y="1176"/>
                  </a:lnTo>
                  <a:lnTo>
                    <a:pt x="1424" y="1167"/>
                  </a:lnTo>
                  <a:lnTo>
                    <a:pt x="1424" y="1167"/>
                  </a:lnTo>
                  <a:lnTo>
                    <a:pt x="1426" y="1166"/>
                  </a:lnTo>
                  <a:lnTo>
                    <a:pt x="1426" y="1166"/>
                  </a:lnTo>
                  <a:lnTo>
                    <a:pt x="1429" y="1162"/>
                  </a:lnTo>
                  <a:lnTo>
                    <a:pt x="1434" y="1160"/>
                  </a:lnTo>
                  <a:lnTo>
                    <a:pt x="1434" y="1160"/>
                  </a:lnTo>
                  <a:lnTo>
                    <a:pt x="1440" y="1156"/>
                  </a:lnTo>
                  <a:lnTo>
                    <a:pt x="1440" y="1156"/>
                  </a:lnTo>
                  <a:lnTo>
                    <a:pt x="1447" y="1153"/>
                  </a:lnTo>
                  <a:lnTo>
                    <a:pt x="1447" y="1153"/>
                  </a:lnTo>
                  <a:lnTo>
                    <a:pt x="1454" y="1152"/>
                  </a:lnTo>
                  <a:lnTo>
                    <a:pt x="1459" y="1149"/>
                  </a:lnTo>
                  <a:lnTo>
                    <a:pt x="1460" y="1144"/>
                  </a:lnTo>
                  <a:lnTo>
                    <a:pt x="1460" y="1144"/>
                  </a:lnTo>
                  <a:lnTo>
                    <a:pt x="1464" y="1140"/>
                  </a:lnTo>
                  <a:lnTo>
                    <a:pt x="1469" y="1136"/>
                  </a:lnTo>
                  <a:lnTo>
                    <a:pt x="1469" y="1136"/>
                  </a:lnTo>
                  <a:lnTo>
                    <a:pt x="1474" y="1133"/>
                  </a:lnTo>
                  <a:lnTo>
                    <a:pt x="1480" y="1127"/>
                  </a:lnTo>
                  <a:lnTo>
                    <a:pt x="1480" y="1127"/>
                  </a:lnTo>
                  <a:lnTo>
                    <a:pt x="1486" y="1122"/>
                  </a:lnTo>
                  <a:lnTo>
                    <a:pt x="1490" y="1119"/>
                  </a:lnTo>
                  <a:lnTo>
                    <a:pt x="1496" y="1117"/>
                  </a:lnTo>
                  <a:lnTo>
                    <a:pt x="1500" y="1117"/>
                  </a:lnTo>
                  <a:lnTo>
                    <a:pt x="1500" y="1117"/>
                  </a:lnTo>
                  <a:lnTo>
                    <a:pt x="1506" y="1117"/>
                  </a:lnTo>
                  <a:lnTo>
                    <a:pt x="1510" y="1113"/>
                  </a:lnTo>
                  <a:lnTo>
                    <a:pt x="1510" y="1113"/>
                  </a:lnTo>
                  <a:lnTo>
                    <a:pt x="1516" y="1106"/>
                  </a:lnTo>
                  <a:lnTo>
                    <a:pt x="1516" y="1106"/>
                  </a:lnTo>
                  <a:lnTo>
                    <a:pt x="1521" y="1100"/>
                  </a:lnTo>
                  <a:lnTo>
                    <a:pt x="1527" y="1096"/>
                  </a:lnTo>
                  <a:lnTo>
                    <a:pt x="1531" y="1093"/>
                  </a:lnTo>
                  <a:lnTo>
                    <a:pt x="1536" y="1093"/>
                  </a:lnTo>
                  <a:lnTo>
                    <a:pt x="1536" y="1093"/>
                  </a:lnTo>
                  <a:lnTo>
                    <a:pt x="1544" y="1092"/>
                  </a:lnTo>
                  <a:lnTo>
                    <a:pt x="1544" y="1092"/>
                  </a:lnTo>
                  <a:lnTo>
                    <a:pt x="1551" y="1092"/>
                  </a:lnTo>
                  <a:lnTo>
                    <a:pt x="1553" y="1090"/>
                  </a:lnTo>
                  <a:lnTo>
                    <a:pt x="1554" y="1089"/>
                  </a:lnTo>
                  <a:lnTo>
                    <a:pt x="1554" y="1089"/>
                  </a:lnTo>
                  <a:lnTo>
                    <a:pt x="1556" y="1083"/>
                  </a:lnTo>
                  <a:lnTo>
                    <a:pt x="1554" y="1074"/>
                  </a:lnTo>
                  <a:lnTo>
                    <a:pt x="1554" y="1074"/>
                  </a:lnTo>
                  <a:lnTo>
                    <a:pt x="1554" y="1074"/>
                  </a:lnTo>
                  <a:lnTo>
                    <a:pt x="1554" y="1074"/>
                  </a:lnTo>
                  <a:lnTo>
                    <a:pt x="1559" y="1072"/>
                  </a:lnTo>
                  <a:lnTo>
                    <a:pt x="1563" y="1072"/>
                  </a:lnTo>
                  <a:lnTo>
                    <a:pt x="1563" y="1072"/>
                  </a:lnTo>
                  <a:lnTo>
                    <a:pt x="1566" y="1072"/>
                  </a:lnTo>
                  <a:lnTo>
                    <a:pt x="1566" y="1072"/>
                  </a:lnTo>
                  <a:lnTo>
                    <a:pt x="1571" y="1073"/>
                  </a:lnTo>
                  <a:lnTo>
                    <a:pt x="1576" y="1072"/>
                  </a:lnTo>
                  <a:lnTo>
                    <a:pt x="1576" y="1072"/>
                  </a:lnTo>
                  <a:lnTo>
                    <a:pt x="1577" y="1070"/>
                  </a:lnTo>
                  <a:lnTo>
                    <a:pt x="1579" y="1067"/>
                  </a:lnTo>
                  <a:lnTo>
                    <a:pt x="1579" y="1067"/>
                  </a:lnTo>
                  <a:lnTo>
                    <a:pt x="1577" y="1063"/>
                  </a:lnTo>
                  <a:lnTo>
                    <a:pt x="1576" y="1060"/>
                  </a:lnTo>
                  <a:lnTo>
                    <a:pt x="1569" y="1053"/>
                  </a:lnTo>
                  <a:lnTo>
                    <a:pt x="1569" y="1053"/>
                  </a:lnTo>
                  <a:lnTo>
                    <a:pt x="1564" y="1050"/>
                  </a:lnTo>
                  <a:lnTo>
                    <a:pt x="1564" y="1050"/>
                  </a:lnTo>
                  <a:lnTo>
                    <a:pt x="1567" y="1049"/>
                  </a:lnTo>
                  <a:lnTo>
                    <a:pt x="1567" y="1049"/>
                  </a:lnTo>
                  <a:lnTo>
                    <a:pt x="1571" y="1049"/>
                  </a:lnTo>
                  <a:lnTo>
                    <a:pt x="1576" y="1047"/>
                  </a:lnTo>
                  <a:lnTo>
                    <a:pt x="1580" y="1044"/>
                  </a:lnTo>
                  <a:lnTo>
                    <a:pt x="1583" y="1040"/>
                  </a:lnTo>
                  <a:lnTo>
                    <a:pt x="1583" y="1040"/>
                  </a:lnTo>
                  <a:lnTo>
                    <a:pt x="1581" y="1033"/>
                  </a:lnTo>
                  <a:lnTo>
                    <a:pt x="1580" y="1029"/>
                  </a:lnTo>
                  <a:lnTo>
                    <a:pt x="1576" y="1024"/>
                  </a:lnTo>
                  <a:lnTo>
                    <a:pt x="1571" y="1020"/>
                  </a:lnTo>
                  <a:lnTo>
                    <a:pt x="1571" y="1020"/>
                  </a:lnTo>
                  <a:lnTo>
                    <a:pt x="1567" y="1017"/>
                  </a:lnTo>
                  <a:lnTo>
                    <a:pt x="1567" y="1017"/>
                  </a:lnTo>
                  <a:lnTo>
                    <a:pt x="1571" y="1017"/>
                  </a:lnTo>
                  <a:lnTo>
                    <a:pt x="1571" y="1017"/>
                  </a:lnTo>
                  <a:lnTo>
                    <a:pt x="1574" y="1017"/>
                  </a:lnTo>
                  <a:lnTo>
                    <a:pt x="1574" y="1017"/>
                  </a:lnTo>
                  <a:lnTo>
                    <a:pt x="1579" y="1016"/>
                  </a:lnTo>
                  <a:lnTo>
                    <a:pt x="1581" y="1014"/>
                  </a:lnTo>
                  <a:lnTo>
                    <a:pt x="1581" y="1014"/>
                  </a:lnTo>
                  <a:lnTo>
                    <a:pt x="1583" y="1012"/>
                  </a:lnTo>
                  <a:lnTo>
                    <a:pt x="1583" y="1012"/>
                  </a:lnTo>
                  <a:lnTo>
                    <a:pt x="1580" y="1004"/>
                  </a:lnTo>
                  <a:lnTo>
                    <a:pt x="1580" y="1004"/>
                  </a:lnTo>
                  <a:lnTo>
                    <a:pt x="1580" y="1000"/>
                  </a:lnTo>
                  <a:lnTo>
                    <a:pt x="1580" y="1000"/>
                  </a:lnTo>
                  <a:lnTo>
                    <a:pt x="1581" y="997"/>
                  </a:lnTo>
                  <a:lnTo>
                    <a:pt x="1581" y="997"/>
                  </a:lnTo>
                  <a:lnTo>
                    <a:pt x="1584" y="994"/>
                  </a:lnTo>
                  <a:lnTo>
                    <a:pt x="1584" y="990"/>
                  </a:lnTo>
                  <a:lnTo>
                    <a:pt x="1584" y="990"/>
                  </a:lnTo>
                  <a:lnTo>
                    <a:pt x="1584" y="984"/>
                  </a:lnTo>
                  <a:lnTo>
                    <a:pt x="1584" y="984"/>
                  </a:lnTo>
                  <a:lnTo>
                    <a:pt x="1583" y="982"/>
                  </a:lnTo>
                  <a:lnTo>
                    <a:pt x="1583" y="982"/>
                  </a:lnTo>
                  <a:lnTo>
                    <a:pt x="1586" y="984"/>
                  </a:lnTo>
                  <a:lnTo>
                    <a:pt x="1591" y="990"/>
                  </a:lnTo>
                  <a:lnTo>
                    <a:pt x="1591" y="990"/>
                  </a:lnTo>
                  <a:lnTo>
                    <a:pt x="1593" y="994"/>
                  </a:lnTo>
                  <a:lnTo>
                    <a:pt x="1594" y="999"/>
                  </a:lnTo>
                  <a:lnTo>
                    <a:pt x="1593" y="1000"/>
                  </a:lnTo>
                  <a:lnTo>
                    <a:pt x="1591" y="1003"/>
                  </a:lnTo>
                  <a:lnTo>
                    <a:pt x="1591" y="1003"/>
                  </a:lnTo>
                  <a:lnTo>
                    <a:pt x="1584" y="1010"/>
                  </a:lnTo>
                  <a:lnTo>
                    <a:pt x="1581" y="1017"/>
                  </a:lnTo>
                  <a:lnTo>
                    <a:pt x="1580" y="1019"/>
                  </a:lnTo>
                  <a:lnTo>
                    <a:pt x="1581" y="1022"/>
                  </a:lnTo>
                  <a:lnTo>
                    <a:pt x="1581" y="1022"/>
                  </a:lnTo>
                  <a:lnTo>
                    <a:pt x="1581" y="1022"/>
                  </a:lnTo>
                  <a:lnTo>
                    <a:pt x="1581" y="1022"/>
                  </a:lnTo>
                  <a:lnTo>
                    <a:pt x="1581" y="1022"/>
                  </a:lnTo>
                  <a:lnTo>
                    <a:pt x="1581" y="1022"/>
                  </a:lnTo>
                  <a:lnTo>
                    <a:pt x="1583" y="1022"/>
                  </a:lnTo>
                  <a:lnTo>
                    <a:pt x="1583" y="1022"/>
                  </a:lnTo>
                  <a:lnTo>
                    <a:pt x="1586" y="1022"/>
                  </a:lnTo>
                  <a:lnTo>
                    <a:pt x="1587" y="1020"/>
                  </a:lnTo>
                  <a:lnTo>
                    <a:pt x="1587" y="1020"/>
                  </a:lnTo>
                  <a:lnTo>
                    <a:pt x="1594" y="1014"/>
                  </a:lnTo>
                  <a:lnTo>
                    <a:pt x="1606" y="1002"/>
                  </a:lnTo>
                  <a:lnTo>
                    <a:pt x="1617" y="989"/>
                  </a:lnTo>
                  <a:lnTo>
                    <a:pt x="1620" y="983"/>
                  </a:lnTo>
                  <a:lnTo>
                    <a:pt x="1621" y="977"/>
                  </a:lnTo>
                  <a:lnTo>
                    <a:pt x="1621" y="977"/>
                  </a:lnTo>
                  <a:lnTo>
                    <a:pt x="1620" y="969"/>
                  </a:lnTo>
                  <a:lnTo>
                    <a:pt x="1617" y="963"/>
                  </a:lnTo>
                  <a:lnTo>
                    <a:pt x="1617" y="963"/>
                  </a:lnTo>
                  <a:lnTo>
                    <a:pt x="1616" y="957"/>
                  </a:lnTo>
                  <a:lnTo>
                    <a:pt x="1616" y="953"/>
                  </a:lnTo>
                  <a:lnTo>
                    <a:pt x="1616" y="953"/>
                  </a:lnTo>
                  <a:lnTo>
                    <a:pt x="1617" y="953"/>
                  </a:lnTo>
                  <a:lnTo>
                    <a:pt x="1617" y="953"/>
                  </a:lnTo>
                  <a:lnTo>
                    <a:pt x="1618" y="957"/>
                  </a:lnTo>
                  <a:lnTo>
                    <a:pt x="1618" y="957"/>
                  </a:lnTo>
                  <a:lnTo>
                    <a:pt x="1620" y="962"/>
                  </a:lnTo>
                  <a:lnTo>
                    <a:pt x="1620" y="962"/>
                  </a:lnTo>
                  <a:lnTo>
                    <a:pt x="1626" y="964"/>
                  </a:lnTo>
                  <a:lnTo>
                    <a:pt x="1628" y="966"/>
                  </a:lnTo>
                  <a:lnTo>
                    <a:pt x="1633" y="966"/>
                  </a:lnTo>
                  <a:lnTo>
                    <a:pt x="1633" y="966"/>
                  </a:lnTo>
                  <a:lnTo>
                    <a:pt x="1637" y="966"/>
                  </a:lnTo>
                  <a:lnTo>
                    <a:pt x="1640" y="963"/>
                  </a:lnTo>
                  <a:lnTo>
                    <a:pt x="1640" y="963"/>
                  </a:lnTo>
                  <a:lnTo>
                    <a:pt x="1647" y="956"/>
                  </a:lnTo>
                  <a:lnTo>
                    <a:pt x="1647" y="956"/>
                  </a:lnTo>
                  <a:lnTo>
                    <a:pt x="1653" y="950"/>
                  </a:lnTo>
                  <a:lnTo>
                    <a:pt x="1658" y="942"/>
                  </a:lnTo>
                  <a:lnTo>
                    <a:pt x="1660" y="939"/>
                  </a:lnTo>
                  <a:lnTo>
                    <a:pt x="1660" y="939"/>
                  </a:lnTo>
                  <a:lnTo>
                    <a:pt x="1663" y="930"/>
                  </a:lnTo>
                  <a:lnTo>
                    <a:pt x="1664" y="922"/>
                  </a:lnTo>
                  <a:lnTo>
                    <a:pt x="1664" y="922"/>
                  </a:lnTo>
                  <a:lnTo>
                    <a:pt x="1667" y="914"/>
                  </a:lnTo>
                  <a:lnTo>
                    <a:pt x="1671" y="912"/>
                  </a:lnTo>
                  <a:lnTo>
                    <a:pt x="1673" y="910"/>
                  </a:lnTo>
                  <a:lnTo>
                    <a:pt x="1673" y="910"/>
                  </a:lnTo>
                  <a:lnTo>
                    <a:pt x="1684" y="904"/>
                  </a:lnTo>
                  <a:lnTo>
                    <a:pt x="1690" y="902"/>
                  </a:lnTo>
                  <a:lnTo>
                    <a:pt x="1697" y="900"/>
                  </a:lnTo>
                  <a:lnTo>
                    <a:pt x="1697" y="900"/>
                  </a:lnTo>
                  <a:lnTo>
                    <a:pt x="1713" y="900"/>
                  </a:lnTo>
                  <a:lnTo>
                    <a:pt x="1713" y="900"/>
                  </a:lnTo>
                  <a:lnTo>
                    <a:pt x="1721" y="900"/>
                  </a:lnTo>
                  <a:lnTo>
                    <a:pt x="1721" y="900"/>
                  </a:lnTo>
                  <a:lnTo>
                    <a:pt x="1728" y="900"/>
                  </a:lnTo>
                  <a:lnTo>
                    <a:pt x="1733" y="899"/>
                  </a:lnTo>
                  <a:lnTo>
                    <a:pt x="1733" y="899"/>
                  </a:lnTo>
                  <a:lnTo>
                    <a:pt x="1737" y="894"/>
                  </a:lnTo>
                  <a:lnTo>
                    <a:pt x="1740" y="890"/>
                  </a:lnTo>
                  <a:lnTo>
                    <a:pt x="1740" y="890"/>
                  </a:lnTo>
                  <a:lnTo>
                    <a:pt x="1741" y="889"/>
                  </a:lnTo>
                  <a:lnTo>
                    <a:pt x="1741" y="889"/>
                  </a:lnTo>
                  <a:lnTo>
                    <a:pt x="1743" y="889"/>
                  </a:lnTo>
                  <a:lnTo>
                    <a:pt x="1743" y="889"/>
                  </a:lnTo>
                  <a:lnTo>
                    <a:pt x="1746" y="893"/>
                  </a:lnTo>
                  <a:lnTo>
                    <a:pt x="1748" y="896"/>
                  </a:lnTo>
                  <a:lnTo>
                    <a:pt x="1753" y="896"/>
                  </a:lnTo>
                  <a:lnTo>
                    <a:pt x="1753" y="896"/>
                  </a:lnTo>
                  <a:lnTo>
                    <a:pt x="1757" y="894"/>
                  </a:lnTo>
                  <a:lnTo>
                    <a:pt x="1760" y="890"/>
                  </a:lnTo>
                  <a:lnTo>
                    <a:pt x="1760" y="886"/>
                  </a:lnTo>
                  <a:lnTo>
                    <a:pt x="1761" y="882"/>
                  </a:lnTo>
                  <a:lnTo>
                    <a:pt x="1761" y="880"/>
                  </a:lnTo>
                  <a:lnTo>
                    <a:pt x="1761" y="880"/>
                  </a:lnTo>
                  <a:lnTo>
                    <a:pt x="1760" y="877"/>
                  </a:lnTo>
                  <a:lnTo>
                    <a:pt x="1758" y="874"/>
                  </a:lnTo>
                  <a:lnTo>
                    <a:pt x="1756" y="872"/>
                  </a:lnTo>
                  <a:lnTo>
                    <a:pt x="1756" y="872"/>
                  </a:lnTo>
                  <a:lnTo>
                    <a:pt x="1754" y="872"/>
                  </a:lnTo>
                  <a:lnTo>
                    <a:pt x="1754" y="872"/>
                  </a:lnTo>
                  <a:lnTo>
                    <a:pt x="1756" y="870"/>
                  </a:lnTo>
                  <a:lnTo>
                    <a:pt x="1756" y="870"/>
                  </a:lnTo>
                  <a:lnTo>
                    <a:pt x="1757" y="867"/>
                  </a:lnTo>
                  <a:lnTo>
                    <a:pt x="1760" y="867"/>
                  </a:lnTo>
                  <a:lnTo>
                    <a:pt x="1760" y="867"/>
                  </a:lnTo>
                  <a:lnTo>
                    <a:pt x="1763" y="866"/>
                  </a:lnTo>
                  <a:lnTo>
                    <a:pt x="1766" y="862"/>
                  </a:lnTo>
                  <a:lnTo>
                    <a:pt x="1766" y="862"/>
                  </a:lnTo>
                  <a:lnTo>
                    <a:pt x="1768" y="859"/>
                  </a:lnTo>
                  <a:lnTo>
                    <a:pt x="1768" y="859"/>
                  </a:lnTo>
                  <a:lnTo>
                    <a:pt x="1773" y="852"/>
                  </a:lnTo>
                  <a:lnTo>
                    <a:pt x="1777" y="842"/>
                  </a:lnTo>
                  <a:lnTo>
                    <a:pt x="1777" y="842"/>
                  </a:lnTo>
                  <a:lnTo>
                    <a:pt x="1780" y="839"/>
                  </a:lnTo>
                  <a:lnTo>
                    <a:pt x="1783" y="835"/>
                  </a:lnTo>
                  <a:lnTo>
                    <a:pt x="1788" y="830"/>
                  </a:lnTo>
                  <a:lnTo>
                    <a:pt x="1788" y="830"/>
                  </a:lnTo>
                  <a:lnTo>
                    <a:pt x="1793" y="826"/>
                  </a:lnTo>
                  <a:lnTo>
                    <a:pt x="1793" y="826"/>
                  </a:lnTo>
                  <a:lnTo>
                    <a:pt x="1794" y="825"/>
                  </a:lnTo>
                  <a:lnTo>
                    <a:pt x="1797" y="825"/>
                  </a:lnTo>
                  <a:lnTo>
                    <a:pt x="1797" y="825"/>
                  </a:lnTo>
                  <a:lnTo>
                    <a:pt x="1801" y="825"/>
                  </a:lnTo>
                  <a:lnTo>
                    <a:pt x="1807" y="822"/>
                  </a:lnTo>
                  <a:lnTo>
                    <a:pt x="1807" y="822"/>
                  </a:lnTo>
                  <a:lnTo>
                    <a:pt x="1811" y="820"/>
                  </a:lnTo>
                  <a:lnTo>
                    <a:pt x="1818" y="819"/>
                  </a:lnTo>
                  <a:lnTo>
                    <a:pt x="1818" y="819"/>
                  </a:lnTo>
                  <a:lnTo>
                    <a:pt x="1826" y="817"/>
                  </a:lnTo>
                  <a:lnTo>
                    <a:pt x="1827" y="816"/>
                  </a:lnTo>
                  <a:lnTo>
                    <a:pt x="1830" y="815"/>
                  </a:lnTo>
                  <a:lnTo>
                    <a:pt x="1830" y="815"/>
                  </a:lnTo>
                  <a:lnTo>
                    <a:pt x="1831" y="812"/>
                  </a:lnTo>
                  <a:lnTo>
                    <a:pt x="1834" y="812"/>
                  </a:lnTo>
                  <a:lnTo>
                    <a:pt x="1834" y="812"/>
                  </a:lnTo>
                  <a:lnTo>
                    <a:pt x="1846" y="809"/>
                  </a:lnTo>
                  <a:lnTo>
                    <a:pt x="1846" y="809"/>
                  </a:lnTo>
                  <a:lnTo>
                    <a:pt x="1856" y="806"/>
                  </a:lnTo>
                  <a:lnTo>
                    <a:pt x="1866" y="805"/>
                  </a:lnTo>
                  <a:lnTo>
                    <a:pt x="1866" y="805"/>
                  </a:lnTo>
                  <a:lnTo>
                    <a:pt x="1873" y="802"/>
                  </a:lnTo>
                  <a:lnTo>
                    <a:pt x="1876" y="802"/>
                  </a:lnTo>
                  <a:lnTo>
                    <a:pt x="1877" y="800"/>
                  </a:lnTo>
                  <a:lnTo>
                    <a:pt x="1877" y="800"/>
                  </a:lnTo>
                  <a:lnTo>
                    <a:pt x="1880" y="792"/>
                  </a:lnTo>
                  <a:lnTo>
                    <a:pt x="1880" y="792"/>
                  </a:lnTo>
                  <a:lnTo>
                    <a:pt x="1883" y="792"/>
                  </a:lnTo>
                  <a:lnTo>
                    <a:pt x="1883" y="792"/>
                  </a:lnTo>
                  <a:lnTo>
                    <a:pt x="1886" y="790"/>
                  </a:lnTo>
                  <a:lnTo>
                    <a:pt x="1886" y="790"/>
                  </a:lnTo>
                  <a:lnTo>
                    <a:pt x="1893" y="789"/>
                  </a:lnTo>
                  <a:lnTo>
                    <a:pt x="1897" y="787"/>
                  </a:lnTo>
                  <a:lnTo>
                    <a:pt x="1900" y="783"/>
                  </a:lnTo>
                  <a:lnTo>
                    <a:pt x="1900" y="783"/>
                  </a:lnTo>
                  <a:lnTo>
                    <a:pt x="1900" y="783"/>
                  </a:lnTo>
                  <a:lnTo>
                    <a:pt x="1900" y="783"/>
                  </a:lnTo>
                  <a:lnTo>
                    <a:pt x="1901" y="783"/>
                  </a:lnTo>
                  <a:lnTo>
                    <a:pt x="1901" y="783"/>
                  </a:lnTo>
                  <a:lnTo>
                    <a:pt x="1903" y="786"/>
                  </a:lnTo>
                  <a:lnTo>
                    <a:pt x="1908" y="787"/>
                  </a:lnTo>
                  <a:lnTo>
                    <a:pt x="1908" y="787"/>
                  </a:lnTo>
                  <a:lnTo>
                    <a:pt x="1916" y="785"/>
                  </a:lnTo>
                  <a:lnTo>
                    <a:pt x="1924" y="779"/>
                  </a:lnTo>
                  <a:lnTo>
                    <a:pt x="1924" y="779"/>
                  </a:lnTo>
                  <a:lnTo>
                    <a:pt x="1927" y="779"/>
                  </a:lnTo>
                  <a:lnTo>
                    <a:pt x="1927" y="779"/>
                  </a:lnTo>
                  <a:lnTo>
                    <a:pt x="1930" y="779"/>
                  </a:lnTo>
                  <a:lnTo>
                    <a:pt x="1930" y="779"/>
                  </a:lnTo>
                  <a:lnTo>
                    <a:pt x="1930" y="780"/>
                  </a:lnTo>
                  <a:lnTo>
                    <a:pt x="1927" y="785"/>
                  </a:lnTo>
                  <a:lnTo>
                    <a:pt x="1927" y="785"/>
                  </a:lnTo>
                  <a:lnTo>
                    <a:pt x="1921" y="790"/>
                  </a:lnTo>
                  <a:lnTo>
                    <a:pt x="1921" y="790"/>
                  </a:lnTo>
                  <a:lnTo>
                    <a:pt x="1920" y="792"/>
                  </a:lnTo>
                  <a:lnTo>
                    <a:pt x="1920" y="792"/>
                  </a:lnTo>
                  <a:lnTo>
                    <a:pt x="1916" y="792"/>
                  </a:lnTo>
                  <a:lnTo>
                    <a:pt x="1916" y="792"/>
                  </a:lnTo>
                  <a:lnTo>
                    <a:pt x="1903" y="796"/>
                  </a:lnTo>
                  <a:lnTo>
                    <a:pt x="1893" y="802"/>
                  </a:lnTo>
                  <a:lnTo>
                    <a:pt x="1893" y="802"/>
                  </a:lnTo>
                  <a:lnTo>
                    <a:pt x="1890" y="803"/>
                  </a:lnTo>
                  <a:lnTo>
                    <a:pt x="1890" y="803"/>
                  </a:lnTo>
                  <a:lnTo>
                    <a:pt x="1886" y="807"/>
                  </a:lnTo>
                  <a:lnTo>
                    <a:pt x="1884" y="810"/>
                  </a:lnTo>
                  <a:lnTo>
                    <a:pt x="1884" y="813"/>
                  </a:lnTo>
                  <a:lnTo>
                    <a:pt x="1884" y="813"/>
                  </a:lnTo>
                  <a:lnTo>
                    <a:pt x="1881" y="817"/>
                  </a:lnTo>
                  <a:lnTo>
                    <a:pt x="1881" y="817"/>
                  </a:lnTo>
                  <a:lnTo>
                    <a:pt x="1880" y="823"/>
                  </a:lnTo>
                  <a:lnTo>
                    <a:pt x="1878" y="826"/>
                  </a:lnTo>
                  <a:lnTo>
                    <a:pt x="1880" y="827"/>
                  </a:lnTo>
                  <a:lnTo>
                    <a:pt x="1880" y="827"/>
                  </a:lnTo>
                  <a:lnTo>
                    <a:pt x="1881" y="830"/>
                  </a:lnTo>
                  <a:lnTo>
                    <a:pt x="1884" y="830"/>
                  </a:lnTo>
                  <a:lnTo>
                    <a:pt x="1884" y="830"/>
                  </a:lnTo>
                  <a:lnTo>
                    <a:pt x="1887" y="832"/>
                  </a:lnTo>
                  <a:lnTo>
                    <a:pt x="1888" y="835"/>
                  </a:lnTo>
                  <a:lnTo>
                    <a:pt x="1888" y="835"/>
                  </a:lnTo>
                  <a:lnTo>
                    <a:pt x="1890" y="837"/>
                  </a:lnTo>
                  <a:lnTo>
                    <a:pt x="1893" y="839"/>
                  </a:lnTo>
                  <a:lnTo>
                    <a:pt x="1897" y="837"/>
                  </a:lnTo>
                  <a:lnTo>
                    <a:pt x="1897" y="837"/>
                  </a:lnTo>
                  <a:lnTo>
                    <a:pt x="1904" y="835"/>
                  </a:lnTo>
                  <a:lnTo>
                    <a:pt x="1908" y="832"/>
                  </a:lnTo>
                  <a:lnTo>
                    <a:pt x="1908" y="832"/>
                  </a:lnTo>
                  <a:lnTo>
                    <a:pt x="1910" y="832"/>
                  </a:lnTo>
                  <a:lnTo>
                    <a:pt x="1910" y="832"/>
                  </a:lnTo>
                  <a:lnTo>
                    <a:pt x="1927" y="817"/>
                  </a:lnTo>
                  <a:lnTo>
                    <a:pt x="1927" y="817"/>
                  </a:lnTo>
                  <a:lnTo>
                    <a:pt x="1927" y="817"/>
                  </a:lnTo>
                  <a:lnTo>
                    <a:pt x="1943" y="805"/>
                  </a:lnTo>
                  <a:lnTo>
                    <a:pt x="1943" y="805"/>
                  </a:lnTo>
                  <a:lnTo>
                    <a:pt x="1943" y="805"/>
                  </a:lnTo>
                  <a:lnTo>
                    <a:pt x="1943" y="805"/>
                  </a:lnTo>
                  <a:lnTo>
                    <a:pt x="1943" y="806"/>
                  </a:lnTo>
                  <a:lnTo>
                    <a:pt x="1943" y="806"/>
                  </a:lnTo>
                  <a:lnTo>
                    <a:pt x="1944" y="810"/>
                  </a:lnTo>
                  <a:lnTo>
                    <a:pt x="1946" y="812"/>
                  </a:lnTo>
                  <a:lnTo>
                    <a:pt x="1947" y="812"/>
                  </a:lnTo>
                  <a:lnTo>
                    <a:pt x="1947" y="812"/>
                  </a:lnTo>
                  <a:lnTo>
                    <a:pt x="1950" y="812"/>
                  </a:lnTo>
                  <a:lnTo>
                    <a:pt x="1950" y="812"/>
                  </a:lnTo>
                  <a:lnTo>
                    <a:pt x="1957" y="807"/>
                  </a:lnTo>
                  <a:lnTo>
                    <a:pt x="1957" y="807"/>
                  </a:lnTo>
                  <a:lnTo>
                    <a:pt x="1966" y="800"/>
                  </a:lnTo>
                  <a:lnTo>
                    <a:pt x="1971" y="797"/>
                  </a:lnTo>
                  <a:lnTo>
                    <a:pt x="1976" y="796"/>
                  </a:lnTo>
                  <a:lnTo>
                    <a:pt x="1976" y="796"/>
                  </a:lnTo>
                  <a:lnTo>
                    <a:pt x="1984" y="796"/>
                  </a:lnTo>
                  <a:lnTo>
                    <a:pt x="1993" y="795"/>
                  </a:lnTo>
                  <a:lnTo>
                    <a:pt x="2000" y="792"/>
                  </a:lnTo>
                  <a:lnTo>
                    <a:pt x="2006" y="789"/>
                  </a:lnTo>
                  <a:lnTo>
                    <a:pt x="2006" y="789"/>
                  </a:lnTo>
                  <a:lnTo>
                    <a:pt x="2010" y="787"/>
                  </a:lnTo>
                  <a:lnTo>
                    <a:pt x="2014" y="786"/>
                  </a:lnTo>
                  <a:lnTo>
                    <a:pt x="2014" y="786"/>
                  </a:lnTo>
                  <a:lnTo>
                    <a:pt x="2018" y="786"/>
                  </a:lnTo>
                  <a:lnTo>
                    <a:pt x="2020" y="785"/>
                  </a:lnTo>
                  <a:lnTo>
                    <a:pt x="2020" y="785"/>
                  </a:lnTo>
                  <a:lnTo>
                    <a:pt x="2020" y="783"/>
                  </a:lnTo>
                  <a:lnTo>
                    <a:pt x="2020" y="783"/>
                  </a:lnTo>
                  <a:lnTo>
                    <a:pt x="2020" y="780"/>
                  </a:lnTo>
                  <a:lnTo>
                    <a:pt x="2017" y="779"/>
                  </a:lnTo>
                  <a:lnTo>
                    <a:pt x="2017" y="779"/>
                  </a:lnTo>
                  <a:lnTo>
                    <a:pt x="2017" y="779"/>
                  </a:lnTo>
                  <a:lnTo>
                    <a:pt x="2017" y="779"/>
                  </a:lnTo>
                  <a:lnTo>
                    <a:pt x="2026" y="776"/>
                  </a:lnTo>
                  <a:lnTo>
                    <a:pt x="2026" y="776"/>
                  </a:lnTo>
                  <a:lnTo>
                    <a:pt x="2047" y="767"/>
                  </a:lnTo>
                  <a:lnTo>
                    <a:pt x="2053" y="765"/>
                  </a:lnTo>
                  <a:lnTo>
                    <a:pt x="2054" y="762"/>
                  </a:lnTo>
                  <a:lnTo>
                    <a:pt x="2054" y="762"/>
                  </a:lnTo>
                  <a:lnTo>
                    <a:pt x="2054" y="757"/>
                  </a:lnTo>
                  <a:lnTo>
                    <a:pt x="2053" y="756"/>
                  </a:lnTo>
                  <a:lnTo>
                    <a:pt x="2048" y="752"/>
                  </a:lnTo>
                  <a:lnTo>
                    <a:pt x="2048" y="752"/>
                  </a:lnTo>
                  <a:lnTo>
                    <a:pt x="2050" y="747"/>
                  </a:lnTo>
                  <a:lnTo>
                    <a:pt x="2050" y="747"/>
                  </a:lnTo>
                  <a:lnTo>
                    <a:pt x="2051" y="740"/>
                  </a:lnTo>
                  <a:lnTo>
                    <a:pt x="2051" y="736"/>
                  </a:lnTo>
                  <a:lnTo>
                    <a:pt x="2051" y="736"/>
                  </a:lnTo>
                  <a:lnTo>
                    <a:pt x="2051" y="735"/>
                  </a:lnTo>
                  <a:lnTo>
                    <a:pt x="2051" y="735"/>
                  </a:lnTo>
                  <a:lnTo>
                    <a:pt x="2050" y="732"/>
                  </a:lnTo>
                  <a:lnTo>
                    <a:pt x="2048" y="730"/>
                  </a:lnTo>
                  <a:lnTo>
                    <a:pt x="2046" y="730"/>
                  </a:lnTo>
                  <a:lnTo>
                    <a:pt x="2046" y="730"/>
                  </a:lnTo>
                  <a:lnTo>
                    <a:pt x="2043" y="730"/>
                  </a:lnTo>
                  <a:lnTo>
                    <a:pt x="2043" y="730"/>
                  </a:lnTo>
                  <a:lnTo>
                    <a:pt x="2037" y="736"/>
                  </a:lnTo>
                  <a:lnTo>
                    <a:pt x="2037" y="736"/>
                  </a:lnTo>
                  <a:lnTo>
                    <a:pt x="2034" y="740"/>
                  </a:lnTo>
                  <a:lnTo>
                    <a:pt x="2034" y="740"/>
                  </a:lnTo>
                  <a:lnTo>
                    <a:pt x="2017" y="755"/>
                  </a:lnTo>
                  <a:lnTo>
                    <a:pt x="2017" y="755"/>
                  </a:lnTo>
                  <a:lnTo>
                    <a:pt x="2014" y="760"/>
                  </a:lnTo>
                  <a:lnTo>
                    <a:pt x="2014" y="760"/>
                  </a:lnTo>
                  <a:lnTo>
                    <a:pt x="2013" y="763"/>
                  </a:lnTo>
                  <a:lnTo>
                    <a:pt x="2008" y="766"/>
                  </a:lnTo>
                  <a:lnTo>
                    <a:pt x="2008" y="766"/>
                  </a:lnTo>
                  <a:lnTo>
                    <a:pt x="2007" y="767"/>
                  </a:lnTo>
                  <a:lnTo>
                    <a:pt x="2007" y="767"/>
                  </a:lnTo>
                  <a:lnTo>
                    <a:pt x="2007" y="766"/>
                  </a:lnTo>
                  <a:lnTo>
                    <a:pt x="2007" y="766"/>
                  </a:lnTo>
                  <a:lnTo>
                    <a:pt x="2004" y="765"/>
                  </a:lnTo>
                  <a:lnTo>
                    <a:pt x="2003" y="765"/>
                  </a:lnTo>
                  <a:lnTo>
                    <a:pt x="2001" y="765"/>
                  </a:lnTo>
                  <a:lnTo>
                    <a:pt x="2001" y="765"/>
                  </a:lnTo>
                  <a:lnTo>
                    <a:pt x="1998" y="766"/>
                  </a:lnTo>
                  <a:lnTo>
                    <a:pt x="1996" y="767"/>
                  </a:lnTo>
                  <a:lnTo>
                    <a:pt x="1996" y="767"/>
                  </a:lnTo>
                  <a:lnTo>
                    <a:pt x="1996" y="767"/>
                  </a:lnTo>
                  <a:lnTo>
                    <a:pt x="1994" y="769"/>
                  </a:lnTo>
                  <a:lnTo>
                    <a:pt x="1994" y="769"/>
                  </a:lnTo>
                  <a:lnTo>
                    <a:pt x="1990" y="767"/>
                  </a:lnTo>
                  <a:lnTo>
                    <a:pt x="1986" y="767"/>
                  </a:lnTo>
                  <a:lnTo>
                    <a:pt x="1986" y="767"/>
                  </a:lnTo>
                  <a:lnTo>
                    <a:pt x="1984" y="767"/>
                  </a:lnTo>
                  <a:lnTo>
                    <a:pt x="1984" y="767"/>
                  </a:lnTo>
                  <a:lnTo>
                    <a:pt x="1981" y="767"/>
                  </a:lnTo>
                  <a:lnTo>
                    <a:pt x="1981" y="767"/>
                  </a:lnTo>
                  <a:lnTo>
                    <a:pt x="1978" y="766"/>
                  </a:lnTo>
                  <a:lnTo>
                    <a:pt x="1974" y="766"/>
                  </a:lnTo>
                  <a:lnTo>
                    <a:pt x="1974" y="766"/>
                  </a:lnTo>
                  <a:lnTo>
                    <a:pt x="1967" y="765"/>
                  </a:lnTo>
                  <a:lnTo>
                    <a:pt x="1967" y="765"/>
                  </a:lnTo>
                  <a:lnTo>
                    <a:pt x="1964" y="762"/>
                  </a:lnTo>
                  <a:lnTo>
                    <a:pt x="1963" y="762"/>
                  </a:lnTo>
                  <a:lnTo>
                    <a:pt x="1963" y="762"/>
                  </a:lnTo>
                  <a:lnTo>
                    <a:pt x="1961" y="760"/>
                  </a:lnTo>
                  <a:lnTo>
                    <a:pt x="1961" y="760"/>
                  </a:lnTo>
                  <a:lnTo>
                    <a:pt x="1963" y="759"/>
                  </a:lnTo>
                  <a:lnTo>
                    <a:pt x="1963" y="757"/>
                  </a:lnTo>
                  <a:lnTo>
                    <a:pt x="1963" y="757"/>
                  </a:lnTo>
                  <a:lnTo>
                    <a:pt x="1961" y="756"/>
                  </a:lnTo>
                  <a:lnTo>
                    <a:pt x="1957" y="756"/>
                  </a:lnTo>
                  <a:lnTo>
                    <a:pt x="1957" y="756"/>
                  </a:lnTo>
                  <a:lnTo>
                    <a:pt x="1953" y="755"/>
                  </a:lnTo>
                  <a:lnTo>
                    <a:pt x="1951" y="753"/>
                  </a:lnTo>
                  <a:lnTo>
                    <a:pt x="1951" y="753"/>
                  </a:lnTo>
                  <a:lnTo>
                    <a:pt x="1951" y="745"/>
                  </a:lnTo>
                  <a:lnTo>
                    <a:pt x="1951" y="745"/>
                  </a:lnTo>
                  <a:lnTo>
                    <a:pt x="1953" y="735"/>
                  </a:lnTo>
                  <a:lnTo>
                    <a:pt x="1951" y="730"/>
                  </a:lnTo>
                  <a:lnTo>
                    <a:pt x="1950" y="729"/>
                  </a:lnTo>
                  <a:lnTo>
                    <a:pt x="1950" y="729"/>
                  </a:lnTo>
                  <a:lnTo>
                    <a:pt x="1956" y="722"/>
                  </a:lnTo>
                  <a:lnTo>
                    <a:pt x="1961" y="716"/>
                  </a:lnTo>
                  <a:lnTo>
                    <a:pt x="1961" y="716"/>
                  </a:lnTo>
                  <a:lnTo>
                    <a:pt x="1967" y="710"/>
                  </a:lnTo>
                  <a:lnTo>
                    <a:pt x="1968" y="707"/>
                  </a:lnTo>
                  <a:lnTo>
                    <a:pt x="1968" y="707"/>
                  </a:lnTo>
                  <a:lnTo>
                    <a:pt x="1968" y="705"/>
                  </a:lnTo>
                  <a:lnTo>
                    <a:pt x="1968" y="705"/>
                  </a:lnTo>
                  <a:lnTo>
                    <a:pt x="1966" y="703"/>
                  </a:lnTo>
                  <a:lnTo>
                    <a:pt x="1966" y="703"/>
                  </a:lnTo>
                  <a:lnTo>
                    <a:pt x="1956" y="706"/>
                  </a:lnTo>
                  <a:lnTo>
                    <a:pt x="1956" y="706"/>
                  </a:lnTo>
                  <a:lnTo>
                    <a:pt x="1956" y="706"/>
                  </a:lnTo>
                  <a:lnTo>
                    <a:pt x="1956" y="706"/>
                  </a:lnTo>
                  <a:lnTo>
                    <a:pt x="1958" y="703"/>
                  </a:lnTo>
                  <a:lnTo>
                    <a:pt x="1958" y="703"/>
                  </a:lnTo>
                  <a:lnTo>
                    <a:pt x="1964" y="700"/>
                  </a:lnTo>
                  <a:lnTo>
                    <a:pt x="1968" y="699"/>
                  </a:lnTo>
                  <a:lnTo>
                    <a:pt x="1968" y="699"/>
                  </a:lnTo>
                  <a:lnTo>
                    <a:pt x="1973" y="697"/>
                  </a:lnTo>
                  <a:lnTo>
                    <a:pt x="1977" y="695"/>
                  </a:lnTo>
                  <a:lnTo>
                    <a:pt x="1977" y="695"/>
                  </a:lnTo>
                  <a:lnTo>
                    <a:pt x="1980" y="693"/>
                  </a:lnTo>
                  <a:lnTo>
                    <a:pt x="1983" y="689"/>
                  </a:lnTo>
                  <a:lnTo>
                    <a:pt x="1984" y="685"/>
                  </a:lnTo>
                  <a:lnTo>
                    <a:pt x="1984" y="682"/>
                  </a:lnTo>
                  <a:lnTo>
                    <a:pt x="1983" y="679"/>
                  </a:lnTo>
                  <a:lnTo>
                    <a:pt x="1983" y="679"/>
                  </a:lnTo>
                  <a:lnTo>
                    <a:pt x="1981" y="676"/>
                  </a:lnTo>
                  <a:lnTo>
                    <a:pt x="1977" y="672"/>
                  </a:lnTo>
                  <a:lnTo>
                    <a:pt x="1971" y="669"/>
                  </a:lnTo>
                  <a:lnTo>
                    <a:pt x="1960" y="667"/>
                  </a:lnTo>
                  <a:lnTo>
                    <a:pt x="1960" y="667"/>
                  </a:lnTo>
                  <a:lnTo>
                    <a:pt x="1943" y="669"/>
                  </a:lnTo>
                  <a:lnTo>
                    <a:pt x="1923" y="675"/>
                  </a:lnTo>
                  <a:lnTo>
                    <a:pt x="1923" y="675"/>
                  </a:lnTo>
                  <a:lnTo>
                    <a:pt x="1900" y="682"/>
                  </a:lnTo>
                  <a:lnTo>
                    <a:pt x="1881" y="689"/>
                  </a:lnTo>
                  <a:lnTo>
                    <a:pt x="1867" y="695"/>
                  </a:lnTo>
                  <a:lnTo>
                    <a:pt x="1857" y="700"/>
                  </a:lnTo>
                  <a:lnTo>
                    <a:pt x="1857" y="700"/>
                  </a:lnTo>
                  <a:lnTo>
                    <a:pt x="1868" y="689"/>
                  </a:lnTo>
                  <a:lnTo>
                    <a:pt x="1868" y="689"/>
                  </a:lnTo>
                  <a:lnTo>
                    <a:pt x="1880" y="679"/>
                  </a:lnTo>
                  <a:lnTo>
                    <a:pt x="1881" y="677"/>
                  </a:lnTo>
                  <a:lnTo>
                    <a:pt x="1881" y="677"/>
                  </a:lnTo>
                  <a:lnTo>
                    <a:pt x="1890" y="673"/>
                  </a:lnTo>
                  <a:lnTo>
                    <a:pt x="1900" y="670"/>
                  </a:lnTo>
                  <a:lnTo>
                    <a:pt x="1900" y="670"/>
                  </a:lnTo>
                  <a:lnTo>
                    <a:pt x="1906" y="670"/>
                  </a:lnTo>
                  <a:lnTo>
                    <a:pt x="1910" y="670"/>
                  </a:lnTo>
                  <a:lnTo>
                    <a:pt x="1910" y="670"/>
                  </a:lnTo>
                  <a:lnTo>
                    <a:pt x="1916" y="672"/>
                  </a:lnTo>
                  <a:lnTo>
                    <a:pt x="1916" y="672"/>
                  </a:lnTo>
                  <a:lnTo>
                    <a:pt x="1918" y="670"/>
                  </a:lnTo>
                  <a:lnTo>
                    <a:pt x="1921" y="667"/>
                  </a:lnTo>
                  <a:lnTo>
                    <a:pt x="1921" y="667"/>
                  </a:lnTo>
                  <a:lnTo>
                    <a:pt x="1924" y="662"/>
                  </a:lnTo>
                  <a:lnTo>
                    <a:pt x="1930" y="655"/>
                  </a:lnTo>
                  <a:lnTo>
                    <a:pt x="1938" y="649"/>
                  </a:lnTo>
                  <a:lnTo>
                    <a:pt x="1947" y="645"/>
                  </a:lnTo>
                  <a:lnTo>
                    <a:pt x="1947" y="645"/>
                  </a:lnTo>
                  <a:lnTo>
                    <a:pt x="1953" y="643"/>
                  </a:lnTo>
                  <a:lnTo>
                    <a:pt x="1953" y="643"/>
                  </a:lnTo>
                  <a:lnTo>
                    <a:pt x="1960" y="642"/>
                  </a:lnTo>
                  <a:lnTo>
                    <a:pt x="1960" y="642"/>
                  </a:lnTo>
                  <a:lnTo>
                    <a:pt x="1971" y="642"/>
                  </a:lnTo>
                  <a:lnTo>
                    <a:pt x="1974" y="642"/>
                  </a:lnTo>
                  <a:lnTo>
                    <a:pt x="1974" y="642"/>
                  </a:lnTo>
                  <a:lnTo>
                    <a:pt x="1998" y="642"/>
                  </a:lnTo>
                  <a:lnTo>
                    <a:pt x="1998" y="642"/>
                  </a:lnTo>
                  <a:lnTo>
                    <a:pt x="2008" y="642"/>
                  </a:lnTo>
                  <a:lnTo>
                    <a:pt x="2020" y="642"/>
                  </a:lnTo>
                  <a:lnTo>
                    <a:pt x="2020" y="642"/>
                  </a:lnTo>
                  <a:lnTo>
                    <a:pt x="2041" y="643"/>
                  </a:lnTo>
                  <a:lnTo>
                    <a:pt x="2061" y="645"/>
                  </a:lnTo>
                  <a:lnTo>
                    <a:pt x="2061" y="645"/>
                  </a:lnTo>
                  <a:lnTo>
                    <a:pt x="2067" y="645"/>
                  </a:lnTo>
                  <a:lnTo>
                    <a:pt x="2067" y="645"/>
                  </a:lnTo>
                  <a:lnTo>
                    <a:pt x="2070" y="643"/>
                  </a:lnTo>
                  <a:lnTo>
                    <a:pt x="2070" y="643"/>
                  </a:lnTo>
                  <a:lnTo>
                    <a:pt x="2090" y="640"/>
                  </a:lnTo>
                  <a:lnTo>
                    <a:pt x="2101" y="637"/>
                  </a:lnTo>
                  <a:lnTo>
                    <a:pt x="2111" y="632"/>
                  </a:lnTo>
                  <a:lnTo>
                    <a:pt x="2111" y="632"/>
                  </a:lnTo>
                  <a:lnTo>
                    <a:pt x="2120" y="625"/>
                  </a:lnTo>
                  <a:lnTo>
                    <a:pt x="2120" y="625"/>
                  </a:lnTo>
                  <a:lnTo>
                    <a:pt x="2134" y="615"/>
                  </a:lnTo>
                  <a:lnTo>
                    <a:pt x="2140" y="610"/>
                  </a:lnTo>
                  <a:lnTo>
                    <a:pt x="2147" y="610"/>
                  </a:lnTo>
                  <a:lnTo>
                    <a:pt x="2147" y="610"/>
                  </a:lnTo>
                  <a:lnTo>
                    <a:pt x="2156" y="610"/>
                  </a:lnTo>
                  <a:lnTo>
                    <a:pt x="2156" y="610"/>
                  </a:lnTo>
                  <a:lnTo>
                    <a:pt x="2164" y="612"/>
                  </a:lnTo>
                  <a:lnTo>
                    <a:pt x="2164" y="612"/>
                  </a:lnTo>
                  <a:lnTo>
                    <a:pt x="2168" y="610"/>
                  </a:lnTo>
                  <a:lnTo>
                    <a:pt x="2174" y="609"/>
                  </a:lnTo>
                  <a:lnTo>
                    <a:pt x="2174" y="609"/>
                  </a:lnTo>
                  <a:lnTo>
                    <a:pt x="2181" y="605"/>
                  </a:lnTo>
                  <a:lnTo>
                    <a:pt x="2187" y="600"/>
                  </a:lnTo>
                  <a:lnTo>
                    <a:pt x="2187" y="600"/>
                  </a:lnTo>
                  <a:lnTo>
                    <a:pt x="2194" y="596"/>
                  </a:lnTo>
                  <a:lnTo>
                    <a:pt x="2194" y="596"/>
                  </a:lnTo>
                  <a:lnTo>
                    <a:pt x="2198" y="595"/>
                  </a:lnTo>
                  <a:lnTo>
                    <a:pt x="2198" y="595"/>
                  </a:lnTo>
                  <a:lnTo>
                    <a:pt x="2207" y="595"/>
                  </a:lnTo>
                  <a:lnTo>
                    <a:pt x="2211" y="592"/>
                  </a:lnTo>
                  <a:lnTo>
                    <a:pt x="2214" y="589"/>
                  </a:lnTo>
                  <a:lnTo>
                    <a:pt x="2214" y="589"/>
                  </a:lnTo>
                  <a:lnTo>
                    <a:pt x="2216" y="586"/>
                  </a:lnTo>
                  <a:lnTo>
                    <a:pt x="2216" y="583"/>
                  </a:lnTo>
                  <a:lnTo>
                    <a:pt x="2216" y="583"/>
                  </a:lnTo>
                  <a:lnTo>
                    <a:pt x="2213" y="579"/>
                  </a:lnTo>
                  <a:lnTo>
                    <a:pt x="2207" y="576"/>
                  </a:lnTo>
                  <a:lnTo>
                    <a:pt x="2207" y="576"/>
                  </a:lnTo>
                  <a:lnTo>
                    <a:pt x="2213" y="575"/>
                  </a:lnTo>
                  <a:lnTo>
                    <a:pt x="2214" y="573"/>
                  </a:lnTo>
                  <a:lnTo>
                    <a:pt x="2216" y="572"/>
                  </a:lnTo>
                  <a:lnTo>
                    <a:pt x="2216" y="572"/>
                  </a:lnTo>
                  <a:lnTo>
                    <a:pt x="2214" y="567"/>
                  </a:lnTo>
                  <a:lnTo>
                    <a:pt x="2213" y="566"/>
                  </a:lnTo>
                  <a:lnTo>
                    <a:pt x="2213" y="566"/>
                  </a:lnTo>
                  <a:lnTo>
                    <a:pt x="2213" y="565"/>
                  </a:lnTo>
                  <a:lnTo>
                    <a:pt x="2213" y="565"/>
                  </a:lnTo>
                  <a:lnTo>
                    <a:pt x="2214" y="565"/>
                  </a:lnTo>
                  <a:lnTo>
                    <a:pt x="2214" y="565"/>
                  </a:lnTo>
                  <a:lnTo>
                    <a:pt x="2221" y="563"/>
                  </a:lnTo>
                  <a:lnTo>
                    <a:pt x="2221" y="563"/>
                  </a:lnTo>
                  <a:lnTo>
                    <a:pt x="2226" y="562"/>
                  </a:lnTo>
                  <a:lnTo>
                    <a:pt x="2227" y="562"/>
                  </a:lnTo>
                  <a:lnTo>
                    <a:pt x="2228" y="560"/>
                  </a:lnTo>
                  <a:lnTo>
                    <a:pt x="2228" y="560"/>
                  </a:lnTo>
                  <a:lnTo>
                    <a:pt x="2228" y="556"/>
                  </a:lnTo>
                  <a:lnTo>
                    <a:pt x="2226" y="553"/>
                  </a:lnTo>
                  <a:lnTo>
                    <a:pt x="2226" y="553"/>
                  </a:lnTo>
                  <a:lnTo>
                    <a:pt x="2221" y="547"/>
                  </a:lnTo>
                  <a:lnTo>
                    <a:pt x="2216" y="543"/>
                  </a:lnTo>
                  <a:lnTo>
                    <a:pt x="2211" y="540"/>
                  </a:lnTo>
                  <a:lnTo>
                    <a:pt x="2206" y="540"/>
                  </a:lnTo>
                  <a:lnTo>
                    <a:pt x="2206" y="540"/>
                  </a:lnTo>
                  <a:lnTo>
                    <a:pt x="2200" y="542"/>
                  </a:lnTo>
                  <a:lnTo>
                    <a:pt x="2197" y="545"/>
                  </a:lnTo>
                  <a:lnTo>
                    <a:pt x="2196" y="545"/>
                  </a:lnTo>
                  <a:lnTo>
                    <a:pt x="2196" y="545"/>
                  </a:lnTo>
                  <a:lnTo>
                    <a:pt x="2194" y="546"/>
                  </a:lnTo>
                  <a:lnTo>
                    <a:pt x="2194" y="546"/>
                  </a:lnTo>
                  <a:lnTo>
                    <a:pt x="2194" y="542"/>
                  </a:lnTo>
                  <a:lnTo>
                    <a:pt x="2194" y="542"/>
                  </a:lnTo>
                  <a:lnTo>
                    <a:pt x="2196" y="536"/>
                  </a:lnTo>
                  <a:lnTo>
                    <a:pt x="2196" y="532"/>
                  </a:lnTo>
                  <a:lnTo>
                    <a:pt x="2194" y="530"/>
                  </a:lnTo>
                  <a:lnTo>
                    <a:pt x="2194" y="530"/>
                  </a:lnTo>
                  <a:lnTo>
                    <a:pt x="2194" y="530"/>
                  </a:lnTo>
                  <a:lnTo>
                    <a:pt x="2194" y="530"/>
                  </a:lnTo>
                  <a:lnTo>
                    <a:pt x="2197" y="530"/>
                  </a:lnTo>
                  <a:lnTo>
                    <a:pt x="2197" y="530"/>
                  </a:lnTo>
                  <a:lnTo>
                    <a:pt x="2201" y="529"/>
                  </a:lnTo>
                  <a:lnTo>
                    <a:pt x="2204" y="527"/>
                  </a:lnTo>
                  <a:lnTo>
                    <a:pt x="2204" y="527"/>
                  </a:lnTo>
                  <a:lnTo>
                    <a:pt x="2204" y="525"/>
                  </a:lnTo>
                  <a:lnTo>
                    <a:pt x="2203" y="523"/>
                  </a:lnTo>
                  <a:lnTo>
                    <a:pt x="2203" y="522"/>
                  </a:lnTo>
                  <a:lnTo>
                    <a:pt x="2203" y="522"/>
                  </a:lnTo>
                  <a:lnTo>
                    <a:pt x="2204" y="520"/>
                  </a:lnTo>
                  <a:lnTo>
                    <a:pt x="2206" y="516"/>
                  </a:lnTo>
                  <a:lnTo>
                    <a:pt x="2206" y="516"/>
                  </a:lnTo>
                  <a:lnTo>
                    <a:pt x="2204" y="515"/>
                  </a:lnTo>
                  <a:lnTo>
                    <a:pt x="2203" y="513"/>
                  </a:lnTo>
                  <a:lnTo>
                    <a:pt x="2197" y="512"/>
                  </a:lnTo>
                  <a:lnTo>
                    <a:pt x="2197" y="512"/>
                  </a:lnTo>
                  <a:lnTo>
                    <a:pt x="2194" y="510"/>
                  </a:lnTo>
                  <a:lnTo>
                    <a:pt x="2194" y="510"/>
                  </a:lnTo>
                  <a:lnTo>
                    <a:pt x="2193" y="510"/>
                  </a:lnTo>
                  <a:lnTo>
                    <a:pt x="2190" y="510"/>
                  </a:lnTo>
                  <a:lnTo>
                    <a:pt x="2190" y="510"/>
                  </a:lnTo>
                  <a:lnTo>
                    <a:pt x="2186" y="512"/>
                  </a:lnTo>
                  <a:lnTo>
                    <a:pt x="2184" y="512"/>
                  </a:lnTo>
                  <a:lnTo>
                    <a:pt x="2181" y="510"/>
                  </a:lnTo>
                  <a:lnTo>
                    <a:pt x="2181" y="510"/>
                  </a:lnTo>
                  <a:lnTo>
                    <a:pt x="2178" y="507"/>
                  </a:lnTo>
                  <a:lnTo>
                    <a:pt x="2177" y="503"/>
                  </a:lnTo>
                  <a:lnTo>
                    <a:pt x="2177" y="503"/>
                  </a:lnTo>
                  <a:lnTo>
                    <a:pt x="2176" y="499"/>
                  </a:lnTo>
                  <a:lnTo>
                    <a:pt x="2174" y="497"/>
                  </a:lnTo>
                  <a:lnTo>
                    <a:pt x="2171" y="497"/>
                  </a:lnTo>
                  <a:lnTo>
                    <a:pt x="2171" y="497"/>
                  </a:lnTo>
                  <a:lnTo>
                    <a:pt x="2170" y="497"/>
                  </a:lnTo>
                  <a:lnTo>
                    <a:pt x="2170" y="497"/>
                  </a:lnTo>
                  <a:lnTo>
                    <a:pt x="2160" y="502"/>
                  </a:lnTo>
                  <a:lnTo>
                    <a:pt x="2160" y="502"/>
                  </a:lnTo>
                  <a:lnTo>
                    <a:pt x="2153" y="506"/>
                  </a:lnTo>
                  <a:lnTo>
                    <a:pt x="2153" y="506"/>
                  </a:lnTo>
                  <a:lnTo>
                    <a:pt x="2146" y="505"/>
                  </a:lnTo>
                  <a:lnTo>
                    <a:pt x="2146" y="505"/>
                  </a:lnTo>
                  <a:lnTo>
                    <a:pt x="2147" y="503"/>
                  </a:lnTo>
                  <a:lnTo>
                    <a:pt x="2147" y="503"/>
                  </a:lnTo>
                  <a:lnTo>
                    <a:pt x="2153" y="502"/>
                  </a:lnTo>
                  <a:lnTo>
                    <a:pt x="2154" y="500"/>
                  </a:lnTo>
                  <a:lnTo>
                    <a:pt x="2156" y="497"/>
                  </a:lnTo>
                  <a:lnTo>
                    <a:pt x="2156" y="497"/>
                  </a:lnTo>
                  <a:lnTo>
                    <a:pt x="2156" y="495"/>
                  </a:lnTo>
                  <a:lnTo>
                    <a:pt x="2154" y="492"/>
                  </a:lnTo>
                  <a:lnTo>
                    <a:pt x="2154" y="492"/>
                  </a:lnTo>
                  <a:lnTo>
                    <a:pt x="2148" y="483"/>
                  </a:lnTo>
                  <a:lnTo>
                    <a:pt x="2148" y="483"/>
                  </a:lnTo>
                  <a:lnTo>
                    <a:pt x="2144" y="477"/>
                  </a:lnTo>
                  <a:lnTo>
                    <a:pt x="2141" y="472"/>
                  </a:lnTo>
                  <a:lnTo>
                    <a:pt x="2141" y="472"/>
                  </a:lnTo>
                  <a:lnTo>
                    <a:pt x="2141" y="469"/>
                  </a:lnTo>
                  <a:lnTo>
                    <a:pt x="2143" y="466"/>
                  </a:lnTo>
                  <a:lnTo>
                    <a:pt x="2143" y="466"/>
                  </a:lnTo>
                  <a:lnTo>
                    <a:pt x="2146" y="463"/>
                  </a:lnTo>
                  <a:lnTo>
                    <a:pt x="2147" y="459"/>
                  </a:lnTo>
                  <a:lnTo>
                    <a:pt x="2147" y="459"/>
                  </a:lnTo>
                  <a:lnTo>
                    <a:pt x="2148" y="453"/>
                  </a:lnTo>
                  <a:lnTo>
                    <a:pt x="2146" y="447"/>
                  </a:lnTo>
                  <a:lnTo>
                    <a:pt x="2146" y="447"/>
                  </a:lnTo>
                  <a:lnTo>
                    <a:pt x="2146" y="443"/>
                  </a:lnTo>
                  <a:lnTo>
                    <a:pt x="2146" y="443"/>
                  </a:lnTo>
                  <a:lnTo>
                    <a:pt x="2146" y="440"/>
                  </a:lnTo>
                  <a:lnTo>
                    <a:pt x="2147" y="439"/>
                  </a:lnTo>
                  <a:lnTo>
                    <a:pt x="2147" y="439"/>
                  </a:lnTo>
                  <a:lnTo>
                    <a:pt x="2150" y="436"/>
                  </a:lnTo>
                  <a:lnTo>
                    <a:pt x="2150" y="433"/>
                  </a:lnTo>
                  <a:lnTo>
                    <a:pt x="2150" y="433"/>
                  </a:lnTo>
                  <a:lnTo>
                    <a:pt x="2150" y="429"/>
                  </a:lnTo>
                  <a:lnTo>
                    <a:pt x="2147" y="426"/>
                  </a:lnTo>
                  <a:lnTo>
                    <a:pt x="2147" y="426"/>
                  </a:lnTo>
                  <a:lnTo>
                    <a:pt x="2146" y="422"/>
                  </a:lnTo>
                  <a:lnTo>
                    <a:pt x="2144" y="416"/>
                  </a:lnTo>
                  <a:lnTo>
                    <a:pt x="2144" y="413"/>
                  </a:lnTo>
                  <a:lnTo>
                    <a:pt x="2144" y="413"/>
                  </a:lnTo>
                  <a:lnTo>
                    <a:pt x="2143" y="409"/>
                  </a:lnTo>
                  <a:lnTo>
                    <a:pt x="2143" y="409"/>
                  </a:lnTo>
                  <a:lnTo>
                    <a:pt x="2141" y="405"/>
                  </a:lnTo>
                  <a:lnTo>
                    <a:pt x="2141" y="405"/>
                  </a:lnTo>
                  <a:lnTo>
                    <a:pt x="2137" y="393"/>
                  </a:lnTo>
                  <a:lnTo>
                    <a:pt x="2134" y="378"/>
                  </a:lnTo>
                  <a:lnTo>
                    <a:pt x="2131" y="363"/>
                  </a:lnTo>
                  <a:lnTo>
                    <a:pt x="2131" y="359"/>
                  </a:lnTo>
                  <a:lnTo>
                    <a:pt x="2131" y="355"/>
                  </a:lnTo>
                  <a:lnTo>
                    <a:pt x="2131" y="355"/>
                  </a:lnTo>
                  <a:lnTo>
                    <a:pt x="2131" y="353"/>
                  </a:lnTo>
                  <a:lnTo>
                    <a:pt x="2131" y="350"/>
                  </a:lnTo>
                  <a:lnTo>
                    <a:pt x="2131" y="350"/>
                  </a:lnTo>
                  <a:lnTo>
                    <a:pt x="2128" y="349"/>
                  </a:lnTo>
                  <a:lnTo>
                    <a:pt x="2128" y="349"/>
                  </a:lnTo>
                  <a:lnTo>
                    <a:pt x="2124" y="352"/>
                  </a:lnTo>
                  <a:lnTo>
                    <a:pt x="2118" y="356"/>
                  </a:lnTo>
                  <a:lnTo>
                    <a:pt x="2113" y="363"/>
                  </a:lnTo>
                  <a:lnTo>
                    <a:pt x="2107" y="370"/>
                  </a:lnTo>
                  <a:lnTo>
                    <a:pt x="2107" y="370"/>
                  </a:lnTo>
                  <a:lnTo>
                    <a:pt x="2104" y="373"/>
                  </a:lnTo>
                  <a:lnTo>
                    <a:pt x="2103" y="375"/>
                  </a:lnTo>
                  <a:lnTo>
                    <a:pt x="2103" y="375"/>
                  </a:lnTo>
                  <a:lnTo>
                    <a:pt x="2100" y="373"/>
                  </a:lnTo>
                  <a:lnTo>
                    <a:pt x="2100" y="373"/>
                  </a:lnTo>
                  <a:lnTo>
                    <a:pt x="2097" y="372"/>
                  </a:lnTo>
                  <a:lnTo>
                    <a:pt x="2097" y="372"/>
                  </a:lnTo>
                  <a:lnTo>
                    <a:pt x="2096" y="373"/>
                  </a:lnTo>
                  <a:lnTo>
                    <a:pt x="2094" y="375"/>
                  </a:lnTo>
                  <a:lnTo>
                    <a:pt x="2094" y="375"/>
                  </a:lnTo>
                  <a:lnTo>
                    <a:pt x="2094" y="376"/>
                  </a:lnTo>
                  <a:lnTo>
                    <a:pt x="2094" y="376"/>
                  </a:lnTo>
                  <a:lnTo>
                    <a:pt x="2094" y="382"/>
                  </a:lnTo>
                  <a:lnTo>
                    <a:pt x="2091" y="386"/>
                  </a:lnTo>
                  <a:lnTo>
                    <a:pt x="2091" y="386"/>
                  </a:lnTo>
                  <a:lnTo>
                    <a:pt x="2086" y="392"/>
                  </a:lnTo>
                  <a:lnTo>
                    <a:pt x="2086" y="392"/>
                  </a:lnTo>
                  <a:lnTo>
                    <a:pt x="2080" y="395"/>
                  </a:lnTo>
                  <a:lnTo>
                    <a:pt x="2080" y="395"/>
                  </a:lnTo>
                  <a:lnTo>
                    <a:pt x="2076" y="399"/>
                  </a:lnTo>
                  <a:lnTo>
                    <a:pt x="2073" y="400"/>
                  </a:lnTo>
                  <a:lnTo>
                    <a:pt x="2073" y="400"/>
                  </a:lnTo>
                  <a:lnTo>
                    <a:pt x="2067" y="399"/>
                  </a:lnTo>
                  <a:lnTo>
                    <a:pt x="2067" y="399"/>
                  </a:lnTo>
                  <a:lnTo>
                    <a:pt x="2063" y="400"/>
                  </a:lnTo>
                  <a:lnTo>
                    <a:pt x="2060" y="403"/>
                  </a:lnTo>
                  <a:lnTo>
                    <a:pt x="2060" y="403"/>
                  </a:lnTo>
                  <a:lnTo>
                    <a:pt x="2056" y="407"/>
                  </a:lnTo>
                  <a:lnTo>
                    <a:pt x="2051" y="409"/>
                  </a:lnTo>
                  <a:lnTo>
                    <a:pt x="2051" y="409"/>
                  </a:lnTo>
                  <a:lnTo>
                    <a:pt x="2044" y="410"/>
                  </a:lnTo>
                  <a:lnTo>
                    <a:pt x="2037" y="415"/>
                  </a:lnTo>
                  <a:lnTo>
                    <a:pt x="2037" y="415"/>
                  </a:lnTo>
                  <a:lnTo>
                    <a:pt x="2031" y="419"/>
                  </a:lnTo>
                  <a:lnTo>
                    <a:pt x="2027" y="420"/>
                  </a:lnTo>
                  <a:lnTo>
                    <a:pt x="2027" y="420"/>
                  </a:lnTo>
                  <a:lnTo>
                    <a:pt x="2024" y="419"/>
                  </a:lnTo>
                  <a:lnTo>
                    <a:pt x="2024" y="419"/>
                  </a:lnTo>
                  <a:lnTo>
                    <a:pt x="2024" y="417"/>
                  </a:lnTo>
                  <a:lnTo>
                    <a:pt x="2024" y="417"/>
                  </a:lnTo>
                  <a:lnTo>
                    <a:pt x="2027" y="413"/>
                  </a:lnTo>
                  <a:lnTo>
                    <a:pt x="2027" y="413"/>
                  </a:lnTo>
                  <a:lnTo>
                    <a:pt x="2030" y="410"/>
                  </a:lnTo>
                  <a:lnTo>
                    <a:pt x="2031" y="406"/>
                  </a:lnTo>
                  <a:lnTo>
                    <a:pt x="2030" y="403"/>
                  </a:lnTo>
                  <a:lnTo>
                    <a:pt x="2027" y="399"/>
                  </a:lnTo>
                  <a:lnTo>
                    <a:pt x="2027" y="399"/>
                  </a:lnTo>
                  <a:lnTo>
                    <a:pt x="2024" y="398"/>
                  </a:lnTo>
                  <a:lnTo>
                    <a:pt x="2021" y="396"/>
                  </a:lnTo>
                  <a:lnTo>
                    <a:pt x="2016" y="396"/>
                  </a:lnTo>
                  <a:lnTo>
                    <a:pt x="2016" y="396"/>
                  </a:lnTo>
                  <a:lnTo>
                    <a:pt x="2013" y="395"/>
                  </a:lnTo>
                  <a:lnTo>
                    <a:pt x="2013" y="395"/>
                  </a:lnTo>
                  <a:lnTo>
                    <a:pt x="2011" y="390"/>
                  </a:lnTo>
                  <a:lnTo>
                    <a:pt x="2011" y="390"/>
                  </a:lnTo>
                  <a:lnTo>
                    <a:pt x="2010" y="389"/>
                  </a:lnTo>
                  <a:lnTo>
                    <a:pt x="2010" y="385"/>
                  </a:lnTo>
                  <a:lnTo>
                    <a:pt x="2010" y="385"/>
                  </a:lnTo>
                  <a:lnTo>
                    <a:pt x="2011" y="382"/>
                  </a:lnTo>
                  <a:lnTo>
                    <a:pt x="2014" y="382"/>
                  </a:lnTo>
                  <a:lnTo>
                    <a:pt x="2014" y="382"/>
                  </a:lnTo>
                  <a:lnTo>
                    <a:pt x="2017" y="379"/>
                  </a:lnTo>
                  <a:lnTo>
                    <a:pt x="2017" y="378"/>
                  </a:lnTo>
                  <a:lnTo>
                    <a:pt x="2018" y="376"/>
                  </a:lnTo>
                  <a:lnTo>
                    <a:pt x="2018" y="376"/>
                  </a:lnTo>
                  <a:lnTo>
                    <a:pt x="2018" y="372"/>
                  </a:lnTo>
                  <a:lnTo>
                    <a:pt x="2020" y="368"/>
                  </a:lnTo>
                  <a:lnTo>
                    <a:pt x="2020" y="368"/>
                  </a:lnTo>
                  <a:lnTo>
                    <a:pt x="2021" y="366"/>
                  </a:lnTo>
                  <a:lnTo>
                    <a:pt x="2021" y="366"/>
                  </a:lnTo>
                  <a:lnTo>
                    <a:pt x="2024" y="365"/>
                  </a:lnTo>
                  <a:lnTo>
                    <a:pt x="2026" y="363"/>
                  </a:lnTo>
                  <a:lnTo>
                    <a:pt x="2026" y="360"/>
                  </a:lnTo>
                  <a:lnTo>
                    <a:pt x="2026" y="360"/>
                  </a:lnTo>
                  <a:lnTo>
                    <a:pt x="2030" y="358"/>
                  </a:lnTo>
                  <a:lnTo>
                    <a:pt x="2030" y="358"/>
                  </a:lnTo>
                  <a:lnTo>
                    <a:pt x="2036" y="355"/>
                  </a:lnTo>
                  <a:lnTo>
                    <a:pt x="2038" y="352"/>
                  </a:lnTo>
                  <a:lnTo>
                    <a:pt x="2040" y="349"/>
                  </a:lnTo>
                  <a:lnTo>
                    <a:pt x="2040" y="349"/>
                  </a:lnTo>
                  <a:lnTo>
                    <a:pt x="2040" y="348"/>
                  </a:lnTo>
                  <a:lnTo>
                    <a:pt x="2038" y="345"/>
                  </a:lnTo>
                  <a:lnTo>
                    <a:pt x="2038" y="345"/>
                  </a:lnTo>
                  <a:lnTo>
                    <a:pt x="2037" y="343"/>
                  </a:lnTo>
                  <a:lnTo>
                    <a:pt x="2034" y="343"/>
                  </a:lnTo>
                  <a:lnTo>
                    <a:pt x="2034" y="343"/>
                  </a:lnTo>
                  <a:lnTo>
                    <a:pt x="2030" y="343"/>
                  </a:lnTo>
                  <a:lnTo>
                    <a:pt x="2030" y="343"/>
                  </a:lnTo>
                  <a:lnTo>
                    <a:pt x="2028" y="345"/>
                  </a:lnTo>
                  <a:lnTo>
                    <a:pt x="2028" y="345"/>
                  </a:lnTo>
                  <a:lnTo>
                    <a:pt x="2026" y="345"/>
                  </a:lnTo>
                  <a:lnTo>
                    <a:pt x="2026" y="345"/>
                  </a:lnTo>
                  <a:lnTo>
                    <a:pt x="2024" y="343"/>
                  </a:lnTo>
                  <a:lnTo>
                    <a:pt x="2024" y="343"/>
                  </a:lnTo>
                  <a:lnTo>
                    <a:pt x="2021" y="342"/>
                  </a:lnTo>
                  <a:lnTo>
                    <a:pt x="2017" y="340"/>
                  </a:lnTo>
                  <a:lnTo>
                    <a:pt x="2010" y="339"/>
                  </a:lnTo>
                  <a:lnTo>
                    <a:pt x="2010" y="339"/>
                  </a:lnTo>
                  <a:lnTo>
                    <a:pt x="2004" y="339"/>
                  </a:lnTo>
                  <a:lnTo>
                    <a:pt x="2001" y="338"/>
                  </a:lnTo>
                  <a:lnTo>
                    <a:pt x="2001" y="338"/>
                  </a:lnTo>
                  <a:lnTo>
                    <a:pt x="2000" y="335"/>
                  </a:lnTo>
                  <a:lnTo>
                    <a:pt x="1998" y="333"/>
                  </a:lnTo>
                  <a:lnTo>
                    <a:pt x="1998" y="333"/>
                  </a:lnTo>
                  <a:lnTo>
                    <a:pt x="1998" y="332"/>
                  </a:lnTo>
                  <a:lnTo>
                    <a:pt x="1998" y="332"/>
                  </a:lnTo>
                  <a:lnTo>
                    <a:pt x="2000" y="330"/>
                  </a:lnTo>
                  <a:lnTo>
                    <a:pt x="2000" y="330"/>
                  </a:lnTo>
                  <a:lnTo>
                    <a:pt x="2003" y="329"/>
                  </a:lnTo>
                  <a:lnTo>
                    <a:pt x="2003" y="326"/>
                  </a:lnTo>
                  <a:lnTo>
                    <a:pt x="2003" y="326"/>
                  </a:lnTo>
                  <a:lnTo>
                    <a:pt x="2001" y="323"/>
                  </a:lnTo>
                  <a:lnTo>
                    <a:pt x="1998" y="322"/>
                  </a:lnTo>
                  <a:lnTo>
                    <a:pt x="1998" y="322"/>
                  </a:lnTo>
                  <a:lnTo>
                    <a:pt x="1994" y="320"/>
                  </a:lnTo>
                  <a:lnTo>
                    <a:pt x="1994" y="320"/>
                  </a:lnTo>
                  <a:lnTo>
                    <a:pt x="1993" y="318"/>
                  </a:lnTo>
                  <a:lnTo>
                    <a:pt x="1993" y="318"/>
                  </a:lnTo>
                  <a:lnTo>
                    <a:pt x="1991" y="315"/>
                  </a:lnTo>
                  <a:lnTo>
                    <a:pt x="1991" y="315"/>
                  </a:lnTo>
                  <a:lnTo>
                    <a:pt x="1990" y="313"/>
                  </a:lnTo>
                  <a:lnTo>
                    <a:pt x="1987" y="312"/>
                  </a:lnTo>
                  <a:lnTo>
                    <a:pt x="1987" y="312"/>
                  </a:lnTo>
                  <a:lnTo>
                    <a:pt x="1987" y="312"/>
                  </a:lnTo>
                  <a:lnTo>
                    <a:pt x="1986" y="310"/>
                  </a:lnTo>
                  <a:lnTo>
                    <a:pt x="1986" y="310"/>
                  </a:lnTo>
                  <a:lnTo>
                    <a:pt x="1981" y="306"/>
                  </a:lnTo>
                  <a:lnTo>
                    <a:pt x="1977" y="303"/>
                  </a:lnTo>
                  <a:lnTo>
                    <a:pt x="1973" y="302"/>
                  </a:lnTo>
                  <a:lnTo>
                    <a:pt x="1973" y="302"/>
                  </a:lnTo>
                  <a:lnTo>
                    <a:pt x="1971" y="302"/>
                  </a:lnTo>
                  <a:lnTo>
                    <a:pt x="1970" y="303"/>
                  </a:lnTo>
                  <a:lnTo>
                    <a:pt x="1970" y="303"/>
                  </a:lnTo>
                  <a:lnTo>
                    <a:pt x="1967" y="305"/>
                  </a:lnTo>
                  <a:lnTo>
                    <a:pt x="1958" y="306"/>
                  </a:lnTo>
                  <a:lnTo>
                    <a:pt x="1958" y="306"/>
                  </a:lnTo>
                  <a:lnTo>
                    <a:pt x="1946" y="308"/>
                  </a:lnTo>
                  <a:lnTo>
                    <a:pt x="1946" y="308"/>
                  </a:lnTo>
                  <a:lnTo>
                    <a:pt x="1936" y="309"/>
                  </a:lnTo>
                  <a:lnTo>
                    <a:pt x="1936" y="309"/>
                  </a:lnTo>
                  <a:lnTo>
                    <a:pt x="1933" y="309"/>
                  </a:lnTo>
                  <a:lnTo>
                    <a:pt x="1933" y="309"/>
                  </a:lnTo>
                  <a:lnTo>
                    <a:pt x="1928" y="306"/>
                  </a:lnTo>
                  <a:lnTo>
                    <a:pt x="1924" y="305"/>
                  </a:lnTo>
                  <a:lnTo>
                    <a:pt x="1924" y="305"/>
                  </a:lnTo>
                  <a:lnTo>
                    <a:pt x="1918" y="302"/>
                  </a:lnTo>
                  <a:lnTo>
                    <a:pt x="1918" y="302"/>
                  </a:lnTo>
                  <a:lnTo>
                    <a:pt x="1911" y="300"/>
                  </a:lnTo>
                  <a:lnTo>
                    <a:pt x="1911" y="300"/>
                  </a:lnTo>
                  <a:lnTo>
                    <a:pt x="1906" y="299"/>
                  </a:lnTo>
                  <a:lnTo>
                    <a:pt x="1900" y="299"/>
                  </a:lnTo>
                  <a:lnTo>
                    <a:pt x="1900" y="299"/>
                  </a:lnTo>
                  <a:lnTo>
                    <a:pt x="1893" y="299"/>
                  </a:lnTo>
                  <a:lnTo>
                    <a:pt x="1893" y="299"/>
                  </a:lnTo>
                  <a:lnTo>
                    <a:pt x="1888" y="300"/>
                  </a:lnTo>
                  <a:lnTo>
                    <a:pt x="1884" y="300"/>
                  </a:lnTo>
                  <a:lnTo>
                    <a:pt x="1880" y="303"/>
                  </a:lnTo>
                  <a:lnTo>
                    <a:pt x="1878" y="308"/>
                  </a:lnTo>
                  <a:lnTo>
                    <a:pt x="1878" y="308"/>
                  </a:lnTo>
                  <a:lnTo>
                    <a:pt x="1878" y="309"/>
                  </a:lnTo>
                  <a:lnTo>
                    <a:pt x="1876" y="310"/>
                  </a:lnTo>
                  <a:lnTo>
                    <a:pt x="1876" y="310"/>
                  </a:lnTo>
                  <a:lnTo>
                    <a:pt x="1873" y="315"/>
                  </a:lnTo>
                  <a:lnTo>
                    <a:pt x="1873" y="318"/>
                  </a:lnTo>
                  <a:lnTo>
                    <a:pt x="1873" y="322"/>
                  </a:lnTo>
                  <a:lnTo>
                    <a:pt x="1873" y="322"/>
                  </a:lnTo>
                  <a:lnTo>
                    <a:pt x="1874" y="328"/>
                  </a:lnTo>
                  <a:lnTo>
                    <a:pt x="1873" y="332"/>
                  </a:lnTo>
                  <a:lnTo>
                    <a:pt x="1873" y="332"/>
                  </a:lnTo>
                  <a:lnTo>
                    <a:pt x="1871" y="333"/>
                  </a:lnTo>
                  <a:lnTo>
                    <a:pt x="1870" y="335"/>
                  </a:lnTo>
                  <a:lnTo>
                    <a:pt x="1870" y="335"/>
                  </a:lnTo>
                  <a:lnTo>
                    <a:pt x="1856" y="340"/>
                  </a:lnTo>
                  <a:lnTo>
                    <a:pt x="1847" y="346"/>
                  </a:lnTo>
                  <a:lnTo>
                    <a:pt x="1844" y="349"/>
                  </a:lnTo>
                  <a:lnTo>
                    <a:pt x="1843" y="350"/>
                  </a:lnTo>
                  <a:lnTo>
                    <a:pt x="1843" y="350"/>
                  </a:lnTo>
                  <a:lnTo>
                    <a:pt x="1843" y="352"/>
                  </a:lnTo>
                  <a:lnTo>
                    <a:pt x="1843" y="352"/>
                  </a:lnTo>
                  <a:lnTo>
                    <a:pt x="1843" y="352"/>
                  </a:lnTo>
                  <a:lnTo>
                    <a:pt x="1843" y="352"/>
                  </a:lnTo>
                  <a:lnTo>
                    <a:pt x="1844" y="353"/>
                  </a:lnTo>
                  <a:lnTo>
                    <a:pt x="1846" y="353"/>
                  </a:lnTo>
                  <a:lnTo>
                    <a:pt x="1846" y="353"/>
                  </a:lnTo>
                  <a:lnTo>
                    <a:pt x="1850" y="353"/>
                  </a:lnTo>
                  <a:lnTo>
                    <a:pt x="1854" y="352"/>
                  </a:lnTo>
                  <a:lnTo>
                    <a:pt x="1854" y="352"/>
                  </a:lnTo>
                  <a:lnTo>
                    <a:pt x="1857" y="350"/>
                  </a:lnTo>
                  <a:lnTo>
                    <a:pt x="1857" y="350"/>
                  </a:lnTo>
                  <a:lnTo>
                    <a:pt x="1857" y="352"/>
                  </a:lnTo>
                  <a:lnTo>
                    <a:pt x="1857" y="352"/>
                  </a:lnTo>
                  <a:lnTo>
                    <a:pt x="1854" y="358"/>
                  </a:lnTo>
                  <a:lnTo>
                    <a:pt x="1854" y="363"/>
                  </a:lnTo>
                  <a:lnTo>
                    <a:pt x="1854" y="363"/>
                  </a:lnTo>
                  <a:lnTo>
                    <a:pt x="1854" y="369"/>
                  </a:lnTo>
                  <a:lnTo>
                    <a:pt x="1856" y="372"/>
                  </a:lnTo>
                  <a:lnTo>
                    <a:pt x="1856" y="372"/>
                  </a:lnTo>
                  <a:lnTo>
                    <a:pt x="1851" y="372"/>
                  </a:lnTo>
                  <a:lnTo>
                    <a:pt x="1846" y="376"/>
                  </a:lnTo>
                  <a:lnTo>
                    <a:pt x="1846" y="376"/>
                  </a:lnTo>
                  <a:lnTo>
                    <a:pt x="1843" y="379"/>
                  </a:lnTo>
                  <a:lnTo>
                    <a:pt x="1841" y="380"/>
                  </a:lnTo>
                  <a:lnTo>
                    <a:pt x="1841" y="380"/>
                  </a:lnTo>
                  <a:lnTo>
                    <a:pt x="1840" y="382"/>
                  </a:lnTo>
                  <a:lnTo>
                    <a:pt x="1837" y="385"/>
                  </a:lnTo>
                  <a:lnTo>
                    <a:pt x="1837" y="385"/>
                  </a:lnTo>
                  <a:lnTo>
                    <a:pt x="1830" y="388"/>
                  </a:lnTo>
                  <a:lnTo>
                    <a:pt x="1830" y="388"/>
                  </a:lnTo>
                  <a:lnTo>
                    <a:pt x="1823" y="392"/>
                  </a:lnTo>
                  <a:lnTo>
                    <a:pt x="1823" y="392"/>
                  </a:lnTo>
                  <a:lnTo>
                    <a:pt x="1820" y="395"/>
                  </a:lnTo>
                  <a:lnTo>
                    <a:pt x="1820" y="395"/>
                  </a:lnTo>
                  <a:lnTo>
                    <a:pt x="1816" y="396"/>
                  </a:lnTo>
                  <a:lnTo>
                    <a:pt x="1810" y="402"/>
                  </a:lnTo>
                  <a:lnTo>
                    <a:pt x="1810" y="402"/>
                  </a:lnTo>
                  <a:lnTo>
                    <a:pt x="1808" y="406"/>
                  </a:lnTo>
                  <a:lnTo>
                    <a:pt x="1807" y="409"/>
                  </a:lnTo>
                  <a:lnTo>
                    <a:pt x="1807" y="409"/>
                  </a:lnTo>
                  <a:lnTo>
                    <a:pt x="1810" y="412"/>
                  </a:lnTo>
                  <a:lnTo>
                    <a:pt x="1811" y="413"/>
                  </a:lnTo>
                  <a:lnTo>
                    <a:pt x="1811" y="413"/>
                  </a:lnTo>
                  <a:lnTo>
                    <a:pt x="1814" y="413"/>
                  </a:lnTo>
                  <a:lnTo>
                    <a:pt x="1814" y="413"/>
                  </a:lnTo>
                  <a:lnTo>
                    <a:pt x="1816" y="413"/>
                  </a:lnTo>
                  <a:lnTo>
                    <a:pt x="1817" y="412"/>
                  </a:lnTo>
                  <a:lnTo>
                    <a:pt x="1817" y="412"/>
                  </a:lnTo>
                  <a:lnTo>
                    <a:pt x="1820" y="417"/>
                  </a:lnTo>
                  <a:lnTo>
                    <a:pt x="1820" y="417"/>
                  </a:lnTo>
                  <a:lnTo>
                    <a:pt x="1824" y="432"/>
                  </a:lnTo>
                  <a:lnTo>
                    <a:pt x="1826" y="439"/>
                  </a:lnTo>
                  <a:lnTo>
                    <a:pt x="1826" y="446"/>
                  </a:lnTo>
                  <a:lnTo>
                    <a:pt x="1824" y="452"/>
                  </a:lnTo>
                  <a:lnTo>
                    <a:pt x="1821" y="459"/>
                  </a:lnTo>
                  <a:lnTo>
                    <a:pt x="1817" y="465"/>
                  </a:lnTo>
                  <a:lnTo>
                    <a:pt x="1810" y="469"/>
                  </a:lnTo>
                  <a:lnTo>
                    <a:pt x="1810" y="469"/>
                  </a:lnTo>
                  <a:lnTo>
                    <a:pt x="1788" y="485"/>
                  </a:lnTo>
                  <a:lnTo>
                    <a:pt x="1788" y="485"/>
                  </a:lnTo>
                  <a:lnTo>
                    <a:pt x="1776" y="492"/>
                  </a:lnTo>
                  <a:lnTo>
                    <a:pt x="1776" y="492"/>
                  </a:lnTo>
                  <a:lnTo>
                    <a:pt x="1770" y="496"/>
                  </a:lnTo>
                  <a:lnTo>
                    <a:pt x="1770" y="496"/>
                  </a:lnTo>
                  <a:lnTo>
                    <a:pt x="1756" y="505"/>
                  </a:lnTo>
                  <a:lnTo>
                    <a:pt x="1747" y="507"/>
                  </a:lnTo>
                  <a:lnTo>
                    <a:pt x="1738" y="509"/>
                  </a:lnTo>
                  <a:lnTo>
                    <a:pt x="1738" y="509"/>
                  </a:lnTo>
                  <a:lnTo>
                    <a:pt x="1730" y="509"/>
                  </a:lnTo>
                  <a:lnTo>
                    <a:pt x="1724" y="507"/>
                  </a:lnTo>
                  <a:lnTo>
                    <a:pt x="1724" y="507"/>
                  </a:lnTo>
                  <a:lnTo>
                    <a:pt x="1720" y="507"/>
                  </a:lnTo>
                  <a:lnTo>
                    <a:pt x="1720" y="507"/>
                  </a:lnTo>
                  <a:lnTo>
                    <a:pt x="1717" y="509"/>
                  </a:lnTo>
                  <a:lnTo>
                    <a:pt x="1716" y="512"/>
                  </a:lnTo>
                  <a:lnTo>
                    <a:pt x="1716" y="512"/>
                  </a:lnTo>
                  <a:lnTo>
                    <a:pt x="1714" y="522"/>
                  </a:lnTo>
                  <a:lnTo>
                    <a:pt x="1714" y="527"/>
                  </a:lnTo>
                  <a:lnTo>
                    <a:pt x="1717" y="532"/>
                  </a:lnTo>
                  <a:lnTo>
                    <a:pt x="1717" y="532"/>
                  </a:lnTo>
                  <a:lnTo>
                    <a:pt x="1713" y="547"/>
                  </a:lnTo>
                  <a:lnTo>
                    <a:pt x="1713" y="547"/>
                  </a:lnTo>
                  <a:lnTo>
                    <a:pt x="1710" y="555"/>
                  </a:lnTo>
                  <a:lnTo>
                    <a:pt x="1708" y="560"/>
                  </a:lnTo>
                  <a:lnTo>
                    <a:pt x="1708" y="562"/>
                  </a:lnTo>
                  <a:lnTo>
                    <a:pt x="1708" y="562"/>
                  </a:lnTo>
                  <a:lnTo>
                    <a:pt x="1707" y="576"/>
                  </a:lnTo>
                  <a:lnTo>
                    <a:pt x="1707" y="576"/>
                  </a:lnTo>
                  <a:lnTo>
                    <a:pt x="1707" y="583"/>
                  </a:lnTo>
                  <a:lnTo>
                    <a:pt x="1707" y="583"/>
                  </a:lnTo>
                  <a:lnTo>
                    <a:pt x="1707" y="585"/>
                  </a:lnTo>
                  <a:lnTo>
                    <a:pt x="1704" y="586"/>
                  </a:lnTo>
                  <a:lnTo>
                    <a:pt x="1703" y="586"/>
                  </a:lnTo>
                  <a:lnTo>
                    <a:pt x="1703" y="586"/>
                  </a:lnTo>
                  <a:lnTo>
                    <a:pt x="1694" y="589"/>
                  </a:lnTo>
                  <a:lnTo>
                    <a:pt x="1691" y="590"/>
                  </a:lnTo>
                  <a:lnTo>
                    <a:pt x="1690" y="595"/>
                  </a:lnTo>
                  <a:lnTo>
                    <a:pt x="1690" y="595"/>
                  </a:lnTo>
                  <a:lnTo>
                    <a:pt x="1688" y="597"/>
                  </a:lnTo>
                  <a:lnTo>
                    <a:pt x="1688" y="597"/>
                  </a:lnTo>
                  <a:lnTo>
                    <a:pt x="1688" y="602"/>
                  </a:lnTo>
                  <a:lnTo>
                    <a:pt x="1687" y="605"/>
                  </a:lnTo>
                  <a:lnTo>
                    <a:pt x="1687" y="605"/>
                  </a:lnTo>
                  <a:lnTo>
                    <a:pt x="1687" y="605"/>
                  </a:lnTo>
                  <a:lnTo>
                    <a:pt x="1687" y="605"/>
                  </a:lnTo>
                  <a:lnTo>
                    <a:pt x="1684" y="605"/>
                  </a:lnTo>
                  <a:lnTo>
                    <a:pt x="1681" y="603"/>
                  </a:lnTo>
                  <a:lnTo>
                    <a:pt x="1681" y="603"/>
                  </a:lnTo>
                  <a:lnTo>
                    <a:pt x="1680" y="602"/>
                  </a:lnTo>
                  <a:lnTo>
                    <a:pt x="1677" y="600"/>
                  </a:lnTo>
                  <a:lnTo>
                    <a:pt x="1677" y="600"/>
                  </a:lnTo>
                  <a:lnTo>
                    <a:pt x="1673" y="602"/>
                  </a:lnTo>
                  <a:lnTo>
                    <a:pt x="1668" y="603"/>
                  </a:lnTo>
                  <a:lnTo>
                    <a:pt x="1664" y="606"/>
                  </a:lnTo>
                  <a:lnTo>
                    <a:pt x="1661" y="609"/>
                  </a:lnTo>
                  <a:lnTo>
                    <a:pt x="1661" y="609"/>
                  </a:lnTo>
                  <a:lnTo>
                    <a:pt x="1660" y="610"/>
                  </a:lnTo>
                  <a:lnTo>
                    <a:pt x="1658" y="612"/>
                  </a:lnTo>
                  <a:lnTo>
                    <a:pt x="1657" y="610"/>
                  </a:lnTo>
                  <a:lnTo>
                    <a:pt x="1656" y="609"/>
                  </a:lnTo>
                  <a:lnTo>
                    <a:pt x="1656" y="609"/>
                  </a:lnTo>
                  <a:lnTo>
                    <a:pt x="1654" y="606"/>
                  </a:lnTo>
                  <a:lnTo>
                    <a:pt x="1654" y="600"/>
                  </a:lnTo>
                  <a:lnTo>
                    <a:pt x="1654" y="597"/>
                  </a:lnTo>
                  <a:lnTo>
                    <a:pt x="1654" y="597"/>
                  </a:lnTo>
                  <a:lnTo>
                    <a:pt x="1654" y="590"/>
                  </a:lnTo>
                  <a:lnTo>
                    <a:pt x="1653" y="587"/>
                  </a:lnTo>
                  <a:lnTo>
                    <a:pt x="1650" y="586"/>
                  </a:lnTo>
                  <a:lnTo>
                    <a:pt x="1650" y="586"/>
                  </a:lnTo>
                  <a:lnTo>
                    <a:pt x="1647" y="585"/>
                  </a:lnTo>
                  <a:lnTo>
                    <a:pt x="1647" y="585"/>
                  </a:lnTo>
                  <a:lnTo>
                    <a:pt x="1644" y="583"/>
                  </a:lnTo>
                  <a:lnTo>
                    <a:pt x="1644" y="582"/>
                  </a:lnTo>
                  <a:lnTo>
                    <a:pt x="1644" y="582"/>
                  </a:lnTo>
                  <a:lnTo>
                    <a:pt x="1644" y="579"/>
                  </a:lnTo>
                  <a:lnTo>
                    <a:pt x="1643" y="575"/>
                  </a:lnTo>
                  <a:lnTo>
                    <a:pt x="1643" y="575"/>
                  </a:lnTo>
                  <a:lnTo>
                    <a:pt x="1641" y="572"/>
                  </a:lnTo>
                  <a:lnTo>
                    <a:pt x="1641" y="567"/>
                  </a:lnTo>
                  <a:lnTo>
                    <a:pt x="1641" y="567"/>
                  </a:lnTo>
                  <a:lnTo>
                    <a:pt x="1641" y="563"/>
                  </a:lnTo>
                  <a:lnTo>
                    <a:pt x="1641" y="563"/>
                  </a:lnTo>
                  <a:lnTo>
                    <a:pt x="1643" y="560"/>
                  </a:lnTo>
                  <a:lnTo>
                    <a:pt x="1643" y="560"/>
                  </a:lnTo>
                  <a:lnTo>
                    <a:pt x="1644" y="557"/>
                  </a:lnTo>
                  <a:lnTo>
                    <a:pt x="1644" y="557"/>
                  </a:lnTo>
                  <a:lnTo>
                    <a:pt x="1647" y="556"/>
                  </a:lnTo>
                  <a:lnTo>
                    <a:pt x="1648" y="550"/>
                  </a:lnTo>
                  <a:lnTo>
                    <a:pt x="1648" y="550"/>
                  </a:lnTo>
                  <a:lnTo>
                    <a:pt x="1648" y="549"/>
                  </a:lnTo>
                  <a:lnTo>
                    <a:pt x="1650" y="547"/>
                  </a:lnTo>
                  <a:lnTo>
                    <a:pt x="1650" y="547"/>
                  </a:lnTo>
                  <a:lnTo>
                    <a:pt x="1653" y="545"/>
                  </a:lnTo>
                  <a:lnTo>
                    <a:pt x="1656" y="540"/>
                  </a:lnTo>
                  <a:lnTo>
                    <a:pt x="1656" y="540"/>
                  </a:lnTo>
                  <a:lnTo>
                    <a:pt x="1657" y="535"/>
                  </a:lnTo>
                  <a:lnTo>
                    <a:pt x="1656" y="529"/>
                  </a:lnTo>
                  <a:lnTo>
                    <a:pt x="1656" y="529"/>
                  </a:lnTo>
                  <a:lnTo>
                    <a:pt x="1656" y="526"/>
                  </a:lnTo>
                  <a:lnTo>
                    <a:pt x="1656" y="525"/>
                  </a:lnTo>
                  <a:lnTo>
                    <a:pt x="1656" y="525"/>
                  </a:lnTo>
                  <a:lnTo>
                    <a:pt x="1660" y="523"/>
                  </a:lnTo>
                  <a:lnTo>
                    <a:pt x="1660" y="523"/>
                  </a:lnTo>
                  <a:lnTo>
                    <a:pt x="1664" y="520"/>
                  </a:lnTo>
                  <a:lnTo>
                    <a:pt x="1667" y="517"/>
                  </a:lnTo>
                  <a:lnTo>
                    <a:pt x="1668" y="515"/>
                  </a:lnTo>
                  <a:lnTo>
                    <a:pt x="1668" y="515"/>
                  </a:lnTo>
                  <a:lnTo>
                    <a:pt x="1670" y="512"/>
                  </a:lnTo>
                  <a:lnTo>
                    <a:pt x="1670" y="512"/>
                  </a:lnTo>
                  <a:lnTo>
                    <a:pt x="1673" y="507"/>
                  </a:lnTo>
                  <a:lnTo>
                    <a:pt x="1673" y="505"/>
                  </a:lnTo>
                  <a:lnTo>
                    <a:pt x="1670" y="502"/>
                  </a:lnTo>
                  <a:lnTo>
                    <a:pt x="1670" y="502"/>
                  </a:lnTo>
                  <a:lnTo>
                    <a:pt x="1667" y="500"/>
                  </a:lnTo>
                  <a:lnTo>
                    <a:pt x="1660" y="500"/>
                  </a:lnTo>
                  <a:lnTo>
                    <a:pt x="1660" y="500"/>
                  </a:lnTo>
                  <a:lnTo>
                    <a:pt x="1654" y="500"/>
                  </a:lnTo>
                  <a:lnTo>
                    <a:pt x="1654" y="502"/>
                  </a:lnTo>
                  <a:lnTo>
                    <a:pt x="1654" y="502"/>
                  </a:lnTo>
                  <a:lnTo>
                    <a:pt x="1654" y="500"/>
                  </a:lnTo>
                  <a:lnTo>
                    <a:pt x="1654" y="500"/>
                  </a:lnTo>
                  <a:lnTo>
                    <a:pt x="1648" y="500"/>
                  </a:lnTo>
                  <a:lnTo>
                    <a:pt x="1648" y="500"/>
                  </a:lnTo>
                  <a:lnTo>
                    <a:pt x="1641" y="500"/>
                  </a:lnTo>
                  <a:lnTo>
                    <a:pt x="1641" y="500"/>
                  </a:lnTo>
                  <a:lnTo>
                    <a:pt x="1638" y="499"/>
                  </a:lnTo>
                  <a:lnTo>
                    <a:pt x="1638" y="499"/>
                  </a:lnTo>
                  <a:lnTo>
                    <a:pt x="1634" y="497"/>
                  </a:lnTo>
                  <a:lnTo>
                    <a:pt x="1626" y="496"/>
                  </a:lnTo>
                  <a:lnTo>
                    <a:pt x="1626" y="496"/>
                  </a:lnTo>
                  <a:lnTo>
                    <a:pt x="1611" y="497"/>
                  </a:lnTo>
                  <a:lnTo>
                    <a:pt x="1611" y="497"/>
                  </a:lnTo>
                  <a:lnTo>
                    <a:pt x="1610" y="492"/>
                  </a:lnTo>
                  <a:lnTo>
                    <a:pt x="1610" y="492"/>
                  </a:lnTo>
                  <a:lnTo>
                    <a:pt x="1608" y="489"/>
                  </a:lnTo>
                  <a:lnTo>
                    <a:pt x="1608" y="489"/>
                  </a:lnTo>
                  <a:lnTo>
                    <a:pt x="1606" y="485"/>
                  </a:lnTo>
                  <a:lnTo>
                    <a:pt x="1600" y="483"/>
                  </a:lnTo>
                  <a:lnTo>
                    <a:pt x="1600" y="483"/>
                  </a:lnTo>
                  <a:lnTo>
                    <a:pt x="1591" y="482"/>
                  </a:lnTo>
                  <a:lnTo>
                    <a:pt x="1591" y="482"/>
                  </a:lnTo>
                  <a:lnTo>
                    <a:pt x="1583" y="482"/>
                  </a:lnTo>
                  <a:lnTo>
                    <a:pt x="1580" y="480"/>
                  </a:lnTo>
                  <a:lnTo>
                    <a:pt x="1579" y="479"/>
                  </a:lnTo>
                  <a:lnTo>
                    <a:pt x="1579" y="479"/>
                  </a:lnTo>
                  <a:lnTo>
                    <a:pt x="1576" y="475"/>
                  </a:lnTo>
                  <a:lnTo>
                    <a:pt x="1573" y="470"/>
                  </a:lnTo>
                  <a:lnTo>
                    <a:pt x="1573" y="470"/>
                  </a:lnTo>
                  <a:lnTo>
                    <a:pt x="1570" y="466"/>
                  </a:lnTo>
                  <a:lnTo>
                    <a:pt x="1570" y="466"/>
                  </a:lnTo>
                  <a:lnTo>
                    <a:pt x="1567" y="462"/>
                  </a:lnTo>
                  <a:lnTo>
                    <a:pt x="1564" y="459"/>
                  </a:lnTo>
                  <a:lnTo>
                    <a:pt x="1564" y="459"/>
                  </a:lnTo>
                  <a:lnTo>
                    <a:pt x="1561" y="456"/>
                  </a:lnTo>
                  <a:lnTo>
                    <a:pt x="1561" y="456"/>
                  </a:lnTo>
                  <a:lnTo>
                    <a:pt x="1560" y="455"/>
                  </a:lnTo>
                  <a:lnTo>
                    <a:pt x="1559" y="453"/>
                  </a:lnTo>
                  <a:lnTo>
                    <a:pt x="1554" y="452"/>
                  </a:lnTo>
                  <a:lnTo>
                    <a:pt x="1554" y="452"/>
                  </a:lnTo>
                  <a:lnTo>
                    <a:pt x="1551" y="452"/>
                  </a:lnTo>
                  <a:lnTo>
                    <a:pt x="1551" y="452"/>
                  </a:lnTo>
                  <a:lnTo>
                    <a:pt x="1550" y="453"/>
                  </a:lnTo>
                  <a:lnTo>
                    <a:pt x="1550" y="453"/>
                  </a:lnTo>
                  <a:lnTo>
                    <a:pt x="1546" y="452"/>
                  </a:lnTo>
                  <a:lnTo>
                    <a:pt x="1543" y="452"/>
                  </a:lnTo>
                  <a:lnTo>
                    <a:pt x="1543" y="452"/>
                  </a:lnTo>
                  <a:lnTo>
                    <a:pt x="1534" y="445"/>
                  </a:lnTo>
                  <a:lnTo>
                    <a:pt x="1530" y="443"/>
                  </a:lnTo>
                  <a:lnTo>
                    <a:pt x="1526" y="443"/>
                  </a:lnTo>
                  <a:lnTo>
                    <a:pt x="1526" y="443"/>
                  </a:lnTo>
                  <a:lnTo>
                    <a:pt x="1517" y="443"/>
                  </a:lnTo>
                  <a:lnTo>
                    <a:pt x="1506" y="445"/>
                  </a:lnTo>
                  <a:lnTo>
                    <a:pt x="1506" y="445"/>
                  </a:lnTo>
                  <a:lnTo>
                    <a:pt x="1491" y="447"/>
                  </a:lnTo>
                  <a:lnTo>
                    <a:pt x="1491" y="447"/>
                  </a:lnTo>
                  <a:lnTo>
                    <a:pt x="1494" y="437"/>
                  </a:lnTo>
                  <a:lnTo>
                    <a:pt x="1499" y="425"/>
                  </a:lnTo>
                  <a:lnTo>
                    <a:pt x="1499" y="425"/>
                  </a:lnTo>
                  <a:lnTo>
                    <a:pt x="1501" y="415"/>
                  </a:lnTo>
                  <a:lnTo>
                    <a:pt x="1503" y="406"/>
                  </a:lnTo>
                  <a:lnTo>
                    <a:pt x="1503" y="405"/>
                  </a:lnTo>
                  <a:lnTo>
                    <a:pt x="1481" y="399"/>
                  </a:lnTo>
                  <a:lnTo>
                    <a:pt x="1480" y="399"/>
                  </a:lnTo>
                  <a:lnTo>
                    <a:pt x="1480" y="399"/>
                  </a:lnTo>
                  <a:lnTo>
                    <a:pt x="1480" y="399"/>
                  </a:lnTo>
                  <a:lnTo>
                    <a:pt x="1477" y="399"/>
                  </a:lnTo>
                  <a:lnTo>
                    <a:pt x="1477" y="399"/>
                  </a:lnTo>
                  <a:lnTo>
                    <a:pt x="1480" y="398"/>
                  </a:lnTo>
                  <a:lnTo>
                    <a:pt x="1480" y="398"/>
                  </a:lnTo>
                  <a:lnTo>
                    <a:pt x="1490" y="385"/>
                  </a:lnTo>
                  <a:lnTo>
                    <a:pt x="1490" y="385"/>
                  </a:lnTo>
                  <a:lnTo>
                    <a:pt x="1504" y="366"/>
                  </a:lnTo>
                  <a:lnTo>
                    <a:pt x="1511" y="359"/>
                  </a:lnTo>
                  <a:lnTo>
                    <a:pt x="1517" y="353"/>
                  </a:lnTo>
                  <a:lnTo>
                    <a:pt x="1517" y="353"/>
                  </a:lnTo>
                  <a:lnTo>
                    <a:pt x="1530" y="348"/>
                  </a:lnTo>
                  <a:lnTo>
                    <a:pt x="1530" y="348"/>
                  </a:lnTo>
                  <a:lnTo>
                    <a:pt x="1541" y="342"/>
                  </a:lnTo>
                  <a:lnTo>
                    <a:pt x="1546" y="339"/>
                  </a:lnTo>
                  <a:lnTo>
                    <a:pt x="1549" y="335"/>
                  </a:lnTo>
                  <a:lnTo>
                    <a:pt x="1549" y="335"/>
                  </a:lnTo>
                  <a:lnTo>
                    <a:pt x="1554" y="329"/>
                  </a:lnTo>
                  <a:lnTo>
                    <a:pt x="1560" y="325"/>
                  </a:lnTo>
                  <a:lnTo>
                    <a:pt x="1560" y="325"/>
                  </a:lnTo>
                  <a:lnTo>
                    <a:pt x="1566" y="322"/>
                  </a:lnTo>
                  <a:lnTo>
                    <a:pt x="1566" y="322"/>
                  </a:lnTo>
                  <a:lnTo>
                    <a:pt x="1576" y="318"/>
                  </a:lnTo>
                  <a:lnTo>
                    <a:pt x="1576" y="318"/>
                  </a:lnTo>
                  <a:lnTo>
                    <a:pt x="1583" y="315"/>
                  </a:lnTo>
                  <a:lnTo>
                    <a:pt x="1588" y="310"/>
                  </a:lnTo>
                  <a:lnTo>
                    <a:pt x="1588" y="310"/>
                  </a:lnTo>
                  <a:lnTo>
                    <a:pt x="1591" y="309"/>
                  </a:lnTo>
                  <a:lnTo>
                    <a:pt x="1596" y="308"/>
                  </a:lnTo>
                  <a:lnTo>
                    <a:pt x="1596" y="308"/>
                  </a:lnTo>
                  <a:lnTo>
                    <a:pt x="1603" y="306"/>
                  </a:lnTo>
                  <a:lnTo>
                    <a:pt x="1606" y="305"/>
                  </a:lnTo>
                  <a:lnTo>
                    <a:pt x="1607" y="302"/>
                  </a:lnTo>
                  <a:lnTo>
                    <a:pt x="1607" y="302"/>
                  </a:lnTo>
                  <a:lnTo>
                    <a:pt x="1616" y="298"/>
                  </a:lnTo>
                  <a:lnTo>
                    <a:pt x="1627" y="293"/>
                  </a:lnTo>
                  <a:lnTo>
                    <a:pt x="1627" y="293"/>
                  </a:lnTo>
                  <a:lnTo>
                    <a:pt x="1644" y="288"/>
                  </a:lnTo>
                  <a:lnTo>
                    <a:pt x="1648" y="285"/>
                  </a:lnTo>
                  <a:lnTo>
                    <a:pt x="1650" y="282"/>
                  </a:lnTo>
                  <a:lnTo>
                    <a:pt x="1650" y="282"/>
                  </a:lnTo>
                  <a:lnTo>
                    <a:pt x="1650" y="280"/>
                  </a:lnTo>
                  <a:lnTo>
                    <a:pt x="1650" y="280"/>
                  </a:lnTo>
                  <a:lnTo>
                    <a:pt x="1654" y="280"/>
                  </a:lnTo>
                  <a:lnTo>
                    <a:pt x="1657" y="279"/>
                  </a:lnTo>
                  <a:lnTo>
                    <a:pt x="1657" y="279"/>
                  </a:lnTo>
                  <a:lnTo>
                    <a:pt x="1664" y="278"/>
                  </a:lnTo>
                  <a:lnTo>
                    <a:pt x="1664" y="278"/>
                  </a:lnTo>
                  <a:lnTo>
                    <a:pt x="1670" y="276"/>
                  </a:lnTo>
                  <a:lnTo>
                    <a:pt x="1673" y="273"/>
                  </a:lnTo>
                  <a:lnTo>
                    <a:pt x="1674" y="272"/>
                  </a:lnTo>
                  <a:lnTo>
                    <a:pt x="1674" y="272"/>
                  </a:lnTo>
                  <a:lnTo>
                    <a:pt x="1674" y="269"/>
                  </a:lnTo>
                  <a:lnTo>
                    <a:pt x="1674" y="269"/>
                  </a:lnTo>
                  <a:lnTo>
                    <a:pt x="1677" y="265"/>
                  </a:lnTo>
                  <a:lnTo>
                    <a:pt x="1680" y="263"/>
                  </a:lnTo>
                  <a:lnTo>
                    <a:pt x="1680" y="263"/>
                  </a:lnTo>
                  <a:lnTo>
                    <a:pt x="1686" y="266"/>
                  </a:lnTo>
                  <a:lnTo>
                    <a:pt x="1686" y="266"/>
                  </a:lnTo>
                  <a:lnTo>
                    <a:pt x="1691" y="268"/>
                  </a:lnTo>
                  <a:lnTo>
                    <a:pt x="1694" y="269"/>
                  </a:lnTo>
                  <a:lnTo>
                    <a:pt x="1697" y="268"/>
                  </a:lnTo>
                  <a:lnTo>
                    <a:pt x="1697" y="268"/>
                  </a:lnTo>
                  <a:lnTo>
                    <a:pt x="1700" y="268"/>
                  </a:lnTo>
                  <a:lnTo>
                    <a:pt x="1700" y="268"/>
                  </a:lnTo>
                  <a:lnTo>
                    <a:pt x="1703" y="268"/>
                  </a:lnTo>
                  <a:lnTo>
                    <a:pt x="1703" y="268"/>
                  </a:lnTo>
                  <a:lnTo>
                    <a:pt x="1707" y="268"/>
                  </a:lnTo>
                  <a:lnTo>
                    <a:pt x="1711" y="265"/>
                  </a:lnTo>
                  <a:lnTo>
                    <a:pt x="1711" y="265"/>
                  </a:lnTo>
                  <a:lnTo>
                    <a:pt x="1723" y="260"/>
                  </a:lnTo>
                  <a:lnTo>
                    <a:pt x="1723" y="260"/>
                  </a:lnTo>
                  <a:lnTo>
                    <a:pt x="1728" y="258"/>
                  </a:lnTo>
                  <a:lnTo>
                    <a:pt x="1733" y="255"/>
                  </a:lnTo>
                  <a:lnTo>
                    <a:pt x="1733" y="255"/>
                  </a:lnTo>
                  <a:lnTo>
                    <a:pt x="1741" y="249"/>
                  </a:lnTo>
                  <a:lnTo>
                    <a:pt x="1741" y="249"/>
                  </a:lnTo>
                  <a:lnTo>
                    <a:pt x="1750" y="245"/>
                  </a:lnTo>
                  <a:lnTo>
                    <a:pt x="1754" y="242"/>
                  </a:lnTo>
                  <a:lnTo>
                    <a:pt x="1754" y="242"/>
                  </a:lnTo>
                  <a:lnTo>
                    <a:pt x="1757" y="240"/>
                  </a:lnTo>
                  <a:lnTo>
                    <a:pt x="1757" y="240"/>
                  </a:lnTo>
                  <a:lnTo>
                    <a:pt x="1760" y="239"/>
                  </a:lnTo>
                  <a:lnTo>
                    <a:pt x="1761" y="236"/>
                  </a:lnTo>
                  <a:lnTo>
                    <a:pt x="1761" y="236"/>
                  </a:lnTo>
                  <a:lnTo>
                    <a:pt x="1761" y="235"/>
                  </a:lnTo>
                  <a:lnTo>
                    <a:pt x="1760" y="233"/>
                  </a:lnTo>
                  <a:lnTo>
                    <a:pt x="1760" y="233"/>
                  </a:lnTo>
                  <a:lnTo>
                    <a:pt x="1758" y="232"/>
                  </a:lnTo>
                  <a:lnTo>
                    <a:pt x="1758" y="232"/>
                  </a:lnTo>
                  <a:lnTo>
                    <a:pt x="1766" y="229"/>
                  </a:lnTo>
                  <a:lnTo>
                    <a:pt x="1766" y="229"/>
                  </a:lnTo>
                  <a:lnTo>
                    <a:pt x="1781" y="220"/>
                  </a:lnTo>
                  <a:lnTo>
                    <a:pt x="1781" y="220"/>
                  </a:lnTo>
                  <a:lnTo>
                    <a:pt x="1793" y="216"/>
                  </a:lnTo>
                  <a:lnTo>
                    <a:pt x="1796" y="213"/>
                  </a:lnTo>
                  <a:lnTo>
                    <a:pt x="1797" y="212"/>
                  </a:lnTo>
                  <a:lnTo>
                    <a:pt x="1797" y="212"/>
                  </a:lnTo>
                  <a:lnTo>
                    <a:pt x="1798" y="209"/>
                  </a:lnTo>
                  <a:lnTo>
                    <a:pt x="1797" y="208"/>
                  </a:lnTo>
                  <a:lnTo>
                    <a:pt x="1794" y="205"/>
                  </a:lnTo>
                  <a:lnTo>
                    <a:pt x="1794" y="205"/>
                  </a:lnTo>
                  <a:lnTo>
                    <a:pt x="1793" y="203"/>
                  </a:lnTo>
                  <a:lnTo>
                    <a:pt x="1793" y="203"/>
                  </a:lnTo>
                  <a:lnTo>
                    <a:pt x="1796" y="202"/>
                  </a:lnTo>
                  <a:lnTo>
                    <a:pt x="1803" y="200"/>
                  </a:lnTo>
                  <a:lnTo>
                    <a:pt x="1803" y="200"/>
                  </a:lnTo>
                  <a:lnTo>
                    <a:pt x="1808" y="202"/>
                  </a:lnTo>
                  <a:lnTo>
                    <a:pt x="1808" y="202"/>
                  </a:lnTo>
                  <a:lnTo>
                    <a:pt x="1810" y="202"/>
                  </a:lnTo>
                  <a:lnTo>
                    <a:pt x="1810" y="203"/>
                  </a:lnTo>
                  <a:lnTo>
                    <a:pt x="1810" y="203"/>
                  </a:lnTo>
                  <a:lnTo>
                    <a:pt x="1811" y="206"/>
                  </a:lnTo>
                  <a:lnTo>
                    <a:pt x="1813" y="208"/>
                  </a:lnTo>
                  <a:lnTo>
                    <a:pt x="1816" y="209"/>
                  </a:lnTo>
                  <a:lnTo>
                    <a:pt x="1816" y="209"/>
                  </a:lnTo>
                  <a:lnTo>
                    <a:pt x="1817" y="208"/>
                  </a:lnTo>
                  <a:lnTo>
                    <a:pt x="1817" y="208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21" y="209"/>
                  </a:lnTo>
                  <a:lnTo>
                    <a:pt x="1823" y="210"/>
                  </a:lnTo>
                  <a:lnTo>
                    <a:pt x="1823" y="210"/>
                  </a:lnTo>
                  <a:lnTo>
                    <a:pt x="1824" y="213"/>
                  </a:lnTo>
                  <a:lnTo>
                    <a:pt x="1824" y="213"/>
                  </a:lnTo>
                  <a:lnTo>
                    <a:pt x="1826" y="218"/>
                  </a:lnTo>
                  <a:lnTo>
                    <a:pt x="1826" y="218"/>
                  </a:lnTo>
                  <a:lnTo>
                    <a:pt x="1828" y="223"/>
                  </a:lnTo>
                  <a:lnTo>
                    <a:pt x="1830" y="225"/>
                  </a:lnTo>
                  <a:lnTo>
                    <a:pt x="1833" y="225"/>
                  </a:lnTo>
                  <a:lnTo>
                    <a:pt x="1833" y="225"/>
                  </a:lnTo>
                  <a:lnTo>
                    <a:pt x="1836" y="226"/>
                  </a:lnTo>
                  <a:lnTo>
                    <a:pt x="1836" y="226"/>
                  </a:lnTo>
                  <a:lnTo>
                    <a:pt x="1843" y="228"/>
                  </a:lnTo>
                  <a:lnTo>
                    <a:pt x="1843" y="228"/>
                  </a:lnTo>
                  <a:lnTo>
                    <a:pt x="1846" y="226"/>
                  </a:lnTo>
                  <a:lnTo>
                    <a:pt x="1847" y="226"/>
                  </a:lnTo>
                  <a:lnTo>
                    <a:pt x="1847" y="226"/>
                  </a:lnTo>
                  <a:lnTo>
                    <a:pt x="1848" y="223"/>
                  </a:lnTo>
                  <a:lnTo>
                    <a:pt x="1848" y="220"/>
                  </a:lnTo>
                  <a:lnTo>
                    <a:pt x="1848" y="220"/>
                  </a:lnTo>
                  <a:lnTo>
                    <a:pt x="1847" y="218"/>
                  </a:lnTo>
                  <a:lnTo>
                    <a:pt x="1846" y="216"/>
                  </a:lnTo>
                  <a:lnTo>
                    <a:pt x="1843" y="212"/>
                  </a:lnTo>
                  <a:lnTo>
                    <a:pt x="1843" y="212"/>
                  </a:lnTo>
                  <a:lnTo>
                    <a:pt x="1840" y="209"/>
                  </a:lnTo>
                  <a:lnTo>
                    <a:pt x="1840" y="209"/>
                  </a:lnTo>
                  <a:lnTo>
                    <a:pt x="1843" y="206"/>
                  </a:lnTo>
                  <a:lnTo>
                    <a:pt x="1846" y="205"/>
                  </a:lnTo>
                  <a:lnTo>
                    <a:pt x="1847" y="205"/>
                  </a:lnTo>
                  <a:lnTo>
                    <a:pt x="1847" y="205"/>
                  </a:lnTo>
                  <a:lnTo>
                    <a:pt x="1850" y="205"/>
                  </a:lnTo>
                  <a:lnTo>
                    <a:pt x="1851" y="206"/>
                  </a:lnTo>
                  <a:lnTo>
                    <a:pt x="1851" y="206"/>
                  </a:lnTo>
                  <a:lnTo>
                    <a:pt x="1851" y="206"/>
                  </a:lnTo>
                  <a:lnTo>
                    <a:pt x="1854" y="210"/>
                  </a:lnTo>
                  <a:lnTo>
                    <a:pt x="1856" y="213"/>
                  </a:lnTo>
                  <a:lnTo>
                    <a:pt x="1858" y="213"/>
                  </a:lnTo>
                  <a:lnTo>
                    <a:pt x="1858" y="213"/>
                  </a:lnTo>
                  <a:lnTo>
                    <a:pt x="1860" y="213"/>
                  </a:lnTo>
                  <a:lnTo>
                    <a:pt x="1860" y="213"/>
                  </a:lnTo>
                  <a:lnTo>
                    <a:pt x="1863" y="212"/>
                  </a:lnTo>
                  <a:lnTo>
                    <a:pt x="1864" y="208"/>
                  </a:lnTo>
                  <a:lnTo>
                    <a:pt x="1864" y="202"/>
                  </a:lnTo>
                  <a:lnTo>
                    <a:pt x="1864" y="202"/>
                  </a:lnTo>
                  <a:lnTo>
                    <a:pt x="1871" y="200"/>
                  </a:lnTo>
                  <a:lnTo>
                    <a:pt x="1871" y="200"/>
                  </a:lnTo>
                  <a:lnTo>
                    <a:pt x="1881" y="200"/>
                  </a:lnTo>
                  <a:lnTo>
                    <a:pt x="1884" y="199"/>
                  </a:lnTo>
                  <a:lnTo>
                    <a:pt x="1887" y="196"/>
                  </a:lnTo>
                  <a:lnTo>
                    <a:pt x="1887" y="196"/>
                  </a:lnTo>
                  <a:lnTo>
                    <a:pt x="1890" y="192"/>
                  </a:lnTo>
                  <a:lnTo>
                    <a:pt x="1890" y="192"/>
                  </a:lnTo>
                  <a:lnTo>
                    <a:pt x="1890" y="190"/>
                  </a:lnTo>
                  <a:lnTo>
                    <a:pt x="1890" y="190"/>
                  </a:lnTo>
                  <a:lnTo>
                    <a:pt x="1891" y="190"/>
                  </a:lnTo>
                  <a:lnTo>
                    <a:pt x="1891" y="190"/>
                  </a:lnTo>
                  <a:lnTo>
                    <a:pt x="1893" y="192"/>
                  </a:lnTo>
                  <a:lnTo>
                    <a:pt x="1893" y="192"/>
                  </a:lnTo>
                  <a:lnTo>
                    <a:pt x="1896" y="193"/>
                  </a:lnTo>
                  <a:lnTo>
                    <a:pt x="1898" y="193"/>
                  </a:lnTo>
                  <a:lnTo>
                    <a:pt x="1898" y="193"/>
                  </a:lnTo>
                  <a:lnTo>
                    <a:pt x="1903" y="193"/>
                  </a:lnTo>
                  <a:lnTo>
                    <a:pt x="1906" y="190"/>
                  </a:lnTo>
                  <a:lnTo>
                    <a:pt x="1906" y="190"/>
                  </a:lnTo>
                  <a:lnTo>
                    <a:pt x="1910" y="185"/>
                  </a:lnTo>
                  <a:lnTo>
                    <a:pt x="1910" y="185"/>
                  </a:lnTo>
                  <a:lnTo>
                    <a:pt x="1914" y="180"/>
                  </a:lnTo>
                  <a:lnTo>
                    <a:pt x="1916" y="178"/>
                  </a:lnTo>
                  <a:lnTo>
                    <a:pt x="1916" y="178"/>
                  </a:lnTo>
                  <a:lnTo>
                    <a:pt x="1916" y="175"/>
                  </a:lnTo>
                  <a:lnTo>
                    <a:pt x="1916" y="172"/>
                  </a:lnTo>
                  <a:lnTo>
                    <a:pt x="1916" y="172"/>
                  </a:lnTo>
                  <a:lnTo>
                    <a:pt x="1916" y="168"/>
                  </a:lnTo>
                  <a:lnTo>
                    <a:pt x="1916" y="162"/>
                  </a:lnTo>
                  <a:lnTo>
                    <a:pt x="1916" y="162"/>
                  </a:lnTo>
                  <a:lnTo>
                    <a:pt x="1920" y="159"/>
                  </a:lnTo>
                  <a:lnTo>
                    <a:pt x="1924" y="158"/>
                  </a:lnTo>
                  <a:lnTo>
                    <a:pt x="1924" y="158"/>
                  </a:lnTo>
                  <a:lnTo>
                    <a:pt x="1930" y="155"/>
                  </a:lnTo>
                  <a:lnTo>
                    <a:pt x="1933" y="153"/>
                  </a:lnTo>
                  <a:lnTo>
                    <a:pt x="1936" y="150"/>
                  </a:lnTo>
                  <a:lnTo>
                    <a:pt x="1936" y="150"/>
                  </a:lnTo>
                  <a:lnTo>
                    <a:pt x="1938" y="146"/>
                  </a:lnTo>
                  <a:lnTo>
                    <a:pt x="1940" y="145"/>
                  </a:lnTo>
                  <a:lnTo>
                    <a:pt x="1940" y="145"/>
                  </a:lnTo>
                  <a:lnTo>
                    <a:pt x="1943" y="143"/>
                  </a:lnTo>
                  <a:lnTo>
                    <a:pt x="1944" y="140"/>
                  </a:lnTo>
                  <a:lnTo>
                    <a:pt x="1944" y="140"/>
                  </a:lnTo>
                  <a:lnTo>
                    <a:pt x="1944" y="136"/>
                  </a:lnTo>
                  <a:lnTo>
                    <a:pt x="1944" y="136"/>
                  </a:lnTo>
                  <a:lnTo>
                    <a:pt x="1946" y="133"/>
                  </a:lnTo>
                  <a:lnTo>
                    <a:pt x="1946" y="130"/>
                  </a:lnTo>
                  <a:lnTo>
                    <a:pt x="1946" y="130"/>
                  </a:lnTo>
                  <a:lnTo>
                    <a:pt x="1944" y="128"/>
                  </a:lnTo>
                  <a:lnTo>
                    <a:pt x="1941" y="128"/>
                  </a:lnTo>
                  <a:lnTo>
                    <a:pt x="1941" y="128"/>
                  </a:lnTo>
                  <a:lnTo>
                    <a:pt x="1940" y="128"/>
                  </a:lnTo>
                  <a:lnTo>
                    <a:pt x="1938" y="126"/>
                  </a:lnTo>
                  <a:lnTo>
                    <a:pt x="1938" y="126"/>
                  </a:lnTo>
                  <a:lnTo>
                    <a:pt x="1936" y="125"/>
                  </a:lnTo>
                  <a:lnTo>
                    <a:pt x="1931" y="122"/>
                  </a:lnTo>
                  <a:lnTo>
                    <a:pt x="1921" y="119"/>
                  </a:lnTo>
                  <a:lnTo>
                    <a:pt x="1921" y="119"/>
                  </a:lnTo>
                  <a:lnTo>
                    <a:pt x="1917" y="118"/>
                  </a:lnTo>
                  <a:lnTo>
                    <a:pt x="1917" y="118"/>
                  </a:lnTo>
                  <a:lnTo>
                    <a:pt x="1923" y="116"/>
                  </a:lnTo>
                  <a:lnTo>
                    <a:pt x="1923" y="116"/>
                  </a:lnTo>
                  <a:lnTo>
                    <a:pt x="1927" y="116"/>
                  </a:lnTo>
                  <a:lnTo>
                    <a:pt x="1927" y="116"/>
                  </a:lnTo>
                  <a:lnTo>
                    <a:pt x="1931" y="116"/>
                  </a:lnTo>
                  <a:lnTo>
                    <a:pt x="1937" y="119"/>
                  </a:lnTo>
                  <a:lnTo>
                    <a:pt x="1937" y="119"/>
                  </a:lnTo>
                  <a:lnTo>
                    <a:pt x="1944" y="120"/>
                  </a:lnTo>
                  <a:lnTo>
                    <a:pt x="1944" y="120"/>
                  </a:lnTo>
                  <a:lnTo>
                    <a:pt x="1947" y="120"/>
                  </a:lnTo>
                  <a:lnTo>
                    <a:pt x="1948" y="119"/>
                  </a:lnTo>
                  <a:lnTo>
                    <a:pt x="1950" y="118"/>
                  </a:lnTo>
                  <a:lnTo>
                    <a:pt x="1950" y="118"/>
                  </a:lnTo>
                  <a:lnTo>
                    <a:pt x="1951" y="115"/>
                  </a:lnTo>
                  <a:lnTo>
                    <a:pt x="1953" y="115"/>
                  </a:lnTo>
                  <a:lnTo>
                    <a:pt x="1953" y="115"/>
                  </a:lnTo>
                  <a:lnTo>
                    <a:pt x="1958" y="116"/>
                  </a:lnTo>
                  <a:lnTo>
                    <a:pt x="1963" y="115"/>
                  </a:lnTo>
                  <a:lnTo>
                    <a:pt x="1963" y="115"/>
                  </a:lnTo>
                  <a:lnTo>
                    <a:pt x="1970" y="113"/>
                  </a:lnTo>
                  <a:lnTo>
                    <a:pt x="1970" y="113"/>
                  </a:lnTo>
                  <a:lnTo>
                    <a:pt x="1974" y="113"/>
                  </a:lnTo>
                  <a:lnTo>
                    <a:pt x="1974" y="113"/>
                  </a:lnTo>
                  <a:lnTo>
                    <a:pt x="1986" y="115"/>
                  </a:lnTo>
                  <a:lnTo>
                    <a:pt x="1993" y="116"/>
                  </a:lnTo>
                  <a:lnTo>
                    <a:pt x="1993" y="116"/>
                  </a:lnTo>
                  <a:lnTo>
                    <a:pt x="1994" y="118"/>
                  </a:lnTo>
                  <a:lnTo>
                    <a:pt x="1997" y="118"/>
                  </a:lnTo>
                  <a:lnTo>
                    <a:pt x="1997" y="118"/>
                  </a:lnTo>
                  <a:lnTo>
                    <a:pt x="2007" y="116"/>
                  </a:lnTo>
                  <a:lnTo>
                    <a:pt x="2011" y="115"/>
                  </a:lnTo>
                  <a:lnTo>
                    <a:pt x="2016" y="112"/>
                  </a:lnTo>
                  <a:lnTo>
                    <a:pt x="2016" y="112"/>
                  </a:lnTo>
                  <a:lnTo>
                    <a:pt x="2018" y="110"/>
                  </a:lnTo>
                  <a:lnTo>
                    <a:pt x="2020" y="108"/>
                  </a:lnTo>
                  <a:lnTo>
                    <a:pt x="2020" y="108"/>
                  </a:lnTo>
                  <a:lnTo>
                    <a:pt x="2018" y="105"/>
                  </a:lnTo>
                  <a:lnTo>
                    <a:pt x="2016" y="103"/>
                  </a:lnTo>
                  <a:lnTo>
                    <a:pt x="2016" y="103"/>
                  </a:lnTo>
                  <a:lnTo>
                    <a:pt x="2013" y="100"/>
                  </a:lnTo>
                  <a:lnTo>
                    <a:pt x="2013" y="100"/>
                  </a:lnTo>
                  <a:lnTo>
                    <a:pt x="2016" y="100"/>
                  </a:lnTo>
                  <a:lnTo>
                    <a:pt x="2016" y="100"/>
                  </a:lnTo>
                  <a:lnTo>
                    <a:pt x="2018" y="100"/>
                  </a:lnTo>
                  <a:lnTo>
                    <a:pt x="2018" y="100"/>
                  </a:lnTo>
                  <a:lnTo>
                    <a:pt x="2023" y="103"/>
                  </a:lnTo>
                  <a:lnTo>
                    <a:pt x="2023" y="103"/>
                  </a:lnTo>
                  <a:lnTo>
                    <a:pt x="2026" y="106"/>
                  </a:lnTo>
                  <a:lnTo>
                    <a:pt x="2028" y="109"/>
                  </a:lnTo>
                  <a:lnTo>
                    <a:pt x="2028" y="109"/>
                  </a:lnTo>
                  <a:lnTo>
                    <a:pt x="2030" y="113"/>
                  </a:lnTo>
                  <a:lnTo>
                    <a:pt x="2033" y="115"/>
                  </a:lnTo>
                  <a:lnTo>
                    <a:pt x="2037" y="115"/>
                  </a:lnTo>
                  <a:lnTo>
                    <a:pt x="2037" y="115"/>
                  </a:lnTo>
                  <a:lnTo>
                    <a:pt x="2040" y="115"/>
                  </a:lnTo>
                  <a:lnTo>
                    <a:pt x="2040" y="115"/>
                  </a:lnTo>
                  <a:lnTo>
                    <a:pt x="2040" y="115"/>
                  </a:lnTo>
                  <a:lnTo>
                    <a:pt x="2040" y="115"/>
                  </a:lnTo>
                  <a:lnTo>
                    <a:pt x="2040" y="118"/>
                  </a:lnTo>
                  <a:lnTo>
                    <a:pt x="2040" y="118"/>
                  </a:lnTo>
                  <a:lnTo>
                    <a:pt x="2041" y="125"/>
                  </a:lnTo>
                  <a:lnTo>
                    <a:pt x="2041" y="125"/>
                  </a:lnTo>
                  <a:lnTo>
                    <a:pt x="2043" y="128"/>
                  </a:lnTo>
                  <a:lnTo>
                    <a:pt x="2046" y="130"/>
                  </a:lnTo>
                  <a:lnTo>
                    <a:pt x="2050" y="132"/>
                  </a:lnTo>
                  <a:lnTo>
                    <a:pt x="2050" y="132"/>
                  </a:lnTo>
                  <a:lnTo>
                    <a:pt x="2051" y="132"/>
                  </a:lnTo>
                  <a:lnTo>
                    <a:pt x="2051" y="132"/>
                  </a:lnTo>
                  <a:lnTo>
                    <a:pt x="2053" y="136"/>
                  </a:lnTo>
                  <a:lnTo>
                    <a:pt x="2057" y="138"/>
                  </a:lnTo>
                  <a:lnTo>
                    <a:pt x="2057" y="138"/>
                  </a:lnTo>
                  <a:lnTo>
                    <a:pt x="2061" y="140"/>
                  </a:lnTo>
                  <a:lnTo>
                    <a:pt x="2061" y="140"/>
                  </a:lnTo>
                  <a:lnTo>
                    <a:pt x="2066" y="142"/>
                  </a:lnTo>
                  <a:lnTo>
                    <a:pt x="2068" y="143"/>
                  </a:lnTo>
                  <a:lnTo>
                    <a:pt x="2068" y="143"/>
                  </a:lnTo>
                  <a:lnTo>
                    <a:pt x="2071" y="145"/>
                  </a:lnTo>
                  <a:lnTo>
                    <a:pt x="2071" y="145"/>
                  </a:lnTo>
                  <a:lnTo>
                    <a:pt x="2071" y="146"/>
                  </a:lnTo>
                  <a:lnTo>
                    <a:pt x="2071" y="149"/>
                  </a:lnTo>
                  <a:lnTo>
                    <a:pt x="2071" y="150"/>
                  </a:lnTo>
                  <a:lnTo>
                    <a:pt x="2071" y="150"/>
                  </a:lnTo>
                  <a:lnTo>
                    <a:pt x="2073" y="153"/>
                  </a:lnTo>
                  <a:lnTo>
                    <a:pt x="2074" y="155"/>
                  </a:lnTo>
                  <a:lnTo>
                    <a:pt x="2078" y="156"/>
                  </a:lnTo>
                  <a:lnTo>
                    <a:pt x="2078" y="156"/>
                  </a:lnTo>
                  <a:lnTo>
                    <a:pt x="2081" y="158"/>
                  </a:lnTo>
                  <a:lnTo>
                    <a:pt x="2081" y="158"/>
                  </a:lnTo>
                  <a:lnTo>
                    <a:pt x="2084" y="166"/>
                  </a:lnTo>
                  <a:lnTo>
                    <a:pt x="2086" y="180"/>
                  </a:lnTo>
                  <a:lnTo>
                    <a:pt x="2086" y="180"/>
                  </a:lnTo>
                  <a:lnTo>
                    <a:pt x="2084" y="180"/>
                  </a:lnTo>
                  <a:lnTo>
                    <a:pt x="2084" y="180"/>
                  </a:lnTo>
                  <a:lnTo>
                    <a:pt x="2081" y="180"/>
                  </a:lnTo>
                  <a:lnTo>
                    <a:pt x="2078" y="183"/>
                  </a:lnTo>
                  <a:lnTo>
                    <a:pt x="2078" y="183"/>
                  </a:lnTo>
                  <a:lnTo>
                    <a:pt x="2076" y="185"/>
                  </a:lnTo>
                  <a:lnTo>
                    <a:pt x="2071" y="186"/>
                  </a:lnTo>
                  <a:lnTo>
                    <a:pt x="2071" y="186"/>
                  </a:lnTo>
                  <a:lnTo>
                    <a:pt x="2066" y="186"/>
                  </a:lnTo>
                  <a:lnTo>
                    <a:pt x="2063" y="189"/>
                  </a:lnTo>
                  <a:lnTo>
                    <a:pt x="2063" y="189"/>
                  </a:lnTo>
                  <a:lnTo>
                    <a:pt x="2054" y="192"/>
                  </a:lnTo>
                  <a:lnTo>
                    <a:pt x="2054" y="192"/>
                  </a:lnTo>
                  <a:lnTo>
                    <a:pt x="2047" y="195"/>
                  </a:lnTo>
                  <a:lnTo>
                    <a:pt x="2047" y="195"/>
                  </a:lnTo>
                  <a:lnTo>
                    <a:pt x="2034" y="203"/>
                  </a:lnTo>
                  <a:lnTo>
                    <a:pt x="2034" y="203"/>
                  </a:lnTo>
                  <a:lnTo>
                    <a:pt x="2031" y="205"/>
                  </a:lnTo>
                  <a:lnTo>
                    <a:pt x="2028" y="205"/>
                  </a:lnTo>
                  <a:lnTo>
                    <a:pt x="2028" y="205"/>
                  </a:lnTo>
                  <a:lnTo>
                    <a:pt x="2026" y="205"/>
                  </a:lnTo>
                  <a:lnTo>
                    <a:pt x="2023" y="206"/>
                  </a:lnTo>
                  <a:lnTo>
                    <a:pt x="2023" y="206"/>
                  </a:lnTo>
                  <a:lnTo>
                    <a:pt x="2020" y="208"/>
                  </a:lnTo>
                  <a:lnTo>
                    <a:pt x="2018" y="210"/>
                  </a:lnTo>
                  <a:lnTo>
                    <a:pt x="2018" y="210"/>
                  </a:lnTo>
                  <a:lnTo>
                    <a:pt x="2018" y="212"/>
                  </a:lnTo>
                  <a:lnTo>
                    <a:pt x="2021" y="213"/>
                  </a:lnTo>
                  <a:lnTo>
                    <a:pt x="2021" y="213"/>
                  </a:lnTo>
                  <a:lnTo>
                    <a:pt x="2024" y="216"/>
                  </a:lnTo>
                  <a:lnTo>
                    <a:pt x="2024" y="216"/>
                  </a:lnTo>
                  <a:lnTo>
                    <a:pt x="2027" y="220"/>
                  </a:lnTo>
                  <a:lnTo>
                    <a:pt x="2028" y="222"/>
                  </a:lnTo>
                  <a:lnTo>
                    <a:pt x="2028" y="222"/>
                  </a:lnTo>
                  <a:lnTo>
                    <a:pt x="2018" y="223"/>
                  </a:lnTo>
                  <a:lnTo>
                    <a:pt x="2011" y="226"/>
                  </a:lnTo>
                  <a:lnTo>
                    <a:pt x="2010" y="226"/>
                  </a:lnTo>
                  <a:lnTo>
                    <a:pt x="2010" y="226"/>
                  </a:lnTo>
                  <a:lnTo>
                    <a:pt x="2006" y="228"/>
                  </a:lnTo>
                  <a:lnTo>
                    <a:pt x="2006" y="228"/>
                  </a:lnTo>
                  <a:lnTo>
                    <a:pt x="2006" y="228"/>
                  </a:lnTo>
                  <a:lnTo>
                    <a:pt x="2006" y="228"/>
                  </a:lnTo>
                  <a:lnTo>
                    <a:pt x="2003" y="226"/>
                  </a:lnTo>
                  <a:lnTo>
                    <a:pt x="2000" y="226"/>
                  </a:lnTo>
                  <a:lnTo>
                    <a:pt x="2000" y="226"/>
                  </a:lnTo>
                  <a:lnTo>
                    <a:pt x="1994" y="226"/>
                  </a:lnTo>
                  <a:lnTo>
                    <a:pt x="1990" y="228"/>
                  </a:lnTo>
                  <a:lnTo>
                    <a:pt x="1990" y="228"/>
                  </a:lnTo>
                  <a:lnTo>
                    <a:pt x="1986" y="230"/>
                  </a:lnTo>
                  <a:lnTo>
                    <a:pt x="1986" y="230"/>
                  </a:lnTo>
                  <a:lnTo>
                    <a:pt x="1983" y="230"/>
                  </a:lnTo>
                  <a:lnTo>
                    <a:pt x="1978" y="229"/>
                  </a:lnTo>
                  <a:lnTo>
                    <a:pt x="1978" y="229"/>
                  </a:lnTo>
                  <a:lnTo>
                    <a:pt x="1971" y="226"/>
                  </a:lnTo>
                  <a:lnTo>
                    <a:pt x="1971" y="226"/>
                  </a:lnTo>
                  <a:lnTo>
                    <a:pt x="1966" y="223"/>
                  </a:lnTo>
                  <a:lnTo>
                    <a:pt x="1961" y="223"/>
                  </a:lnTo>
                  <a:lnTo>
                    <a:pt x="1961" y="223"/>
                  </a:lnTo>
                  <a:lnTo>
                    <a:pt x="1956" y="225"/>
                  </a:lnTo>
                  <a:lnTo>
                    <a:pt x="1956" y="225"/>
                  </a:lnTo>
                  <a:lnTo>
                    <a:pt x="1953" y="225"/>
                  </a:lnTo>
                  <a:lnTo>
                    <a:pt x="1953" y="225"/>
                  </a:lnTo>
                  <a:lnTo>
                    <a:pt x="1947" y="228"/>
                  </a:lnTo>
                  <a:lnTo>
                    <a:pt x="1944" y="230"/>
                  </a:lnTo>
                  <a:lnTo>
                    <a:pt x="1944" y="230"/>
                  </a:lnTo>
                  <a:lnTo>
                    <a:pt x="1937" y="235"/>
                  </a:lnTo>
                  <a:lnTo>
                    <a:pt x="1937" y="235"/>
                  </a:lnTo>
                  <a:lnTo>
                    <a:pt x="1933" y="236"/>
                  </a:lnTo>
                  <a:lnTo>
                    <a:pt x="1933" y="236"/>
                  </a:lnTo>
                  <a:lnTo>
                    <a:pt x="1927" y="239"/>
                  </a:lnTo>
                  <a:lnTo>
                    <a:pt x="1923" y="242"/>
                  </a:lnTo>
                  <a:lnTo>
                    <a:pt x="1923" y="242"/>
                  </a:lnTo>
                  <a:lnTo>
                    <a:pt x="1921" y="245"/>
                  </a:lnTo>
                  <a:lnTo>
                    <a:pt x="1921" y="248"/>
                  </a:lnTo>
                  <a:lnTo>
                    <a:pt x="1923" y="252"/>
                  </a:lnTo>
                  <a:lnTo>
                    <a:pt x="1923" y="252"/>
                  </a:lnTo>
                  <a:lnTo>
                    <a:pt x="1924" y="256"/>
                  </a:lnTo>
                  <a:lnTo>
                    <a:pt x="1924" y="256"/>
                  </a:lnTo>
                  <a:lnTo>
                    <a:pt x="1927" y="258"/>
                  </a:lnTo>
                  <a:lnTo>
                    <a:pt x="1930" y="259"/>
                  </a:lnTo>
                  <a:lnTo>
                    <a:pt x="1937" y="259"/>
                  </a:lnTo>
                  <a:lnTo>
                    <a:pt x="1937" y="259"/>
                  </a:lnTo>
                  <a:lnTo>
                    <a:pt x="1944" y="259"/>
                  </a:lnTo>
                  <a:lnTo>
                    <a:pt x="1951" y="260"/>
                  </a:lnTo>
                  <a:lnTo>
                    <a:pt x="1951" y="260"/>
                  </a:lnTo>
                  <a:lnTo>
                    <a:pt x="1956" y="262"/>
                  </a:lnTo>
                  <a:lnTo>
                    <a:pt x="1956" y="262"/>
                  </a:lnTo>
                  <a:lnTo>
                    <a:pt x="1960" y="260"/>
                  </a:lnTo>
                  <a:lnTo>
                    <a:pt x="1961" y="259"/>
                  </a:lnTo>
                  <a:lnTo>
                    <a:pt x="1964" y="256"/>
                  </a:lnTo>
                  <a:lnTo>
                    <a:pt x="1964" y="256"/>
                  </a:lnTo>
                  <a:lnTo>
                    <a:pt x="1966" y="253"/>
                  </a:lnTo>
                  <a:lnTo>
                    <a:pt x="1966" y="253"/>
                  </a:lnTo>
                  <a:lnTo>
                    <a:pt x="1968" y="252"/>
                  </a:lnTo>
                  <a:lnTo>
                    <a:pt x="1970" y="252"/>
                  </a:lnTo>
                  <a:lnTo>
                    <a:pt x="1973" y="252"/>
                  </a:lnTo>
                  <a:lnTo>
                    <a:pt x="1973" y="252"/>
                  </a:lnTo>
                  <a:lnTo>
                    <a:pt x="1976" y="252"/>
                  </a:lnTo>
                  <a:lnTo>
                    <a:pt x="1978" y="253"/>
                  </a:lnTo>
                  <a:lnTo>
                    <a:pt x="1978" y="253"/>
                  </a:lnTo>
                  <a:lnTo>
                    <a:pt x="1983" y="256"/>
                  </a:lnTo>
                  <a:lnTo>
                    <a:pt x="1983" y="256"/>
                  </a:lnTo>
                  <a:lnTo>
                    <a:pt x="1987" y="258"/>
                  </a:lnTo>
                  <a:lnTo>
                    <a:pt x="1987" y="258"/>
                  </a:lnTo>
                  <a:lnTo>
                    <a:pt x="1990" y="256"/>
                  </a:lnTo>
                  <a:lnTo>
                    <a:pt x="1991" y="255"/>
                  </a:lnTo>
                  <a:lnTo>
                    <a:pt x="1993" y="252"/>
                  </a:lnTo>
                  <a:lnTo>
                    <a:pt x="1993" y="252"/>
                  </a:lnTo>
                  <a:lnTo>
                    <a:pt x="1994" y="249"/>
                  </a:lnTo>
                  <a:lnTo>
                    <a:pt x="1994" y="249"/>
                  </a:lnTo>
                  <a:lnTo>
                    <a:pt x="1994" y="249"/>
                  </a:lnTo>
                  <a:lnTo>
                    <a:pt x="1994" y="249"/>
                  </a:lnTo>
                  <a:lnTo>
                    <a:pt x="1998" y="250"/>
                  </a:lnTo>
                  <a:lnTo>
                    <a:pt x="2003" y="253"/>
                  </a:lnTo>
                  <a:lnTo>
                    <a:pt x="2003" y="253"/>
                  </a:lnTo>
                  <a:lnTo>
                    <a:pt x="2007" y="255"/>
                  </a:lnTo>
                  <a:lnTo>
                    <a:pt x="2007" y="255"/>
                  </a:lnTo>
                  <a:lnTo>
                    <a:pt x="2010" y="256"/>
                  </a:lnTo>
                  <a:lnTo>
                    <a:pt x="2011" y="259"/>
                  </a:lnTo>
                  <a:lnTo>
                    <a:pt x="2011" y="259"/>
                  </a:lnTo>
                  <a:lnTo>
                    <a:pt x="2013" y="262"/>
                  </a:lnTo>
                  <a:lnTo>
                    <a:pt x="2014" y="263"/>
                  </a:lnTo>
                  <a:lnTo>
                    <a:pt x="2017" y="265"/>
                  </a:lnTo>
                  <a:lnTo>
                    <a:pt x="2017" y="265"/>
                  </a:lnTo>
                  <a:lnTo>
                    <a:pt x="2017" y="265"/>
                  </a:lnTo>
                  <a:lnTo>
                    <a:pt x="2017" y="265"/>
                  </a:lnTo>
                  <a:lnTo>
                    <a:pt x="2018" y="266"/>
                  </a:lnTo>
                  <a:lnTo>
                    <a:pt x="2018" y="266"/>
                  </a:lnTo>
                  <a:lnTo>
                    <a:pt x="2020" y="270"/>
                  </a:lnTo>
                  <a:lnTo>
                    <a:pt x="2023" y="273"/>
                  </a:lnTo>
                  <a:lnTo>
                    <a:pt x="2024" y="273"/>
                  </a:lnTo>
                  <a:lnTo>
                    <a:pt x="2024" y="273"/>
                  </a:lnTo>
                  <a:lnTo>
                    <a:pt x="2030" y="276"/>
                  </a:lnTo>
                  <a:lnTo>
                    <a:pt x="2030" y="276"/>
                  </a:lnTo>
                  <a:lnTo>
                    <a:pt x="2030" y="276"/>
                  </a:lnTo>
                  <a:lnTo>
                    <a:pt x="2030" y="276"/>
                  </a:lnTo>
                  <a:lnTo>
                    <a:pt x="2026" y="278"/>
                  </a:lnTo>
                  <a:lnTo>
                    <a:pt x="2024" y="278"/>
                  </a:lnTo>
                  <a:lnTo>
                    <a:pt x="2023" y="280"/>
                  </a:lnTo>
                  <a:lnTo>
                    <a:pt x="2023" y="280"/>
                  </a:lnTo>
                  <a:lnTo>
                    <a:pt x="2024" y="285"/>
                  </a:lnTo>
                  <a:lnTo>
                    <a:pt x="2024" y="285"/>
                  </a:lnTo>
                  <a:lnTo>
                    <a:pt x="2024" y="286"/>
                  </a:lnTo>
                  <a:lnTo>
                    <a:pt x="2024" y="286"/>
                  </a:lnTo>
                  <a:lnTo>
                    <a:pt x="2026" y="288"/>
                  </a:lnTo>
                  <a:lnTo>
                    <a:pt x="2026" y="289"/>
                  </a:lnTo>
                  <a:lnTo>
                    <a:pt x="2033" y="290"/>
                  </a:lnTo>
                  <a:lnTo>
                    <a:pt x="2033" y="290"/>
                  </a:lnTo>
                  <a:lnTo>
                    <a:pt x="2034" y="292"/>
                  </a:lnTo>
                  <a:lnTo>
                    <a:pt x="2034" y="292"/>
                  </a:lnTo>
                  <a:lnTo>
                    <a:pt x="2031" y="295"/>
                  </a:lnTo>
                  <a:lnTo>
                    <a:pt x="2030" y="298"/>
                  </a:lnTo>
                  <a:lnTo>
                    <a:pt x="2030" y="298"/>
                  </a:lnTo>
                  <a:lnTo>
                    <a:pt x="2028" y="300"/>
                  </a:lnTo>
                  <a:lnTo>
                    <a:pt x="2030" y="302"/>
                  </a:lnTo>
                  <a:lnTo>
                    <a:pt x="2030" y="302"/>
                  </a:lnTo>
                  <a:lnTo>
                    <a:pt x="2033" y="303"/>
                  </a:lnTo>
                  <a:lnTo>
                    <a:pt x="2038" y="305"/>
                  </a:lnTo>
                  <a:lnTo>
                    <a:pt x="2038" y="305"/>
                  </a:lnTo>
                  <a:lnTo>
                    <a:pt x="2048" y="303"/>
                  </a:lnTo>
                  <a:lnTo>
                    <a:pt x="2048" y="303"/>
                  </a:lnTo>
                  <a:lnTo>
                    <a:pt x="2053" y="302"/>
                  </a:lnTo>
                  <a:lnTo>
                    <a:pt x="2054" y="299"/>
                  </a:lnTo>
                  <a:lnTo>
                    <a:pt x="2054" y="299"/>
                  </a:lnTo>
                  <a:lnTo>
                    <a:pt x="2056" y="299"/>
                  </a:lnTo>
                  <a:lnTo>
                    <a:pt x="2056" y="299"/>
                  </a:lnTo>
                  <a:lnTo>
                    <a:pt x="2058" y="299"/>
                  </a:lnTo>
                  <a:lnTo>
                    <a:pt x="2058" y="299"/>
                  </a:lnTo>
                  <a:lnTo>
                    <a:pt x="2060" y="302"/>
                  </a:lnTo>
                  <a:lnTo>
                    <a:pt x="2063" y="305"/>
                  </a:lnTo>
                  <a:lnTo>
                    <a:pt x="2063" y="305"/>
                  </a:lnTo>
                  <a:lnTo>
                    <a:pt x="2066" y="309"/>
                  </a:lnTo>
                  <a:lnTo>
                    <a:pt x="2066" y="309"/>
                  </a:lnTo>
                  <a:lnTo>
                    <a:pt x="2068" y="312"/>
                  </a:lnTo>
                  <a:lnTo>
                    <a:pt x="2073" y="313"/>
                  </a:lnTo>
                  <a:lnTo>
                    <a:pt x="2080" y="315"/>
                  </a:lnTo>
                  <a:lnTo>
                    <a:pt x="2080" y="315"/>
                  </a:lnTo>
                  <a:lnTo>
                    <a:pt x="2086" y="315"/>
                  </a:lnTo>
                  <a:lnTo>
                    <a:pt x="2091" y="318"/>
                  </a:lnTo>
                  <a:lnTo>
                    <a:pt x="2091" y="318"/>
                  </a:lnTo>
                  <a:lnTo>
                    <a:pt x="2094" y="319"/>
                  </a:lnTo>
                  <a:lnTo>
                    <a:pt x="2097" y="319"/>
                  </a:lnTo>
                  <a:lnTo>
                    <a:pt x="2097" y="319"/>
                  </a:lnTo>
                  <a:lnTo>
                    <a:pt x="2100" y="319"/>
                  </a:lnTo>
                  <a:lnTo>
                    <a:pt x="2100" y="319"/>
                  </a:lnTo>
                  <a:lnTo>
                    <a:pt x="2103" y="318"/>
                  </a:lnTo>
                  <a:lnTo>
                    <a:pt x="2103" y="318"/>
                  </a:lnTo>
                  <a:lnTo>
                    <a:pt x="2107" y="319"/>
                  </a:lnTo>
                  <a:lnTo>
                    <a:pt x="2111" y="322"/>
                  </a:lnTo>
                  <a:lnTo>
                    <a:pt x="2111" y="322"/>
                  </a:lnTo>
                  <a:lnTo>
                    <a:pt x="2114" y="323"/>
                  </a:lnTo>
                  <a:lnTo>
                    <a:pt x="2117" y="325"/>
                  </a:lnTo>
                  <a:lnTo>
                    <a:pt x="2123" y="326"/>
                  </a:lnTo>
                  <a:lnTo>
                    <a:pt x="2123" y="326"/>
                  </a:lnTo>
                  <a:lnTo>
                    <a:pt x="2127" y="325"/>
                  </a:lnTo>
                  <a:lnTo>
                    <a:pt x="2128" y="322"/>
                  </a:lnTo>
                  <a:lnTo>
                    <a:pt x="2128" y="322"/>
                  </a:lnTo>
                  <a:lnTo>
                    <a:pt x="2128" y="322"/>
                  </a:lnTo>
                  <a:lnTo>
                    <a:pt x="2128" y="315"/>
                  </a:lnTo>
                  <a:lnTo>
                    <a:pt x="2128" y="315"/>
                  </a:lnTo>
                  <a:lnTo>
                    <a:pt x="2128" y="310"/>
                  </a:lnTo>
                  <a:lnTo>
                    <a:pt x="2127" y="306"/>
                  </a:lnTo>
                  <a:lnTo>
                    <a:pt x="2127" y="306"/>
                  </a:lnTo>
                  <a:lnTo>
                    <a:pt x="2126" y="305"/>
                  </a:lnTo>
                  <a:lnTo>
                    <a:pt x="2126" y="305"/>
                  </a:lnTo>
                  <a:lnTo>
                    <a:pt x="2123" y="300"/>
                  </a:lnTo>
                  <a:lnTo>
                    <a:pt x="2120" y="298"/>
                  </a:lnTo>
                  <a:lnTo>
                    <a:pt x="2120" y="298"/>
                  </a:lnTo>
                  <a:lnTo>
                    <a:pt x="2120" y="298"/>
                  </a:lnTo>
                  <a:lnTo>
                    <a:pt x="2117" y="295"/>
                  </a:lnTo>
                  <a:lnTo>
                    <a:pt x="2117" y="295"/>
                  </a:lnTo>
                  <a:lnTo>
                    <a:pt x="2113" y="293"/>
                  </a:lnTo>
                  <a:lnTo>
                    <a:pt x="2111" y="290"/>
                  </a:lnTo>
                  <a:lnTo>
                    <a:pt x="2111" y="290"/>
                  </a:lnTo>
                  <a:lnTo>
                    <a:pt x="2108" y="288"/>
                  </a:lnTo>
                  <a:lnTo>
                    <a:pt x="2106" y="285"/>
                  </a:lnTo>
                  <a:lnTo>
                    <a:pt x="2106" y="285"/>
                  </a:lnTo>
                  <a:lnTo>
                    <a:pt x="2103" y="283"/>
                  </a:lnTo>
                  <a:lnTo>
                    <a:pt x="2101" y="282"/>
                  </a:lnTo>
                  <a:lnTo>
                    <a:pt x="2101" y="282"/>
                  </a:lnTo>
                  <a:lnTo>
                    <a:pt x="2097" y="279"/>
                  </a:lnTo>
                  <a:lnTo>
                    <a:pt x="2096" y="276"/>
                  </a:lnTo>
                  <a:lnTo>
                    <a:pt x="2096" y="276"/>
                  </a:lnTo>
                  <a:lnTo>
                    <a:pt x="2096" y="275"/>
                  </a:lnTo>
                  <a:lnTo>
                    <a:pt x="2096" y="275"/>
                  </a:lnTo>
                  <a:lnTo>
                    <a:pt x="2096" y="275"/>
                  </a:lnTo>
                  <a:lnTo>
                    <a:pt x="2096" y="275"/>
                  </a:lnTo>
                  <a:lnTo>
                    <a:pt x="2097" y="275"/>
                  </a:lnTo>
                  <a:lnTo>
                    <a:pt x="2097" y="275"/>
                  </a:lnTo>
                  <a:lnTo>
                    <a:pt x="2098" y="275"/>
                  </a:lnTo>
                  <a:lnTo>
                    <a:pt x="2104" y="282"/>
                  </a:lnTo>
                  <a:lnTo>
                    <a:pt x="2104" y="282"/>
                  </a:lnTo>
                  <a:lnTo>
                    <a:pt x="2106" y="283"/>
                  </a:lnTo>
                  <a:lnTo>
                    <a:pt x="2108" y="285"/>
                  </a:lnTo>
                  <a:lnTo>
                    <a:pt x="2108" y="285"/>
                  </a:lnTo>
                  <a:lnTo>
                    <a:pt x="2110" y="285"/>
                  </a:lnTo>
                  <a:lnTo>
                    <a:pt x="2111" y="283"/>
                  </a:lnTo>
                  <a:lnTo>
                    <a:pt x="2113" y="279"/>
                  </a:lnTo>
                  <a:lnTo>
                    <a:pt x="2113" y="279"/>
                  </a:lnTo>
                  <a:lnTo>
                    <a:pt x="2120" y="285"/>
                  </a:lnTo>
                  <a:lnTo>
                    <a:pt x="2120" y="286"/>
                  </a:lnTo>
                  <a:lnTo>
                    <a:pt x="2120" y="286"/>
                  </a:lnTo>
                  <a:lnTo>
                    <a:pt x="2123" y="290"/>
                  </a:lnTo>
                  <a:lnTo>
                    <a:pt x="2124" y="292"/>
                  </a:lnTo>
                  <a:lnTo>
                    <a:pt x="2124" y="292"/>
                  </a:lnTo>
                  <a:lnTo>
                    <a:pt x="2127" y="293"/>
                  </a:lnTo>
                  <a:lnTo>
                    <a:pt x="2130" y="295"/>
                  </a:lnTo>
                  <a:lnTo>
                    <a:pt x="2136" y="296"/>
                  </a:lnTo>
                  <a:lnTo>
                    <a:pt x="2136" y="296"/>
                  </a:lnTo>
                  <a:lnTo>
                    <a:pt x="2141" y="296"/>
                  </a:lnTo>
                  <a:lnTo>
                    <a:pt x="2141" y="296"/>
                  </a:lnTo>
                  <a:lnTo>
                    <a:pt x="2143" y="298"/>
                  </a:lnTo>
                  <a:lnTo>
                    <a:pt x="2144" y="299"/>
                  </a:lnTo>
                  <a:lnTo>
                    <a:pt x="2144" y="299"/>
                  </a:lnTo>
                  <a:lnTo>
                    <a:pt x="2146" y="303"/>
                  </a:lnTo>
                  <a:lnTo>
                    <a:pt x="2146" y="303"/>
                  </a:lnTo>
                  <a:lnTo>
                    <a:pt x="2147" y="308"/>
                  </a:lnTo>
                  <a:lnTo>
                    <a:pt x="2147" y="308"/>
                  </a:lnTo>
                  <a:lnTo>
                    <a:pt x="2147" y="309"/>
                  </a:lnTo>
                  <a:lnTo>
                    <a:pt x="2148" y="312"/>
                  </a:lnTo>
                  <a:lnTo>
                    <a:pt x="2148" y="312"/>
                  </a:lnTo>
                  <a:lnTo>
                    <a:pt x="2151" y="312"/>
                  </a:lnTo>
                  <a:lnTo>
                    <a:pt x="2151" y="312"/>
                  </a:lnTo>
                  <a:lnTo>
                    <a:pt x="2160" y="310"/>
                  </a:lnTo>
                  <a:lnTo>
                    <a:pt x="2163" y="308"/>
                  </a:lnTo>
                  <a:lnTo>
                    <a:pt x="2166" y="305"/>
                  </a:lnTo>
                  <a:lnTo>
                    <a:pt x="2166" y="305"/>
                  </a:lnTo>
                  <a:lnTo>
                    <a:pt x="2166" y="303"/>
                  </a:lnTo>
                  <a:lnTo>
                    <a:pt x="2164" y="300"/>
                  </a:lnTo>
                  <a:lnTo>
                    <a:pt x="2164" y="300"/>
                  </a:lnTo>
                  <a:lnTo>
                    <a:pt x="2163" y="299"/>
                  </a:lnTo>
                  <a:lnTo>
                    <a:pt x="2158" y="299"/>
                  </a:lnTo>
                  <a:lnTo>
                    <a:pt x="2158" y="299"/>
                  </a:lnTo>
                  <a:lnTo>
                    <a:pt x="2158" y="298"/>
                  </a:lnTo>
                  <a:lnTo>
                    <a:pt x="2158" y="298"/>
                  </a:lnTo>
                  <a:lnTo>
                    <a:pt x="2160" y="298"/>
                  </a:lnTo>
                  <a:lnTo>
                    <a:pt x="2160" y="298"/>
                  </a:lnTo>
                  <a:lnTo>
                    <a:pt x="2163" y="296"/>
                  </a:lnTo>
                  <a:lnTo>
                    <a:pt x="2163" y="296"/>
                  </a:lnTo>
                  <a:lnTo>
                    <a:pt x="2166" y="295"/>
                  </a:lnTo>
                  <a:lnTo>
                    <a:pt x="2167" y="292"/>
                  </a:lnTo>
                  <a:lnTo>
                    <a:pt x="2167" y="289"/>
                  </a:lnTo>
                  <a:lnTo>
                    <a:pt x="2167" y="289"/>
                  </a:lnTo>
                  <a:lnTo>
                    <a:pt x="2166" y="286"/>
                  </a:lnTo>
                  <a:lnTo>
                    <a:pt x="2167" y="285"/>
                  </a:lnTo>
                  <a:lnTo>
                    <a:pt x="2167" y="285"/>
                  </a:lnTo>
                  <a:lnTo>
                    <a:pt x="2167" y="283"/>
                  </a:lnTo>
                  <a:lnTo>
                    <a:pt x="2167" y="283"/>
                  </a:lnTo>
                  <a:lnTo>
                    <a:pt x="2167" y="283"/>
                  </a:lnTo>
                  <a:lnTo>
                    <a:pt x="2167" y="283"/>
                  </a:lnTo>
                  <a:lnTo>
                    <a:pt x="2170" y="283"/>
                  </a:lnTo>
                  <a:lnTo>
                    <a:pt x="2170" y="283"/>
                  </a:lnTo>
                  <a:lnTo>
                    <a:pt x="2176" y="285"/>
                  </a:lnTo>
                  <a:lnTo>
                    <a:pt x="2176" y="285"/>
                  </a:lnTo>
                  <a:lnTo>
                    <a:pt x="2178" y="285"/>
                  </a:lnTo>
                  <a:lnTo>
                    <a:pt x="2178" y="285"/>
                  </a:lnTo>
                  <a:lnTo>
                    <a:pt x="2181" y="282"/>
                  </a:lnTo>
                  <a:lnTo>
                    <a:pt x="2183" y="278"/>
                  </a:lnTo>
                  <a:lnTo>
                    <a:pt x="2184" y="268"/>
                  </a:lnTo>
                  <a:lnTo>
                    <a:pt x="2184" y="268"/>
                  </a:lnTo>
                  <a:lnTo>
                    <a:pt x="2184" y="265"/>
                  </a:lnTo>
                  <a:lnTo>
                    <a:pt x="2183" y="263"/>
                  </a:lnTo>
                  <a:lnTo>
                    <a:pt x="2183" y="263"/>
                  </a:lnTo>
                  <a:lnTo>
                    <a:pt x="2180" y="262"/>
                  </a:lnTo>
                  <a:lnTo>
                    <a:pt x="2180" y="262"/>
                  </a:lnTo>
                  <a:lnTo>
                    <a:pt x="2180" y="262"/>
                  </a:lnTo>
                  <a:lnTo>
                    <a:pt x="2180" y="262"/>
                  </a:lnTo>
                  <a:lnTo>
                    <a:pt x="2178" y="262"/>
                  </a:lnTo>
                  <a:lnTo>
                    <a:pt x="2178" y="262"/>
                  </a:lnTo>
                  <a:lnTo>
                    <a:pt x="2178" y="262"/>
                  </a:lnTo>
                  <a:lnTo>
                    <a:pt x="2176" y="259"/>
                  </a:lnTo>
                  <a:lnTo>
                    <a:pt x="2176" y="259"/>
                  </a:lnTo>
                  <a:lnTo>
                    <a:pt x="2181" y="255"/>
                  </a:lnTo>
                  <a:lnTo>
                    <a:pt x="2181" y="255"/>
                  </a:lnTo>
                  <a:lnTo>
                    <a:pt x="2184" y="250"/>
                  </a:lnTo>
                  <a:lnTo>
                    <a:pt x="2186" y="248"/>
                  </a:lnTo>
                  <a:lnTo>
                    <a:pt x="2186" y="246"/>
                  </a:lnTo>
                  <a:lnTo>
                    <a:pt x="2186" y="246"/>
                  </a:lnTo>
                  <a:lnTo>
                    <a:pt x="2184" y="245"/>
                  </a:lnTo>
                  <a:lnTo>
                    <a:pt x="2183" y="243"/>
                  </a:lnTo>
                  <a:lnTo>
                    <a:pt x="2178" y="243"/>
                  </a:lnTo>
                  <a:lnTo>
                    <a:pt x="2178" y="243"/>
                  </a:lnTo>
                  <a:lnTo>
                    <a:pt x="2176" y="242"/>
                  </a:lnTo>
                  <a:lnTo>
                    <a:pt x="2171" y="240"/>
                  </a:lnTo>
                  <a:lnTo>
                    <a:pt x="2171" y="240"/>
                  </a:lnTo>
                  <a:lnTo>
                    <a:pt x="2164" y="236"/>
                  </a:lnTo>
                  <a:lnTo>
                    <a:pt x="2164" y="236"/>
                  </a:lnTo>
                  <a:lnTo>
                    <a:pt x="2161" y="233"/>
                  </a:lnTo>
                  <a:lnTo>
                    <a:pt x="2157" y="232"/>
                  </a:lnTo>
                  <a:lnTo>
                    <a:pt x="2157" y="232"/>
                  </a:lnTo>
                  <a:lnTo>
                    <a:pt x="2157" y="232"/>
                  </a:lnTo>
                  <a:lnTo>
                    <a:pt x="2156" y="230"/>
                  </a:lnTo>
                  <a:lnTo>
                    <a:pt x="2157" y="223"/>
                  </a:lnTo>
                  <a:lnTo>
                    <a:pt x="2157" y="223"/>
                  </a:lnTo>
                  <a:lnTo>
                    <a:pt x="2157" y="223"/>
                  </a:lnTo>
                  <a:lnTo>
                    <a:pt x="2156" y="218"/>
                  </a:lnTo>
                  <a:lnTo>
                    <a:pt x="2156" y="218"/>
                  </a:lnTo>
                  <a:lnTo>
                    <a:pt x="2158" y="218"/>
                  </a:lnTo>
                  <a:lnTo>
                    <a:pt x="2161" y="216"/>
                  </a:lnTo>
                  <a:lnTo>
                    <a:pt x="2161" y="216"/>
                  </a:lnTo>
                  <a:lnTo>
                    <a:pt x="2161" y="213"/>
                  </a:lnTo>
                  <a:lnTo>
                    <a:pt x="2161" y="209"/>
                  </a:lnTo>
                  <a:lnTo>
                    <a:pt x="2161" y="209"/>
                  </a:lnTo>
                  <a:lnTo>
                    <a:pt x="2161" y="208"/>
                  </a:lnTo>
                  <a:lnTo>
                    <a:pt x="2161" y="208"/>
                  </a:lnTo>
                  <a:lnTo>
                    <a:pt x="2163" y="208"/>
                  </a:lnTo>
                  <a:lnTo>
                    <a:pt x="2163" y="208"/>
                  </a:lnTo>
                  <a:lnTo>
                    <a:pt x="2167" y="208"/>
                  </a:lnTo>
                  <a:lnTo>
                    <a:pt x="2168" y="206"/>
                  </a:lnTo>
                  <a:lnTo>
                    <a:pt x="2170" y="205"/>
                  </a:lnTo>
                  <a:lnTo>
                    <a:pt x="2170" y="205"/>
                  </a:lnTo>
                  <a:lnTo>
                    <a:pt x="2171" y="203"/>
                  </a:lnTo>
                  <a:lnTo>
                    <a:pt x="2171" y="203"/>
                  </a:lnTo>
                  <a:lnTo>
                    <a:pt x="2174" y="205"/>
                  </a:lnTo>
                  <a:lnTo>
                    <a:pt x="2177" y="209"/>
                  </a:lnTo>
                  <a:lnTo>
                    <a:pt x="2177" y="209"/>
                  </a:lnTo>
                  <a:lnTo>
                    <a:pt x="2180" y="212"/>
                  </a:lnTo>
                  <a:lnTo>
                    <a:pt x="2183" y="215"/>
                  </a:lnTo>
                  <a:lnTo>
                    <a:pt x="2183" y="215"/>
                  </a:lnTo>
                  <a:lnTo>
                    <a:pt x="2186" y="216"/>
                  </a:lnTo>
                  <a:lnTo>
                    <a:pt x="2187" y="219"/>
                  </a:lnTo>
                  <a:lnTo>
                    <a:pt x="2187" y="219"/>
                  </a:lnTo>
                  <a:lnTo>
                    <a:pt x="2190" y="223"/>
                  </a:lnTo>
                  <a:lnTo>
                    <a:pt x="2190" y="223"/>
                  </a:lnTo>
                  <a:lnTo>
                    <a:pt x="2191" y="226"/>
                  </a:lnTo>
                  <a:lnTo>
                    <a:pt x="2193" y="232"/>
                  </a:lnTo>
                  <a:lnTo>
                    <a:pt x="2193" y="232"/>
                  </a:lnTo>
                  <a:lnTo>
                    <a:pt x="2196" y="236"/>
                  </a:lnTo>
                  <a:lnTo>
                    <a:pt x="2197" y="238"/>
                  </a:lnTo>
                  <a:lnTo>
                    <a:pt x="2201" y="238"/>
                  </a:lnTo>
                  <a:lnTo>
                    <a:pt x="2201" y="238"/>
                  </a:lnTo>
                  <a:lnTo>
                    <a:pt x="2206" y="238"/>
                  </a:lnTo>
                  <a:lnTo>
                    <a:pt x="2206" y="238"/>
                  </a:lnTo>
                  <a:lnTo>
                    <a:pt x="2207" y="238"/>
                  </a:lnTo>
                  <a:lnTo>
                    <a:pt x="2207" y="238"/>
                  </a:lnTo>
                  <a:lnTo>
                    <a:pt x="2210" y="240"/>
                  </a:lnTo>
                  <a:lnTo>
                    <a:pt x="2214" y="242"/>
                  </a:lnTo>
                  <a:lnTo>
                    <a:pt x="2214" y="242"/>
                  </a:lnTo>
                  <a:lnTo>
                    <a:pt x="2221" y="240"/>
                  </a:lnTo>
                  <a:lnTo>
                    <a:pt x="2221" y="240"/>
                  </a:lnTo>
                  <a:lnTo>
                    <a:pt x="2226" y="238"/>
                  </a:lnTo>
                  <a:lnTo>
                    <a:pt x="2228" y="233"/>
                  </a:lnTo>
                  <a:lnTo>
                    <a:pt x="2228" y="229"/>
                  </a:lnTo>
                  <a:lnTo>
                    <a:pt x="2228" y="226"/>
                  </a:lnTo>
                  <a:lnTo>
                    <a:pt x="2228" y="226"/>
                  </a:lnTo>
                  <a:lnTo>
                    <a:pt x="2230" y="226"/>
                  </a:lnTo>
                  <a:lnTo>
                    <a:pt x="2230" y="226"/>
                  </a:lnTo>
                  <a:lnTo>
                    <a:pt x="2234" y="225"/>
                  </a:lnTo>
                  <a:lnTo>
                    <a:pt x="2237" y="223"/>
                  </a:lnTo>
                  <a:lnTo>
                    <a:pt x="2238" y="222"/>
                  </a:lnTo>
                  <a:lnTo>
                    <a:pt x="2238" y="222"/>
                  </a:lnTo>
                  <a:lnTo>
                    <a:pt x="2241" y="223"/>
                  </a:lnTo>
                  <a:lnTo>
                    <a:pt x="2246" y="226"/>
                  </a:lnTo>
                  <a:lnTo>
                    <a:pt x="2246" y="226"/>
                  </a:lnTo>
                  <a:lnTo>
                    <a:pt x="2247" y="228"/>
                  </a:lnTo>
                  <a:lnTo>
                    <a:pt x="2250" y="229"/>
                  </a:lnTo>
                  <a:lnTo>
                    <a:pt x="2250" y="229"/>
                  </a:lnTo>
                  <a:lnTo>
                    <a:pt x="2251" y="228"/>
                  </a:lnTo>
                  <a:lnTo>
                    <a:pt x="2253" y="226"/>
                  </a:lnTo>
                  <a:lnTo>
                    <a:pt x="2254" y="225"/>
                  </a:lnTo>
                  <a:lnTo>
                    <a:pt x="2254" y="225"/>
                  </a:lnTo>
                  <a:lnTo>
                    <a:pt x="2257" y="222"/>
                  </a:lnTo>
                  <a:lnTo>
                    <a:pt x="2260" y="219"/>
                  </a:lnTo>
                  <a:lnTo>
                    <a:pt x="2260" y="219"/>
                  </a:lnTo>
                  <a:lnTo>
                    <a:pt x="2264" y="215"/>
                  </a:lnTo>
                  <a:lnTo>
                    <a:pt x="2264" y="215"/>
                  </a:lnTo>
                  <a:lnTo>
                    <a:pt x="2274" y="208"/>
                  </a:lnTo>
                  <a:lnTo>
                    <a:pt x="2276" y="206"/>
                  </a:lnTo>
                  <a:lnTo>
                    <a:pt x="2276" y="206"/>
                  </a:lnTo>
                  <a:lnTo>
                    <a:pt x="2277" y="206"/>
                  </a:lnTo>
                  <a:lnTo>
                    <a:pt x="2277" y="206"/>
                  </a:lnTo>
                  <a:lnTo>
                    <a:pt x="2283" y="199"/>
                  </a:lnTo>
                  <a:lnTo>
                    <a:pt x="2286" y="195"/>
                  </a:lnTo>
                  <a:lnTo>
                    <a:pt x="2286" y="189"/>
                  </a:lnTo>
                  <a:lnTo>
                    <a:pt x="2286" y="189"/>
                  </a:lnTo>
                  <a:lnTo>
                    <a:pt x="2284" y="186"/>
                  </a:lnTo>
                  <a:lnTo>
                    <a:pt x="2283" y="185"/>
                  </a:lnTo>
                  <a:lnTo>
                    <a:pt x="2278" y="183"/>
                  </a:lnTo>
                  <a:lnTo>
                    <a:pt x="2278" y="183"/>
                  </a:lnTo>
                  <a:lnTo>
                    <a:pt x="2276" y="182"/>
                  </a:lnTo>
                  <a:lnTo>
                    <a:pt x="2274" y="180"/>
                  </a:lnTo>
                  <a:lnTo>
                    <a:pt x="2274" y="180"/>
                  </a:lnTo>
                  <a:lnTo>
                    <a:pt x="2271" y="179"/>
                  </a:lnTo>
                  <a:lnTo>
                    <a:pt x="2268" y="178"/>
                  </a:lnTo>
                  <a:lnTo>
                    <a:pt x="2268" y="178"/>
                  </a:lnTo>
                  <a:lnTo>
                    <a:pt x="2264" y="179"/>
                  </a:lnTo>
                  <a:lnTo>
                    <a:pt x="2264" y="179"/>
                  </a:lnTo>
                  <a:lnTo>
                    <a:pt x="2261" y="179"/>
                  </a:lnTo>
                  <a:lnTo>
                    <a:pt x="2261" y="179"/>
                  </a:lnTo>
                  <a:lnTo>
                    <a:pt x="2261" y="179"/>
                  </a:lnTo>
                  <a:lnTo>
                    <a:pt x="2260" y="179"/>
                  </a:lnTo>
                  <a:lnTo>
                    <a:pt x="2258" y="178"/>
                  </a:lnTo>
                  <a:lnTo>
                    <a:pt x="2258" y="178"/>
                  </a:lnTo>
                  <a:lnTo>
                    <a:pt x="2256" y="175"/>
                  </a:lnTo>
                  <a:lnTo>
                    <a:pt x="2251" y="172"/>
                  </a:lnTo>
                  <a:lnTo>
                    <a:pt x="2251" y="172"/>
                  </a:lnTo>
                  <a:lnTo>
                    <a:pt x="2248" y="169"/>
                  </a:lnTo>
                  <a:lnTo>
                    <a:pt x="2246" y="168"/>
                  </a:lnTo>
                  <a:lnTo>
                    <a:pt x="2246" y="168"/>
                  </a:lnTo>
                  <a:lnTo>
                    <a:pt x="2244" y="163"/>
                  </a:lnTo>
                  <a:lnTo>
                    <a:pt x="2244" y="163"/>
                  </a:lnTo>
                  <a:lnTo>
                    <a:pt x="2240" y="159"/>
                  </a:lnTo>
                  <a:lnTo>
                    <a:pt x="2237" y="158"/>
                  </a:lnTo>
                  <a:lnTo>
                    <a:pt x="2237" y="158"/>
                  </a:lnTo>
                  <a:lnTo>
                    <a:pt x="2236" y="156"/>
                  </a:lnTo>
                  <a:lnTo>
                    <a:pt x="2236" y="156"/>
                  </a:lnTo>
                  <a:lnTo>
                    <a:pt x="2231" y="156"/>
                  </a:lnTo>
                  <a:lnTo>
                    <a:pt x="2227" y="158"/>
                  </a:lnTo>
                  <a:lnTo>
                    <a:pt x="2227" y="158"/>
                  </a:lnTo>
                  <a:lnTo>
                    <a:pt x="2221" y="158"/>
                  </a:lnTo>
                  <a:lnTo>
                    <a:pt x="2221" y="158"/>
                  </a:lnTo>
                  <a:lnTo>
                    <a:pt x="2221" y="158"/>
                  </a:lnTo>
                  <a:lnTo>
                    <a:pt x="2216" y="156"/>
                  </a:lnTo>
                  <a:lnTo>
                    <a:pt x="2216" y="156"/>
                  </a:lnTo>
                  <a:lnTo>
                    <a:pt x="2211" y="155"/>
                  </a:lnTo>
                  <a:lnTo>
                    <a:pt x="2211" y="155"/>
                  </a:lnTo>
                  <a:lnTo>
                    <a:pt x="2213" y="152"/>
                  </a:lnTo>
                  <a:lnTo>
                    <a:pt x="2213" y="152"/>
                  </a:lnTo>
                  <a:lnTo>
                    <a:pt x="2213" y="150"/>
                  </a:lnTo>
                  <a:lnTo>
                    <a:pt x="2211" y="149"/>
                  </a:lnTo>
                  <a:lnTo>
                    <a:pt x="2211" y="149"/>
                  </a:lnTo>
                  <a:lnTo>
                    <a:pt x="2208" y="146"/>
                  </a:lnTo>
                  <a:lnTo>
                    <a:pt x="2204" y="146"/>
                  </a:lnTo>
                  <a:lnTo>
                    <a:pt x="2204" y="146"/>
                  </a:lnTo>
                  <a:lnTo>
                    <a:pt x="2200" y="146"/>
                  </a:lnTo>
                  <a:lnTo>
                    <a:pt x="2200" y="146"/>
                  </a:lnTo>
                  <a:lnTo>
                    <a:pt x="2194" y="146"/>
                  </a:lnTo>
                  <a:lnTo>
                    <a:pt x="2194" y="146"/>
                  </a:lnTo>
                  <a:lnTo>
                    <a:pt x="2200" y="142"/>
                  </a:lnTo>
                  <a:lnTo>
                    <a:pt x="2200" y="142"/>
                  </a:lnTo>
                  <a:lnTo>
                    <a:pt x="2204" y="140"/>
                  </a:lnTo>
                  <a:lnTo>
                    <a:pt x="2204" y="140"/>
                  </a:lnTo>
                  <a:lnTo>
                    <a:pt x="2211" y="139"/>
                  </a:lnTo>
                  <a:lnTo>
                    <a:pt x="2211" y="139"/>
                  </a:lnTo>
                  <a:lnTo>
                    <a:pt x="2220" y="138"/>
                  </a:lnTo>
                  <a:lnTo>
                    <a:pt x="2223" y="136"/>
                  </a:lnTo>
                  <a:lnTo>
                    <a:pt x="2226" y="133"/>
                  </a:lnTo>
                  <a:lnTo>
                    <a:pt x="2226" y="133"/>
                  </a:lnTo>
                  <a:lnTo>
                    <a:pt x="2227" y="132"/>
                  </a:lnTo>
                  <a:lnTo>
                    <a:pt x="2227" y="129"/>
                  </a:lnTo>
                  <a:lnTo>
                    <a:pt x="2227" y="129"/>
                  </a:lnTo>
                  <a:lnTo>
                    <a:pt x="2226" y="126"/>
                  </a:lnTo>
                  <a:lnTo>
                    <a:pt x="2221" y="125"/>
                  </a:lnTo>
                  <a:lnTo>
                    <a:pt x="2221" y="125"/>
                  </a:lnTo>
                  <a:lnTo>
                    <a:pt x="2220" y="125"/>
                  </a:lnTo>
                  <a:lnTo>
                    <a:pt x="2220" y="125"/>
                  </a:lnTo>
                  <a:lnTo>
                    <a:pt x="2221" y="125"/>
                  </a:lnTo>
                  <a:lnTo>
                    <a:pt x="2221" y="125"/>
                  </a:lnTo>
                  <a:lnTo>
                    <a:pt x="2224" y="123"/>
                  </a:lnTo>
                  <a:lnTo>
                    <a:pt x="2227" y="122"/>
                  </a:lnTo>
                  <a:lnTo>
                    <a:pt x="2227" y="122"/>
                  </a:lnTo>
                  <a:lnTo>
                    <a:pt x="2228" y="119"/>
                  </a:lnTo>
                  <a:lnTo>
                    <a:pt x="2228" y="116"/>
                  </a:lnTo>
                  <a:lnTo>
                    <a:pt x="2228" y="110"/>
                  </a:lnTo>
                  <a:lnTo>
                    <a:pt x="2228" y="110"/>
                  </a:lnTo>
                  <a:lnTo>
                    <a:pt x="2227" y="108"/>
                  </a:lnTo>
                  <a:lnTo>
                    <a:pt x="2226" y="105"/>
                  </a:lnTo>
                  <a:lnTo>
                    <a:pt x="2221" y="103"/>
                  </a:lnTo>
                  <a:lnTo>
                    <a:pt x="2217" y="103"/>
                  </a:lnTo>
                  <a:lnTo>
                    <a:pt x="2217" y="103"/>
                  </a:lnTo>
                  <a:lnTo>
                    <a:pt x="2211" y="105"/>
                  </a:lnTo>
                  <a:lnTo>
                    <a:pt x="2206" y="108"/>
                  </a:lnTo>
                  <a:lnTo>
                    <a:pt x="2206" y="108"/>
                  </a:lnTo>
                  <a:lnTo>
                    <a:pt x="2204" y="109"/>
                  </a:lnTo>
                  <a:lnTo>
                    <a:pt x="2204" y="109"/>
                  </a:lnTo>
                  <a:lnTo>
                    <a:pt x="2206" y="108"/>
                  </a:lnTo>
                  <a:lnTo>
                    <a:pt x="2207" y="106"/>
                  </a:lnTo>
                  <a:lnTo>
                    <a:pt x="2207" y="106"/>
                  </a:lnTo>
                  <a:lnTo>
                    <a:pt x="2213" y="102"/>
                  </a:lnTo>
                  <a:lnTo>
                    <a:pt x="2216" y="99"/>
                  </a:lnTo>
                  <a:lnTo>
                    <a:pt x="2216" y="99"/>
                  </a:lnTo>
                  <a:lnTo>
                    <a:pt x="2214" y="96"/>
                  </a:lnTo>
                  <a:lnTo>
                    <a:pt x="2213" y="93"/>
                  </a:lnTo>
                  <a:lnTo>
                    <a:pt x="2213" y="93"/>
                  </a:lnTo>
                  <a:lnTo>
                    <a:pt x="2210" y="90"/>
                  </a:lnTo>
                  <a:lnTo>
                    <a:pt x="2204" y="90"/>
                  </a:lnTo>
                  <a:lnTo>
                    <a:pt x="2204" y="90"/>
                  </a:lnTo>
                  <a:lnTo>
                    <a:pt x="2197" y="90"/>
                  </a:lnTo>
                  <a:lnTo>
                    <a:pt x="2191" y="92"/>
                  </a:lnTo>
                  <a:lnTo>
                    <a:pt x="2191" y="92"/>
                  </a:lnTo>
                  <a:lnTo>
                    <a:pt x="2188" y="93"/>
                  </a:lnTo>
                  <a:lnTo>
                    <a:pt x="2188" y="93"/>
                  </a:lnTo>
                  <a:lnTo>
                    <a:pt x="2183" y="89"/>
                  </a:lnTo>
                  <a:lnTo>
                    <a:pt x="2183" y="89"/>
                  </a:lnTo>
                  <a:lnTo>
                    <a:pt x="2181" y="88"/>
                  </a:lnTo>
                  <a:lnTo>
                    <a:pt x="2181" y="88"/>
                  </a:lnTo>
                  <a:lnTo>
                    <a:pt x="2181" y="86"/>
                  </a:lnTo>
                  <a:lnTo>
                    <a:pt x="2181" y="83"/>
                  </a:lnTo>
                  <a:lnTo>
                    <a:pt x="2181" y="83"/>
                  </a:lnTo>
                  <a:lnTo>
                    <a:pt x="2183" y="80"/>
                  </a:lnTo>
                  <a:lnTo>
                    <a:pt x="2181" y="79"/>
                  </a:lnTo>
                  <a:lnTo>
                    <a:pt x="2181" y="79"/>
                  </a:lnTo>
                  <a:lnTo>
                    <a:pt x="2180" y="76"/>
                  </a:lnTo>
                  <a:lnTo>
                    <a:pt x="2178" y="75"/>
                  </a:lnTo>
                  <a:lnTo>
                    <a:pt x="2171" y="72"/>
                  </a:lnTo>
                  <a:lnTo>
                    <a:pt x="2171" y="72"/>
                  </a:lnTo>
                  <a:lnTo>
                    <a:pt x="2167" y="72"/>
                  </a:lnTo>
                  <a:lnTo>
                    <a:pt x="2161" y="72"/>
                  </a:lnTo>
                  <a:lnTo>
                    <a:pt x="2150" y="75"/>
                  </a:lnTo>
                  <a:lnTo>
                    <a:pt x="2150" y="75"/>
                  </a:lnTo>
                  <a:lnTo>
                    <a:pt x="2138" y="78"/>
                  </a:lnTo>
                  <a:lnTo>
                    <a:pt x="2138" y="78"/>
                  </a:lnTo>
                  <a:lnTo>
                    <a:pt x="2138" y="78"/>
                  </a:lnTo>
                  <a:lnTo>
                    <a:pt x="2138" y="78"/>
                  </a:lnTo>
                  <a:lnTo>
                    <a:pt x="2138" y="76"/>
                  </a:lnTo>
                  <a:lnTo>
                    <a:pt x="2138" y="76"/>
                  </a:lnTo>
                  <a:lnTo>
                    <a:pt x="2141" y="70"/>
                  </a:lnTo>
                  <a:lnTo>
                    <a:pt x="2141" y="70"/>
                  </a:lnTo>
                  <a:lnTo>
                    <a:pt x="2141" y="66"/>
                  </a:lnTo>
                  <a:lnTo>
                    <a:pt x="2138" y="63"/>
                  </a:lnTo>
                  <a:lnTo>
                    <a:pt x="2137" y="63"/>
                  </a:lnTo>
                  <a:lnTo>
                    <a:pt x="2137" y="63"/>
                  </a:lnTo>
                  <a:lnTo>
                    <a:pt x="2133" y="60"/>
                  </a:lnTo>
                  <a:lnTo>
                    <a:pt x="2133" y="60"/>
                  </a:lnTo>
                  <a:lnTo>
                    <a:pt x="2130" y="59"/>
                  </a:lnTo>
                  <a:lnTo>
                    <a:pt x="2130" y="59"/>
                  </a:lnTo>
                  <a:lnTo>
                    <a:pt x="2130" y="56"/>
                  </a:lnTo>
                  <a:lnTo>
                    <a:pt x="2130" y="52"/>
                  </a:lnTo>
                  <a:lnTo>
                    <a:pt x="2130" y="52"/>
                  </a:lnTo>
                  <a:lnTo>
                    <a:pt x="2128" y="50"/>
                  </a:lnTo>
                  <a:lnTo>
                    <a:pt x="2126" y="49"/>
                  </a:lnTo>
                  <a:lnTo>
                    <a:pt x="2117" y="48"/>
                  </a:lnTo>
                  <a:lnTo>
                    <a:pt x="2117" y="48"/>
                  </a:lnTo>
                  <a:lnTo>
                    <a:pt x="2121" y="42"/>
                  </a:lnTo>
                  <a:lnTo>
                    <a:pt x="2121" y="39"/>
                  </a:lnTo>
                  <a:lnTo>
                    <a:pt x="2121" y="39"/>
                  </a:lnTo>
                  <a:lnTo>
                    <a:pt x="2120" y="32"/>
                  </a:lnTo>
                  <a:lnTo>
                    <a:pt x="2117" y="29"/>
                  </a:lnTo>
                  <a:lnTo>
                    <a:pt x="2113" y="26"/>
                  </a:lnTo>
                  <a:lnTo>
                    <a:pt x="2113" y="26"/>
                  </a:lnTo>
                  <a:lnTo>
                    <a:pt x="2104" y="25"/>
                  </a:lnTo>
                  <a:lnTo>
                    <a:pt x="2096" y="23"/>
                  </a:lnTo>
                  <a:lnTo>
                    <a:pt x="2087" y="22"/>
                  </a:lnTo>
                  <a:lnTo>
                    <a:pt x="2087" y="22"/>
                  </a:lnTo>
                  <a:lnTo>
                    <a:pt x="2073" y="22"/>
                  </a:lnTo>
                  <a:lnTo>
                    <a:pt x="2063" y="19"/>
                  </a:lnTo>
                  <a:lnTo>
                    <a:pt x="2063" y="19"/>
                  </a:lnTo>
                  <a:lnTo>
                    <a:pt x="2056" y="18"/>
                  </a:lnTo>
                  <a:lnTo>
                    <a:pt x="2051" y="19"/>
                  </a:lnTo>
                  <a:lnTo>
                    <a:pt x="2051" y="19"/>
                  </a:lnTo>
                  <a:lnTo>
                    <a:pt x="2050" y="19"/>
                  </a:lnTo>
                  <a:lnTo>
                    <a:pt x="2050" y="19"/>
                  </a:lnTo>
                  <a:lnTo>
                    <a:pt x="2047" y="22"/>
                  </a:lnTo>
                  <a:lnTo>
                    <a:pt x="2046" y="25"/>
                  </a:lnTo>
                  <a:lnTo>
                    <a:pt x="2046" y="32"/>
                  </a:lnTo>
                  <a:lnTo>
                    <a:pt x="2046" y="32"/>
                  </a:lnTo>
                  <a:lnTo>
                    <a:pt x="2046" y="35"/>
                  </a:lnTo>
                  <a:lnTo>
                    <a:pt x="2046" y="35"/>
                  </a:lnTo>
                  <a:lnTo>
                    <a:pt x="2047" y="40"/>
                  </a:lnTo>
                  <a:lnTo>
                    <a:pt x="2048" y="45"/>
                  </a:lnTo>
                  <a:lnTo>
                    <a:pt x="2048" y="45"/>
                  </a:lnTo>
                  <a:lnTo>
                    <a:pt x="2051" y="46"/>
                  </a:lnTo>
                  <a:lnTo>
                    <a:pt x="2051" y="46"/>
                  </a:lnTo>
                  <a:lnTo>
                    <a:pt x="2053" y="48"/>
                  </a:lnTo>
                  <a:lnTo>
                    <a:pt x="2056" y="49"/>
                  </a:lnTo>
                  <a:lnTo>
                    <a:pt x="2061" y="49"/>
                  </a:lnTo>
                  <a:lnTo>
                    <a:pt x="2063" y="49"/>
                  </a:lnTo>
                  <a:lnTo>
                    <a:pt x="2063" y="49"/>
                  </a:lnTo>
                  <a:lnTo>
                    <a:pt x="2066" y="49"/>
                  </a:lnTo>
                  <a:lnTo>
                    <a:pt x="2066" y="49"/>
                  </a:lnTo>
                  <a:lnTo>
                    <a:pt x="2071" y="49"/>
                  </a:lnTo>
                  <a:lnTo>
                    <a:pt x="2071" y="49"/>
                  </a:lnTo>
                  <a:lnTo>
                    <a:pt x="2071" y="49"/>
                  </a:lnTo>
                  <a:lnTo>
                    <a:pt x="2071" y="49"/>
                  </a:lnTo>
                  <a:lnTo>
                    <a:pt x="2067" y="53"/>
                  </a:lnTo>
                  <a:lnTo>
                    <a:pt x="2064" y="58"/>
                  </a:lnTo>
                  <a:lnTo>
                    <a:pt x="2064" y="58"/>
                  </a:lnTo>
                  <a:lnTo>
                    <a:pt x="2061" y="59"/>
                  </a:lnTo>
                  <a:lnTo>
                    <a:pt x="2057" y="60"/>
                  </a:lnTo>
                  <a:lnTo>
                    <a:pt x="2057" y="60"/>
                  </a:lnTo>
                  <a:lnTo>
                    <a:pt x="2056" y="60"/>
                  </a:lnTo>
                  <a:lnTo>
                    <a:pt x="2056" y="60"/>
                  </a:lnTo>
                  <a:lnTo>
                    <a:pt x="2051" y="59"/>
                  </a:lnTo>
                  <a:lnTo>
                    <a:pt x="2050" y="59"/>
                  </a:lnTo>
                  <a:lnTo>
                    <a:pt x="2050" y="59"/>
                  </a:lnTo>
                  <a:lnTo>
                    <a:pt x="2048" y="58"/>
                  </a:lnTo>
                  <a:lnTo>
                    <a:pt x="2048" y="58"/>
                  </a:lnTo>
                  <a:lnTo>
                    <a:pt x="2047" y="56"/>
                  </a:lnTo>
                  <a:lnTo>
                    <a:pt x="2047" y="56"/>
                  </a:lnTo>
                  <a:lnTo>
                    <a:pt x="2043" y="55"/>
                  </a:lnTo>
                  <a:lnTo>
                    <a:pt x="2038" y="55"/>
                  </a:lnTo>
                  <a:lnTo>
                    <a:pt x="2038" y="55"/>
                  </a:lnTo>
                  <a:lnTo>
                    <a:pt x="2034" y="55"/>
                  </a:lnTo>
                  <a:lnTo>
                    <a:pt x="2034" y="55"/>
                  </a:lnTo>
                  <a:lnTo>
                    <a:pt x="2028" y="56"/>
                  </a:lnTo>
                  <a:lnTo>
                    <a:pt x="2024" y="60"/>
                  </a:lnTo>
                  <a:lnTo>
                    <a:pt x="2024" y="60"/>
                  </a:lnTo>
                  <a:lnTo>
                    <a:pt x="2024" y="58"/>
                  </a:lnTo>
                  <a:lnTo>
                    <a:pt x="2024" y="58"/>
                  </a:lnTo>
                  <a:lnTo>
                    <a:pt x="2027" y="55"/>
                  </a:lnTo>
                  <a:lnTo>
                    <a:pt x="2033" y="53"/>
                  </a:lnTo>
                  <a:lnTo>
                    <a:pt x="2033" y="53"/>
                  </a:lnTo>
                  <a:lnTo>
                    <a:pt x="2037" y="52"/>
                  </a:lnTo>
                  <a:lnTo>
                    <a:pt x="2037" y="52"/>
                  </a:lnTo>
                  <a:lnTo>
                    <a:pt x="2041" y="49"/>
                  </a:lnTo>
                  <a:lnTo>
                    <a:pt x="2043" y="43"/>
                  </a:lnTo>
                  <a:lnTo>
                    <a:pt x="2044" y="36"/>
                  </a:lnTo>
                  <a:lnTo>
                    <a:pt x="2044" y="30"/>
                  </a:lnTo>
                  <a:lnTo>
                    <a:pt x="2044" y="26"/>
                  </a:lnTo>
                  <a:lnTo>
                    <a:pt x="2044" y="26"/>
                  </a:lnTo>
                  <a:lnTo>
                    <a:pt x="2043" y="22"/>
                  </a:lnTo>
                  <a:lnTo>
                    <a:pt x="2041" y="20"/>
                  </a:lnTo>
                  <a:lnTo>
                    <a:pt x="2041" y="20"/>
                  </a:lnTo>
                  <a:lnTo>
                    <a:pt x="2037" y="19"/>
                  </a:lnTo>
                  <a:lnTo>
                    <a:pt x="2037" y="19"/>
                  </a:lnTo>
                  <a:lnTo>
                    <a:pt x="2021" y="20"/>
                  </a:lnTo>
                  <a:lnTo>
                    <a:pt x="2008" y="22"/>
                  </a:lnTo>
                  <a:lnTo>
                    <a:pt x="2008" y="22"/>
                  </a:lnTo>
                  <a:lnTo>
                    <a:pt x="1997" y="25"/>
                  </a:lnTo>
                  <a:lnTo>
                    <a:pt x="1997" y="25"/>
                  </a:lnTo>
                  <a:lnTo>
                    <a:pt x="1984" y="29"/>
                  </a:lnTo>
                  <a:lnTo>
                    <a:pt x="1984" y="29"/>
                  </a:lnTo>
                  <a:lnTo>
                    <a:pt x="1977" y="32"/>
                  </a:lnTo>
                  <a:lnTo>
                    <a:pt x="1971" y="35"/>
                  </a:lnTo>
                  <a:lnTo>
                    <a:pt x="1971" y="35"/>
                  </a:lnTo>
                  <a:lnTo>
                    <a:pt x="1968" y="38"/>
                  </a:lnTo>
                  <a:lnTo>
                    <a:pt x="1968" y="38"/>
                  </a:lnTo>
                  <a:lnTo>
                    <a:pt x="1961" y="36"/>
                  </a:lnTo>
                  <a:lnTo>
                    <a:pt x="1961" y="36"/>
                  </a:lnTo>
                  <a:lnTo>
                    <a:pt x="1953" y="38"/>
                  </a:lnTo>
                  <a:lnTo>
                    <a:pt x="1953" y="38"/>
                  </a:lnTo>
                  <a:lnTo>
                    <a:pt x="1948" y="39"/>
                  </a:lnTo>
                  <a:lnTo>
                    <a:pt x="1946" y="40"/>
                  </a:lnTo>
                  <a:lnTo>
                    <a:pt x="1943" y="43"/>
                  </a:lnTo>
                  <a:lnTo>
                    <a:pt x="1941" y="46"/>
                  </a:lnTo>
                  <a:lnTo>
                    <a:pt x="1941" y="46"/>
                  </a:lnTo>
                  <a:lnTo>
                    <a:pt x="1941" y="50"/>
                  </a:lnTo>
                  <a:lnTo>
                    <a:pt x="1943" y="53"/>
                  </a:lnTo>
                  <a:lnTo>
                    <a:pt x="1943" y="53"/>
                  </a:lnTo>
                  <a:lnTo>
                    <a:pt x="1943" y="53"/>
                  </a:lnTo>
                  <a:lnTo>
                    <a:pt x="1943" y="53"/>
                  </a:lnTo>
                  <a:lnTo>
                    <a:pt x="1940" y="53"/>
                  </a:lnTo>
                  <a:lnTo>
                    <a:pt x="1940" y="53"/>
                  </a:lnTo>
                  <a:lnTo>
                    <a:pt x="1937" y="53"/>
                  </a:lnTo>
                  <a:lnTo>
                    <a:pt x="1936" y="55"/>
                  </a:lnTo>
                  <a:lnTo>
                    <a:pt x="1936" y="55"/>
                  </a:lnTo>
                  <a:lnTo>
                    <a:pt x="1933" y="58"/>
                  </a:lnTo>
                  <a:lnTo>
                    <a:pt x="1930" y="59"/>
                  </a:lnTo>
                  <a:lnTo>
                    <a:pt x="1930" y="59"/>
                  </a:lnTo>
                  <a:lnTo>
                    <a:pt x="1927" y="60"/>
                  </a:lnTo>
                  <a:lnTo>
                    <a:pt x="1924" y="63"/>
                  </a:lnTo>
                  <a:lnTo>
                    <a:pt x="1924" y="63"/>
                  </a:lnTo>
                  <a:lnTo>
                    <a:pt x="1924" y="66"/>
                  </a:lnTo>
                  <a:lnTo>
                    <a:pt x="1924" y="70"/>
                  </a:lnTo>
                  <a:lnTo>
                    <a:pt x="1924" y="70"/>
                  </a:lnTo>
                  <a:lnTo>
                    <a:pt x="1926" y="73"/>
                  </a:lnTo>
                  <a:lnTo>
                    <a:pt x="1930" y="76"/>
                  </a:lnTo>
                  <a:lnTo>
                    <a:pt x="1930" y="76"/>
                  </a:lnTo>
                  <a:lnTo>
                    <a:pt x="1928" y="75"/>
                  </a:lnTo>
                  <a:lnTo>
                    <a:pt x="1928" y="75"/>
                  </a:lnTo>
                  <a:lnTo>
                    <a:pt x="1921" y="75"/>
                  </a:lnTo>
                  <a:lnTo>
                    <a:pt x="1921" y="75"/>
                  </a:lnTo>
                  <a:lnTo>
                    <a:pt x="1920" y="73"/>
                  </a:lnTo>
                  <a:lnTo>
                    <a:pt x="1918" y="69"/>
                  </a:lnTo>
                  <a:lnTo>
                    <a:pt x="1918" y="69"/>
                  </a:lnTo>
                  <a:lnTo>
                    <a:pt x="1918" y="66"/>
                  </a:lnTo>
                  <a:lnTo>
                    <a:pt x="1918" y="66"/>
                  </a:lnTo>
                  <a:lnTo>
                    <a:pt x="1918" y="63"/>
                  </a:lnTo>
                  <a:lnTo>
                    <a:pt x="1920" y="62"/>
                  </a:lnTo>
                  <a:lnTo>
                    <a:pt x="1920" y="62"/>
                  </a:lnTo>
                  <a:lnTo>
                    <a:pt x="1921" y="60"/>
                  </a:lnTo>
                  <a:lnTo>
                    <a:pt x="1921" y="60"/>
                  </a:lnTo>
                  <a:lnTo>
                    <a:pt x="1924" y="58"/>
                  </a:lnTo>
                  <a:lnTo>
                    <a:pt x="1924" y="58"/>
                  </a:lnTo>
                  <a:lnTo>
                    <a:pt x="1927" y="56"/>
                  </a:lnTo>
                  <a:lnTo>
                    <a:pt x="1927" y="53"/>
                  </a:lnTo>
                  <a:lnTo>
                    <a:pt x="1928" y="50"/>
                  </a:lnTo>
                  <a:lnTo>
                    <a:pt x="1928" y="50"/>
                  </a:lnTo>
                  <a:lnTo>
                    <a:pt x="1930" y="49"/>
                  </a:lnTo>
                  <a:lnTo>
                    <a:pt x="1933" y="46"/>
                  </a:lnTo>
                  <a:lnTo>
                    <a:pt x="1941" y="42"/>
                  </a:lnTo>
                  <a:lnTo>
                    <a:pt x="1943" y="42"/>
                  </a:lnTo>
                  <a:lnTo>
                    <a:pt x="1943" y="42"/>
                  </a:lnTo>
                  <a:lnTo>
                    <a:pt x="1947" y="39"/>
                  </a:lnTo>
                  <a:lnTo>
                    <a:pt x="1947" y="39"/>
                  </a:lnTo>
                  <a:lnTo>
                    <a:pt x="1954" y="36"/>
                  </a:lnTo>
                  <a:lnTo>
                    <a:pt x="1968" y="32"/>
                  </a:lnTo>
                  <a:lnTo>
                    <a:pt x="1968" y="32"/>
                  </a:lnTo>
                  <a:lnTo>
                    <a:pt x="1976" y="29"/>
                  </a:lnTo>
                  <a:lnTo>
                    <a:pt x="1978" y="26"/>
                  </a:lnTo>
                  <a:lnTo>
                    <a:pt x="1980" y="25"/>
                  </a:lnTo>
                  <a:lnTo>
                    <a:pt x="1980" y="25"/>
                  </a:lnTo>
                  <a:lnTo>
                    <a:pt x="1978" y="22"/>
                  </a:lnTo>
                  <a:lnTo>
                    <a:pt x="1976" y="20"/>
                  </a:lnTo>
                  <a:lnTo>
                    <a:pt x="1970" y="18"/>
                  </a:lnTo>
                  <a:lnTo>
                    <a:pt x="1970" y="18"/>
                  </a:lnTo>
                  <a:lnTo>
                    <a:pt x="1957" y="18"/>
                  </a:lnTo>
                  <a:lnTo>
                    <a:pt x="1957" y="18"/>
                  </a:lnTo>
                  <a:lnTo>
                    <a:pt x="1941" y="19"/>
                  </a:lnTo>
                  <a:lnTo>
                    <a:pt x="1926" y="22"/>
                  </a:lnTo>
                  <a:lnTo>
                    <a:pt x="1911" y="26"/>
                  </a:lnTo>
                  <a:lnTo>
                    <a:pt x="1898" y="30"/>
                  </a:lnTo>
                  <a:lnTo>
                    <a:pt x="1877" y="43"/>
                  </a:lnTo>
                  <a:lnTo>
                    <a:pt x="1861" y="53"/>
                  </a:lnTo>
                  <a:lnTo>
                    <a:pt x="1861" y="53"/>
                  </a:lnTo>
                  <a:lnTo>
                    <a:pt x="1851" y="59"/>
                  </a:lnTo>
                  <a:lnTo>
                    <a:pt x="1851" y="59"/>
                  </a:lnTo>
                  <a:lnTo>
                    <a:pt x="1847" y="62"/>
                  </a:lnTo>
                  <a:lnTo>
                    <a:pt x="1844" y="65"/>
                  </a:lnTo>
                  <a:lnTo>
                    <a:pt x="1838" y="70"/>
                  </a:lnTo>
                  <a:lnTo>
                    <a:pt x="1837" y="78"/>
                  </a:lnTo>
                  <a:lnTo>
                    <a:pt x="1836" y="80"/>
                  </a:lnTo>
                  <a:lnTo>
                    <a:pt x="1834" y="83"/>
                  </a:lnTo>
                  <a:lnTo>
                    <a:pt x="1838" y="83"/>
                  </a:lnTo>
                  <a:lnTo>
                    <a:pt x="1838" y="83"/>
                  </a:lnTo>
                  <a:lnTo>
                    <a:pt x="1866" y="83"/>
                  </a:lnTo>
                  <a:lnTo>
                    <a:pt x="1866" y="83"/>
                  </a:lnTo>
                  <a:lnTo>
                    <a:pt x="1868" y="83"/>
                  </a:lnTo>
                  <a:lnTo>
                    <a:pt x="1868" y="83"/>
                  </a:lnTo>
                  <a:lnTo>
                    <a:pt x="1868" y="86"/>
                  </a:lnTo>
                  <a:lnTo>
                    <a:pt x="1868" y="86"/>
                  </a:lnTo>
                  <a:lnTo>
                    <a:pt x="1866" y="86"/>
                  </a:lnTo>
                  <a:lnTo>
                    <a:pt x="1866" y="86"/>
                  </a:lnTo>
                  <a:lnTo>
                    <a:pt x="1858" y="86"/>
                  </a:lnTo>
                  <a:lnTo>
                    <a:pt x="1858" y="86"/>
                  </a:lnTo>
                  <a:lnTo>
                    <a:pt x="1854" y="86"/>
                  </a:lnTo>
                  <a:lnTo>
                    <a:pt x="1838" y="86"/>
                  </a:lnTo>
                  <a:lnTo>
                    <a:pt x="1838" y="86"/>
                  </a:lnTo>
                  <a:lnTo>
                    <a:pt x="1834" y="86"/>
                  </a:lnTo>
                  <a:lnTo>
                    <a:pt x="1830" y="89"/>
                  </a:lnTo>
                  <a:lnTo>
                    <a:pt x="1830" y="89"/>
                  </a:lnTo>
                  <a:lnTo>
                    <a:pt x="1828" y="92"/>
                  </a:lnTo>
                  <a:lnTo>
                    <a:pt x="1828" y="92"/>
                  </a:lnTo>
                  <a:lnTo>
                    <a:pt x="1830" y="95"/>
                  </a:lnTo>
                  <a:lnTo>
                    <a:pt x="1831" y="96"/>
                  </a:lnTo>
                  <a:lnTo>
                    <a:pt x="1836" y="102"/>
                  </a:lnTo>
                  <a:lnTo>
                    <a:pt x="1836" y="102"/>
                  </a:lnTo>
                  <a:lnTo>
                    <a:pt x="1840" y="106"/>
                  </a:lnTo>
                  <a:lnTo>
                    <a:pt x="1840" y="106"/>
                  </a:lnTo>
                  <a:lnTo>
                    <a:pt x="1841" y="108"/>
                  </a:lnTo>
                  <a:lnTo>
                    <a:pt x="1844" y="109"/>
                  </a:lnTo>
                  <a:lnTo>
                    <a:pt x="1853" y="108"/>
                  </a:lnTo>
                  <a:lnTo>
                    <a:pt x="1853" y="108"/>
                  </a:lnTo>
                  <a:lnTo>
                    <a:pt x="1857" y="106"/>
                  </a:lnTo>
                  <a:lnTo>
                    <a:pt x="1857" y="106"/>
                  </a:lnTo>
                  <a:lnTo>
                    <a:pt x="1870" y="105"/>
                  </a:lnTo>
                  <a:lnTo>
                    <a:pt x="1870" y="105"/>
                  </a:lnTo>
                  <a:lnTo>
                    <a:pt x="1868" y="109"/>
                  </a:lnTo>
                  <a:lnTo>
                    <a:pt x="1868" y="109"/>
                  </a:lnTo>
                  <a:lnTo>
                    <a:pt x="1868" y="110"/>
                  </a:lnTo>
                  <a:lnTo>
                    <a:pt x="1868" y="112"/>
                  </a:lnTo>
                  <a:lnTo>
                    <a:pt x="1868" y="112"/>
                  </a:lnTo>
                  <a:lnTo>
                    <a:pt x="1871" y="115"/>
                  </a:lnTo>
                  <a:lnTo>
                    <a:pt x="1876" y="115"/>
                  </a:lnTo>
                  <a:lnTo>
                    <a:pt x="1876" y="115"/>
                  </a:lnTo>
                  <a:lnTo>
                    <a:pt x="1881" y="115"/>
                  </a:lnTo>
                  <a:lnTo>
                    <a:pt x="1881" y="115"/>
                  </a:lnTo>
                  <a:lnTo>
                    <a:pt x="1880" y="116"/>
                  </a:lnTo>
                  <a:lnTo>
                    <a:pt x="1880" y="116"/>
                  </a:lnTo>
                  <a:lnTo>
                    <a:pt x="1877" y="120"/>
                  </a:lnTo>
                  <a:lnTo>
                    <a:pt x="1877" y="120"/>
                  </a:lnTo>
                  <a:lnTo>
                    <a:pt x="1873" y="125"/>
                  </a:lnTo>
                  <a:lnTo>
                    <a:pt x="1873" y="128"/>
                  </a:lnTo>
                  <a:lnTo>
                    <a:pt x="1873" y="130"/>
                  </a:lnTo>
                  <a:lnTo>
                    <a:pt x="1873" y="130"/>
                  </a:lnTo>
                  <a:lnTo>
                    <a:pt x="1874" y="135"/>
                  </a:lnTo>
                  <a:lnTo>
                    <a:pt x="1874" y="136"/>
                  </a:lnTo>
                  <a:lnTo>
                    <a:pt x="1874" y="136"/>
                  </a:lnTo>
                  <a:lnTo>
                    <a:pt x="1871" y="139"/>
                  </a:lnTo>
                  <a:lnTo>
                    <a:pt x="1871" y="139"/>
                  </a:lnTo>
                  <a:lnTo>
                    <a:pt x="1870" y="140"/>
                  </a:lnTo>
                  <a:lnTo>
                    <a:pt x="1864" y="142"/>
                  </a:lnTo>
                  <a:lnTo>
                    <a:pt x="1864" y="142"/>
                  </a:lnTo>
                  <a:lnTo>
                    <a:pt x="1860" y="142"/>
                  </a:lnTo>
                  <a:lnTo>
                    <a:pt x="1856" y="142"/>
                  </a:lnTo>
                  <a:lnTo>
                    <a:pt x="1853" y="143"/>
                  </a:lnTo>
                  <a:lnTo>
                    <a:pt x="1850" y="146"/>
                  </a:lnTo>
                  <a:lnTo>
                    <a:pt x="1850" y="146"/>
                  </a:lnTo>
                  <a:lnTo>
                    <a:pt x="1843" y="155"/>
                  </a:lnTo>
                  <a:lnTo>
                    <a:pt x="1837" y="159"/>
                  </a:lnTo>
                  <a:lnTo>
                    <a:pt x="1837" y="159"/>
                  </a:lnTo>
                  <a:lnTo>
                    <a:pt x="1833" y="159"/>
                  </a:lnTo>
                  <a:lnTo>
                    <a:pt x="1831" y="158"/>
                  </a:lnTo>
                  <a:lnTo>
                    <a:pt x="1831" y="158"/>
                  </a:lnTo>
                  <a:lnTo>
                    <a:pt x="1831" y="155"/>
                  </a:lnTo>
                  <a:lnTo>
                    <a:pt x="1830" y="153"/>
                  </a:lnTo>
                  <a:lnTo>
                    <a:pt x="1827" y="152"/>
                  </a:lnTo>
                  <a:lnTo>
                    <a:pt x="1827" y="152"/>
                  </a:lnTo>
                  <a:lnTo>
                    <a:pt x="1824" y="153"/>
                  </a:lnTo>
                  <a:lnTo>
                    <a:pt x="1823" y="155"/>
                  </a:lnTo>
                  <a:lnTo>
                    <a:pt x="1823" y="155"/>
                  </a:lnTo>
                  <a:lnTo>
                    <a:pt x="1818" y="158"/>
                  </a:lnTo>
                  <a:lnTo>
                    <a:pt x="1818" y="158"/>
                  </a:lnTo>
                  <a:lnTo>
                    <a:pt x="1814" y="160"/>
                  </a:lnTo>
                  <a:lnTo>
                    <a:pt x="1813" y="162"/>
                  </a:lnTo>
                  <a:lnTo>
                    <a:pt x="1811" y="165"/>
                  </a:lnTo>
                  <a:lnTo>
                    <a:pt x="1811" y="165"/>
                  </a:lnTo>
                  <a:lnTo>
                    <a:pt x="1813" y="168"/>
                  </a:lnTo>
                  <a:lnTo>
                    <a:pt x="1813" y="168"/>
                  </a:lnTo>
                  <a:lnTo>
                    <a:pt x="1817" y="170"/>
                  </a:lnTo>
                  <a:lnTo>
                    <a:pt x="1817" y="170"/>
                  </a:lnTo>
                  <a:lnTo>
                    <a:pt x="1817" y="170"/>
                  </a:lnTo>
                  <a:lnTo>
                    <a:pt x="1817" y="170"/>
                  </a:lnTo>
                  <a:lnTo>
                    <a:pt x="1817" y="172"/>
                  </a:lnTo>
                  <a:lnTo>
                    <a:pt x="1817" y="172"/>
                  </a:lnTo>
                  <a:lnTo>
                    <a:pt x="1813" y="173"/>
                  </a:lnTo>
                  <a:lnTo>
                    <a:pt x="1808" y="173"/>
                  </a:lnTo>
                  <a:lnTo>
                    <a:pt x="1808" y="173"/>
                  </a:lnTo>
                  <a:lnTo>
                    <a:pt x="1804" y="175"/>
                  </a:lnTo>
                  <a:lnTo>
                    <a:pt x="1803" y="175"/>
                  </a:lnTo>
                  <a:lnTo>
                    <a:pt x="1801" y="176"/>
                  </a:lnTo>
                  <a:lnTo>
                    <a:pt x="1801" y="176"/>
                  </a:lnTo>
                  <a:lnTo>
                    <a:pt x="1800" y="179"/>
                  </a:lnTo>
                  <a:lnTo>
                    <a:pt x="1800" y="179"/>
                  </a:lnTo>
                  <a:lnTo>
                    <a:pt x="1798" y="182"/>
                  </a:lnTo>
                  <a:lnTo>
                    <a:pt x="1798" y="182"/>
                  </a:lnTo>
                  <a:lnTo>
                    <a:pt x="1798" y="182"/>
                  </a:lnTo>
                  <a:lnTo>
                    <a:pt x="1798" y="182"/>
                  </a:lnTo>
                  <a:lnTo>
                    <a:pt x="1796" y="180"/>
                  </a:lnTo>
                  <a:lnTo>
                    <a:pt x="1796" y="180"/>
                  </a:lnTo>
                  <a:lnTo>
                    <a:pt x="1794" y="176"/>
                  </a:lnTo>
                  <a:lnTo>
                    <a:pt x="1794" y="176"/>
                  </a:lnTo>
                  <a:lnTo>
                    <a:pt x="1793" y="172"/>
                  </a:lnTo>
                  <a:lnTo>
                    <a:pt x="1793" y="172"/>
                  </a:lnTo>
                  <a:lnTo>
                    <a:pt x="1791" y="168"/>
                  </a:lnTo>
                  <a:lnTo>
                    <a:pt x="1793" y="165"/>
                  </a:lnTo>
                  <a:lnTo>
                    <a:pt x="1793" y="165"/>
                  </a:lnTo>
                  <a:lnTo>
                    <a:pt x="1800" y="156"/>
                  </a:lnTo>
                  <a:lnTo>
                    <a:pt x="1800" y="156"/>
                  </a:lnTo>
                  <a:lnTo>
                    <a:pt x="1803" y="156"/>
                  </a:lnTo>
                  <a:lnTo>
                    <a:pt x="1807" y="155"/>
                  </a:lnTo>
                  <a:lnTo>
                    <a:pt x="1807" y="155"/>
                  </a:lnTo>
                  <a:lnTo>
                    <a:pt x="1811" y="150"/>
                  </a:lnTo>
                  <a:lnTo>
                    <a:pt x="1813" y="146"/>
                  </a:lnTo>
                  <a:lnTo>
                    <a:pt x="1814" y="140"/>
                  </a:lnTo>
                  <a:lnTo>
                    <a:pt x="1814" y="140"/>
                  </a:lnTo>
                  <a:lnTo>
                    <a:pt x="1814" y="138"/>
                  </a:lnTo>
                  <a:lnTo>
                    <a:pt x="1813" y="136"/>
                  </a:lnTo>
                  <a:lnTo>
                    <a:pt x="1807" y="133"/>
                  </a:lnTo>
                  <a:lnTo>
                    <a:pt x="1801" y="130"/>
                  </a:lnTo>
                  <a:lnTo>
                    <a:pt x="1797" y="129"/>
                  </a:lnTo>
                  <a:lnTo>
                    <a:pt x="1797" y="129"/>
                  </a:lnTo>
                  <a:lnTo>
                    <a:pt x="1796" y="129"/>
                  </a:lnTo>
                  <a:lnTo>
                    <a:pt x="1794" y="130"/>
                  </a:lnTo>
                  <a:lnTo>
                    <a:pt x="1794" y="130"/>
                  </a:lnTo>
                  <a:lnTo>
                    <a:pt x="1790" y="132"/>
                  </a:lnTo>
                  <a:lnTo>
                    <a:pt x="1790" y="132"/>
                  </a:lnTo>
                  <a:lnTo>
                    <a:pt x="1783" y="133"/>
                  </a:lnTo>
                  <a:lnTo>
                    <a:pt x="1780" y="135"/>
                  </a:lnTo>
                  <a:lnTo>
                    <a:pt x="1778" y="138"/>
                  </a:lnTo>
                  <a:lnTo>
                    <a:pt x="1778" y="138"/>
                  </a:lnTo>
                  <a:lnTo>
                    <a:pt x="1771" y="146"/>
                  </a:lnTo>
                  <a:lnTo>
                    <a:pt x="1764" y="152"/>
                  </a:lnTo>
                  <a:lnTo>
                    <a:pt x="1764" y="152"/>
                  </a:lnTo>
                  <a:lnTo>
                    <a:pt x="1764" y="149"/>
                  </a:lnTo>
                  <a:lnTo>
                    <a:pt x="1767" y="146"/>
                  </a:lnTo>
                  <a:lnTo>
                    <a:pt x="1767" y="146"/>
                  </a:lnTo>
                  <a:lnTo>
                    <a:pt x="1768" y="140"/>
                  </a:lnTo>
                  <a:lnTo>
                    <a:pt x="1770" y="136"/>
                  </a:lnTo>
                  <a:lnTo>
                    <a:pt x="1771" y="129"/>
                  </a:lnTo>
                  <a:lnTo>
                    <a:pt x="1771" y="129"/>
                  </a:lnTo>
                  <a:lnTo>
                    <a:pt x="1770" y="128"/>
                  </a:lnTo>
                  <a:lnTo>
                    <a:pt x="1768" y="125"/>
                  </a:lnTo>
                  <a:lnTo>
                    <a:pt x="1764" y="122"/>
                  </a:lnTo>
                  <a:lnTo>
                    <a:pt x="1764" y="122"/>
                  </a:lnTo>
                  <a:lnTo>
                    <a:pt x="1760" y="120"/>
                  </a:lnTo>
                  <a:lnTo>
                    <a:pt x="1758" y="120"/>
                  </a:lnTo>
                  <a:lnTo>
                    <a:pt x="1758" y="120"/>
                  </a:lnTo>
                  <a:lnTo>
                    <a:pt x="1756" y="120"/>
                  </a:lnTo>
                  <a:lnTo>
                    <a:pt x="1756" y="120"/>
                  </a:lnTo>
                  <a:lnTo>
                    <a:pt x="1756" y="120"/>
                  </a:lnTo>
                  <a:lnTo>
                    <a:pt x="1756" y="120"/>
                  </a:lnTo>
                  <a:lnTo>
                    <a:pt x="1761" y="115"/>
                  </a:lnTo>
                  <a:lnTo>
                    <a:pt x="1761" y="115"/>
                  </a:lnTo>
                  <a:lnTo>
                    <a:pt x="1764" y="112"/>
                  </a:lnTo>
                  <a:lnTo>
                    <a:pt x="1766" y="110"/>
                  </a:lnTo>
                  <a:lnTo>
                    <a:pt x="1766" y="110"/>
                  </a:lnTo>
                  <a:lnTo>
                    <a:pt x="1770" y="112"/>
                  </a:lnTo>
                  <a:lnTo>
                    <a:pt x="1770" y="112"/>
                  </a:lnTo>
                  <a:lnTo>
                    <a:pt x="1776" y="112"/>
                  </a:lnTo>
                  <a:lnTo>
                    <a:pt x="1776" y="112"/>
                  </a:lnTo>
                  <a:lnTo>
                    <a:pt x="1778" y="112"/>
                  </a:lnTo>
                  <a:lnTo>
                    <a:pt x="1780" y="109"/>
                  </a:lnTo>
                  <a:lnTo>
                    <a:pt x="1780" y="109"/>
                  </a:lnTo>
                  <a:lnTo>
                    <a:pt x="1780" y="103"/>
                  </a:lnTo>
                  <a:lnTo>
                    <a:pt x="1777" y="100"/>
                  </a:lnTo>
                  <a:lnTo>
                    <a:pt x="1777" y="100"/>
                  </a:lnTo>
                  <a:lnTo>
                    <a:pt x="1776" y="98"/>
                  </a:lnTo>
                  <a:lnTo>
                    <a:pt x="1776" y="98"/>
                  </a:lnTo>
                  <a:lnTo>
                    <a:pt x="1776" y="96"/>
                  </a:lnTo>
                  <a:lnTo>
                    <a:pt x="1776" y="96"/>
                  </a:lnTo>
                  <a:lnTo>
                    <a:pt x="1773" y="92"/>
                  </a:lnTo>
                  <a:lnTo>
                    <a:pt x="1774" y="90"/>
                  </a:lnTo>
                  <a:lnTo>
                    <a:pt x="1774" y="90"/>
                  </a:lnTo>
                  <a:lnTo>
                    <a:pt x="1777" y="89"/>
                  </a:lnTo>
                  <a:lnTo>
                    <a:pt x="1778" y="85"/>
                  </a:lnTo>
                  <a:lnTo>
                    <a:pt x="1781" y="78"/>
                  </a:lnTo>
                  <a:lnTo>
                    <a:pt x="1781" y="78"/>
                  </a:lnTo>
                  <a:lnTo>
                    <a:pt x="1781" y="76"/>
                  </a:lnTo>
                  <a:lnTo>
                    <a:pt x="1781" y="75"/>
                  </a:lnTo>
                  <a:lnTo>
                    <a:pt x="1781" y="75"/>
                  </a:lnTo>
                  <a:lnTo>
                    <a:pt x="1781" y="75"/>
                  </a:lnTo>
                  <a:lnTo>
                    <a:pt x="1781" y="75"/>
                  </a:lnTo>
                  <a:lnTo>
                    <a:pt x="1780" y="72"/>
                  </a:lnTo>
                  <a:lnTo>
                    <a:pt x="1778" y="70"/>
                  </a:lnTo>
                  <a:lnTo>
                    <a:pt x="1776" y="68"/>
                  </a:lnTo>
                  <a:lnTo>
                    <a:pt x="1771" y="68"/>
                  </a:lnTo>
                  <a:lnTo>
                    <a:pt x="1771" y="68"/>
                  </a:lnTo>
                  <a:lnTo>
                    <a:pt x="1760" y="65"/>
                  </a:lnTo>
                  <a:lnTo>
                    <a:pt x="1756" y="65"/>
                  </a:lnTo>
                  <a:lnTo>
                    <a:pt x="1756" y="63"/>
                  </a:lnTo>
                  <a:lnTo>
                    <a:pt x="1754" y="65"/>
                  </a:lnTo>
                  <a:lnTo>
                    <a:pt x="1754" y="65"/>
                  </a:lnTo>
                  <a:lnTo>
                    <a:pt x="1746" y="69"/>
                  </a:lnTo>
                  <a:lnTo>
                    <a:pt x="1740" y="73"/>
                  </a:lnTo>
                  <a:lnTo>
                    <a:pt x="1734" y="78"/>
                  </a:lnTo>
                  <a:lnTo>
                    <a:pt x="1734" y="78"/>
                  </a:lnTo>
                  <a:lnTo>
                    <a:pt x="1734" y="79"/>
                  </a:lnTo>
                  <a:lnTo>
                    <a:pt x="1734" y="79"/>
                  </a:lnTo>
                  <a:lnTo>
                    <a:pt x="1733" y="78"/>
                  </a:lnTo>
                  <a:lnTo>
                    <a:pt x="1733" y="78"/>
                  </a:lnTo>
                  <a:lnTo>
                    <a:pt x="1731" y="76"/>
                  </a:lnTo>
                  <a:lnTo>
                    <a:pt x="1727" y="75"/>
                  </a:lnTo>
                  <a:lnTo>
                    <a:pt x="1727" y="75"/>
                  </a:lnTo>
                  <a:lnTo>
                    <a:pt x="1726" y="76"/>
                  </a:lnTo>
                  <a:lnTo>
                    <a:pt x="1726" y="76"/>
                  </a:lnTo>
                  <a:lnTo>
                    <a:pt x="1721" y="76"/>
                  </a:lnTo>
                  <a:lnTo>
                    <a:pt x="1721" y="76"/>
                  </a:lnTo>
                  <a:lnTo>
                    <a:pt x="1708" y="80"/>
                  </a:lnTo>
                  <a:lnTo>
                    <a:pt x="1703" y="83"/>
                  </a:lnTo>
                  <a:lnTo>
                    <a:pt x="1701" y="85"/>
                  </a:lnTo>
                  <a:lnTo>
                    <a:pt x="1701" y="88"/>
                  </a:lnTo>
                  <a:lnTo>
                    <a:pt x="1701" y="88"/>
                  </a:lnTo>
                  <a:lnTo>
                    <a:pt x="1700" y="90"/>
                  </a:lnTo>
                  <a:lnTo>
                    <a:pt x="1700" y="90"/>
                  </a:lnTo>
                  <a:lnTo>
                    <a:pt x="1700" y="93"/>
                  </a:lnTo>
                  <a:lnTo>
                    <a:pt x="1701" y="98"/>
                  </a:lnTo>
                  <a:lnTo>
                    <a:pt x="1701" y="98"/>
                  </a:lnTo>
                  <a:lnTo>
                    <a:pt x="1696" y="99"/>
                  </a:lnTo>
                  <a:lnTo>
                    <a:pt x="1696" y="99"/>
                  </a:lnTo>
                  <a:lnTo>
                    <a:pt x="1690" y="102"/>
                  </a:lnTo>
                  <a:lnTo>
                    <a:pt x="1687" y="103"/>
                  </a:lnTo>
                  <a:lnTo>
                    <a:pt x="1686" y="105"/>
                  </a:lnTo>
                  <a:lnTo>
                    <a:pt x="1686" y="105"/>
                  </a:lnTo>
                  <a:lnTo>
                    <a:pt x="1684" y="108"/>
                  </a:lnTo>
                  <a:lnTo>
                    <a:pt x="1684" y="108"/>
                  </a:lnTo>
                  <a:lnTo>
                    <a:pt x="1681" y="110"/>
                  </a:lnTo>
                  <a:lnTo>
                    <a:pt x="1681" y="113"/>
                  </a:lnTo>
                  <a:lnTo>
                    <a:pt x="1681" y="113"/>
                  </a:lnTo>
                  <a:lnTo>
                    <a:pt x="1684" y="116"/>
                  </a:lnTo>
                  <a:lnTo>
                    <a:pt x="1687" y="118"/>
                  </a:lnTo>
                  <a:lnTo>
                    <a:pt x="1687" y="118"/>
                  </a:lnTo>
                  <a:lnTo>
                    <a:pt x="1696" y="120"/>
                  </a:lnTo>
                  <a:lnTo>
                    <a:pt x="1696" y="120"/>
                  </a:lnTo>
                  <a:lnTo>
                    <a:pt x="1704" y="123"/>
                  </a:lnTo>
                  <a:lnTo>
                    <a:pt x="1704" y="123"/>
                  </a:lnTo>
                  <a:lnTo>
                    <a:pt x="1710" y="126"/>
                  </a:lnTo>
                  <a:lnTo>
                    <a:pt x="1710" y="126"/>
                  </a:lnTo>
                  <a:lnTo>
                    <a:pt x="1714" y="128"/>
                  </a:lnTo>
                  <a:lnTo>
                    <a:pt x="1714" y="128"/>
                  </a:lnTo>
                  <a:lnTo>
                    <a:pt x="1711" y="130"/>
                  </a:lnTo>
                  <a:lnTo>
                    <a:pt x="1704" y="133"/>
                  </a:lnTo>
                  <a:lnTo>
                    <a:pt x="1704" y="133"/>
                  </a:lnTo>
                  <a:lnTo>
                    <a:pt x="1697" y="133"/>
                  </a:lnTo>
                  <a:lnTo>
                    <a:pt x="1697" y="133"/>
                  </a:lnTo>
                  <a:lnTo>
                    <a:pt x="1694" y="133"/>
                  </a:lnTo>
                  <a:lnTo>
                    <a:pt x="1694" y="133"/>
                  </a:lnTo>
                  <a:lnTo>
                    <a:pt x="1691" y="133"/>
                  </a:lnTo>
                  <a:lnTo>
                    <a:pt x="1690" y="135"/>
                  </a:lnTo>
                  <a:lnTo>
                    <a:pt x="1690" y="135"/>
                  </a:lnTo>
                  <a:lnTo>
                    <a:pt x="1688" y="138"/>
                  </a:lnTo>
                  <a:lnTo>
                    <a:pt x="1688" y="138"/>
                  </a:lnTo>
                  <a:lnTo>
                    <a:pt x="1690" y="140"/>
                  </a:lnTo>
                  <a:lnTo>
                    <a:pt x="1691" y="143"/>
                  </a:lnTo>
                  <a:lnTo>
                    <a:pt x="1697" y="145"/>
                  </a:lnTo>
                  <a:lnTo>
                    <a:pt x="1697" y="145"/>
                  </a:lnTo>
                  <a:lnTo>
                    <a:pt x="1698" y="146"/>
                  </a:lnTo>
                  <a:lnTo>
                    <a:pt x="1698" y="146"/>
                  </a:lnTo>
                  <a:lnTo>
                    <a:pt x="1700" y="146"/>
                  </a:lnTo>
                  <a:lnTo>
                    <a:pt x="1700" y="146"/>
                  </a:lnTo>
                  <a:lnTo>
                    <a:pt x="1696" y="148"/>
                  </a:lnTo>
                  <a:lnTo>
                    <a:pt x="1696" y="148"/>
                  </a:lnTo>
                  <a:lnTo>
                    <a:pt x="1687" y="152"/>
                  </a:lnTo>
                  <a:lnTo>
                    <a:pt x="1687" y="152"/>
                  </a:lnTo>
                  <a:lnTo>
                    <a:pt x="1683" y="153"/>
                  </a:lnTo>
                  <a:lnTo>
                    <a:pt x="1683" y="153"/>
                  </a:lnTo>
                  <a:lnTo>
                    <a:pt x="1678" y="156"/>
                  </a:lnTo>
                  <a:lnTo>
                    <a:pt x="1668" y="158"/>
                  </a:lnTo>
                  <a:lnTo>
                    <a:pt x="1668" y="158"/>
                  </a:lnTo>
                  <a:lnTo>
                    <a:pt x="1657" y="159"/>
                  </a:lnTo>
                  <a:lnTo>
                    <a:pt x="1653" y="160"/>
                  </a:lnTo>
                  <a:lnTo>
                    <a:pt x="1651" y="162"/>
                  </a:lnTo>
                  <a:lnTo>
                    <a:pt x="1651" y="162"/>
                  </a:lnTo>
                  <a:lnTo>
                    <a:pt x="1650" y="163"/>
                  </a:lnTo>
                  <a:lnTo>
                    <a:pt x="1648" y="165"/>
                  </a:lnTo>
                  <a:lnTo>
                    <a:pt x="1647" y="170"/>
                  </a:lnTo>
                  <a:lnTo>
                    <a:pt x="1647" y="170"/>
                  </a:lnTo>
                  <a:lnTo>
                    <a:pt x="1646" y="176"/>
                  </a:lnTo>
                  <a:lnTo>
                    <a:pt x="1644" y="179"/>
                  </a:lnTo>
                  <a:lnTo>
                    <a:pt x="1643" y="180"/>
                  </a:lnTo>
                  <a:lnTo>
                    <a:pt x="1643" y="180"/>
                  </a:lnTo>
                  <a:lnTo>
                    <a:pt x="1638" y="180"/>
                  </a:lnTo>
                  <a:lnTo>
                    <a:pt x="1638" y="180"/>
                  </a:lnTo>
                  <a:lnTo>
                    <a:pt x="1634" y="180"/>
                  </a:lnTo>
                  <a:lnTo>
                    <a:pt x="1631" y="179"/>
                  </a:lnTo>
                  <a:lnTo>
                    <a:pt x="1631" y="179"/>
                  </a:lnTo>
                  <a:lnTo>
                    <a:pt x="1631" y="178"/>
                  </a:lnTo>
                  <a:lnTo>
                    <a:pt x="1631" y="178"/>
                  </a:lnTo>
                  <a:lnTo>
                    <a:pt x="1633" y="175"/>
                  </a:lnTo>
                  <a:lnTo>
                    <a:pt x="1637" y="170"/>
                  </a:lnTo>
                  <a:lnTo>
                    <a:pt x="1637" y="170"/>
                  </a:lnTo>
                  <a:lnTo>
                    <a:pt x="1641" y="169"/>
                  </a:lnTo>
                  <a:lnTo>
                    <a:pt x="1641" y="169"/>
                  </a:lnTo>
                  <a:lnTo>
                    <a:pt x="1646" y="165"/>
                  </a:lnTo>
                  <a:lnTo>
                    <a:pt x="1648" y="160"/>
                  </a:lnTo>
                  <a:lnTo>
                    <a:pt x="1648" y="160"/>
                  </a:lnTo>
                  <a:lnTo>
                    <a:pt x="1651" y="159"/>
                  </a:lnTo>
                  <a:lnTo>
                    <a:pt x="1651" y="159"/>
                  </a:lnTo>
                  <a:lnTo>
                    <a:pt x="1654" y="158"/>
                  </a:lnTo>
                  <a:lnTo>
                    <a:pt x="1654" y="155"/>
                  </a:lnTo>
                  <a:lnTo>
                    <a:pt x="1654" y="155"/>
                  </a:lnTo>
                  <a:lnTo>
                    <a:pt x="1654" y="153"/>
                  </a:lnTo>
                  <a:lnTo>
                    <a:pt x="1653" y="152"/>
                  </a:lnTo>
                  <a:lnTo>
                    <a:pt x="1653" y="152"/>
                  </a:lnTo>
                  <a:lnTo>
                    <a:pt x="1651" y="152"/>
                  </a:lnTo>
                  <a:lnTo>
                    <a:pt x="1651" y="152"/>
                  </a:lnTo>
                  <a:lnTo>
                    <a:pt x="1657" y="150"/>
                  </a:lnTo>
                  <a:lnTo>
                    <a:pt x="1657" y="150"/>
                  </a:lnTo>
                  <a:lnTo>
                    <a:pt x="1660" y="149"/>
                  </a:lnTo>
                  <a:lnTo>
                    <a:pt x="1660" y="149"/>
                  </a:lnTo>
                  <a:lnTo>
                    <a:pt x="1663" y="148"/>
                  </a:lnTo>
                  <a:lnTo>
                    <a:pt x="1667" y="148"/>
                  </a:lnTo>
                  <a:lnTo>
                    <a:pt x="1667" y="148"/>
                  </a:lnTo>
                  <a:lnTo>
                    <a:pt x="1668" y="148"/>
                  </a:lnTo>
                  <a:lnTo>
                    <a:pt x="1668" y="148"/>
                  </a:lnTo>
                  <a:lnTo>
                    <a:pt x="1671" y="148"/>
                  </a:lnTo>
                  <a:lnTo>
                    <a:pt x="1671" y="148"/>
                  </a:lnTo>
                  <a:lnTo>
                    <a:pt x="1674" y="146"/>
                  </a:lnTo>
                  <a:lnTo>
                    <a:pt x="1677" y="146"/>
                  </a:lnTo>
                  <a:lnTo>
                    <a:pt x="1678" y="143"/>
                  </a:lnTo>
                  <a:lnTo>
                    <a:pt x="1678" y="143"/>
                  </a:lnTo>
                  <a:lnTo>
                    <a:pt x="1678" y="140"/>
                  </a:lnTo>
                  <a:lnTo>
                    <a:pt x="1678" y="138"/>
                  </a:lnTo>
                  <a:lnTo>
                    <a:pt x="1674" y="136"/>
                  </a:lnTo>
                  <a:lnTo>
                    <a:pt x="1674" y="136"/>
                  </a:lnTo>
                  <a:lnTo>
                    <a:pt x="1673" y="135"/>
                  </a:lnTo>
                  <a:lnTo>
                    <a:pt x="1673" y="135"/>
                  </a:lnTo>
                  <a:lnTo>
                    <a:pt x="1673" y="133"/>
                  </a:lnTo>
                  <a:lnTo>
                    <a:pt x="1673" y="133"/>
                  </a:lnTo>
                  <a:lnTo>
                    <a:pt x="1674" y="132"/>
                  </a:lnTo>
                  <a:lnTo>
                    <a:pt x="1677" y="132"/>
                  </a:lnTo>
                  <a:lnTo>
                    <a:pt x="1678" y="132"/>
                  </a:lnTo>
                  <a:lnTo>
                    <a:pt x="1678" y="132"/>
                  </a:lnTo>
                  <a:lnTo>
                    <a:pt x="1683" y="132"/>
                  </a:lnTo>
                  <a:lnTo>
                    <a:pt x="1684" y="130"/>
                  </a:lnTo>
                  <a:lnTo>
                    <a:pt x="1686" y="129"/>
                  </a:lnTo>
                  <a:lnTo>
                    <a:pt x="1686" y="129"/>
                  </a:lnTo>
                  <a:lnTo>
                    <a:pt x="1684" y="126"/>
                  </a:lnTo>
                  <a:lnTo>
                    <a:pt x="1683" y="123"/>
                  </a:lnTo>
                  <a:lnTo>
                    <a:pt x="1677" y="122"/>
                  </a:lnTo>
                  <a:lnTo>
                    <a:pt x="1677" y="122"/>
                  </a:lnTo>
                  <a:lnTo>
                    <a:pt x="1670" y="122"/>
                  </a:lnTo>
                  <a:lnTo>
                    <a:pt x="1670" y="122"/>
                  </a:lnTo>
                  <a:lnTo>
                    <a:pt x="1666" y="122"/>
                  </a:lnTo>
                  <a:lnTo>
                    <a:pt x="1663" y="122"/>
                  </a:lnTo>
                  <a:lnTo>
                    <a:pt x="1663" y="122"/>
                  </a:lnTo>
                  <a:lnTo>
                    <a:pt x="1660" y="119"/>
                  </a:lnTo>
                  <a:lnTo>
                    <a:pt x="1660" y="119"/>
                  </a:lnTo>
                  <a:lnTo>
                    <a:pt x="1657" y="116"/>
                  </a:lnTo>
                  <a:lnTo>
                    <a:pt x="1654" y="113"/>
                  </a:lnTo>
                  <a:lnTo>
                    <a:pt x="1654" y="113"/>
                  </a:lnTo>
                  <a:lnTo>
                    <a:pt x="1647" y="113"/>
                  </a:lnTo>
                  <a:lnTo>
                    <a:pt x="1640" y="116"/>
                  </a:lnTo>
                  <a:lnTo>
                    <a:pt x="1640" y="116"/>
                  </a:lnTo>
                  <a:lnTo>
                    <a:pt x="1631" y="122"/>
                  </a:lnTo>
                  <a:lnTo>
                    <a:pt x="1631" y="122"/>
                  </a:lnTo>
                  <a:lnTo>
                    <a:pt x="1624" y="128"/>
                  </a:lnTo>
                  <a:lnTo>
                    <a:pt x="1620" y="130"/>
                  </a:lnTo>
                  <a:lnTo>
                    <a:pt x="1616" y="132"/>
                  </a:lnTo>
                  <a:lnTo>
                    <a:pt x="1616" y="132"/>
                  </a:lnTo>
                  <a:lnTo>
                    <a:pt x="1611" y="130"/>
                  </a:lnTo>
                  <a:lnTo>
                    <a:pt x="1611" y="130"/>
                  </a:lnTo>
                  <a:lnTo>
                    <a:pt x="1608" y="130"/>
                  </a:lnTo>
                  <a:lnTo>
                    <a:pt x="1608" y="130"/>
                  </a:lnTo>
                  <a:lnTo>
                    <a:pt x="1606" y="132"/>
                  </a:lnTo>
                  <a:lnTo>
                    <a:pt x="1603" y="133"/>
                  </a:lnTo>
                  <a:lnTo>
                    <a:pt x="1601" y="135"/>
                  </a:lnTo>
                  <a:lnTo>
                    <a:pt x="1601" y="136"/>
                  </a:lnTo>
                  <a:lnTo>
                    <a:pt x="1601" y="136"/>
                  </a:lnTo>
                  <a:lnTo>
                    <a:pt x="1601" y="139"/>
                  </a:lnTo>
                  <a:lnTo>
                    <a:pt x="1603" y="140"/>
                  </a:lnTo>
                  <a:lnTo>
                    <a:pt x="1603" y="140"/>
                  </a:lnTo>
                  <a:lnTo>
                    <a:pt x="1606" y="143"/>
                  </a:lnTo>
                  <a:lnTo>
                    <a:pt x="1610" y="145"/>
                  </a:lnTo>
                  <a:lnTo>
                    <a:pt x="1616" y="145"/>
                  </a:lnTo>
                  <a:lnTo>
                    <a:pt x="1616" y="145"/>
                  </a:lnTo>
                  <a:lnTo>
                    <a:pt x="1616" y="145"/>
                  </a:lnTo>
                  <a:lnTo>
                    <a:pt x="1618" y="146"/>
                  </a:lnTo>
                  <a:lnTo>
                    <a:pt x="1623" y="146"/>
                  </a:lnTo>
                  <a:lnTo>
                    <a:pt x="1623" y="146"/>
                  </a:lnTo>
                  <a:lnTo>
                    <a:pt x="1626" y="145"/>
                  </a:lnTo>
                  <a:lnTo>
                    <a:pt x="1626" y="145"/>
                  </a:lnTo>
                  <a:lnTo>
                    <a:pt x="1627" y="146"/>
                  </a:lnTo>
                  <a:lnTo>
                    <a:pt x="1626" y="146"/>
                  </a:lnTo>
                  <a:lnTo>
                    <a:pt x="1626" y="146"/>
                  </a:lnTo>
                  <a:lnTo>
                    <a:pt x="1620" y="146"/>
                  </a:lnTo>
                  <a:lnTo>
                    <a:pt x="1616" y="149"/>
                  </a:lnTo>
                  <a:lnTo>
                    <a:pt x="1616" y="149"/>
                  </a:lnTo>
                  <a:lnTo>
                    <a:pt x="1611" y="150"/>
                  </a:lnTo>
                  <a:lnTo>
                    <a:pt x="1611" y="150"/>
                  </a:lnTo>
                  <a:lnTo>
                    <a:pt x="1606" y="152"/>
                  </a:lnTo>
                  <a:lnTo>
                    <a:pt x="1604" y="152"/>
                  </a:lnTo>
                  <a:lnTo>
                    <a:pt x="1601" y="155"/>
                  </a:lnTo>
                  <a:lnTo>
                    <a:pt x="1601" y="155"/>
                  </a:lnTo>
                  <a:lnTo>
                    <a:pt x="1598" y="156"/>
                  </a:lnTo>
                  <a:lnTo>
                    <a:pt x="1598" y="156"/>
                  </a:lnTo>
                  <a:lnTo>
                    <a:pt x="1596" y="159"/>
                  </a:lnTo>
                  <a:lnTo>
                    <a:pt x="1594" y="162"/>
                  </a:lnTo>
                  <a:lnTo>
                    <a:pt x="1594" y="165"/>
                  </a:lnTo>
                  <a:lnTo>
                    <a:pt x="1594" y="165"/>
                  </a:lnTo>
                  <a:lnTo>
                    <a:pt x="1594" y="166"/>
                  </a:lnTo>
                  <a:lnTo>
                    <a:pt x="1594" y="166"/>
                  </a:lnTo>
                  <a:lnTo>
                    <a:pt x="1588" y="169"/>
                  </a:lnTo>
                  <a:lnTo>
                    <a:pt x="1583" y="169"/>
                  </a:lnTo>
                  <a:lnTo>
                    <a:pt x="1583" y="169"/>
                  </a:lnTo>
                  <a:lnTo>
                    <a:pt x="1583" y="169"/>
                  </a:lnTo>
                  <a:lnTo>
                    <a:pt x="1583" y="169"/>
                  </a:lnTo>
                  <a:lnTo>
                    <a:pt x="1580" y="168"/>
                  </a:lnTo>
                  <a:lnTo>
                    <a:pt x="1576" y="166"/>
                  </a:lnTo>
                  <a:lnTo>
                    <a:pt x="1574" y="166"/>
                  </a:lnTo>
                  <a:lnTo>
                    <a:pt x="1574" y="166"/>
                  </a:lnTo>
                  <a:lnTo>
                    <a:pt x="1563" y="163"/>
                  </a:lnTo>
                  <a:lnTo>
                    <a:pt x="1550" y="163"/>
                  </a:lnTo>
                  <a:lnTo>
                    <a:pt x="1550" y="163"/>
                  </a:lnTo>
                  <a:lnTo>
                    <a:pt x="1541" y="163"/>
                  </a:lnTo>
                  <a:lnTo>
                    <a:pt x="1536" y="166"/>
                  </a:lnTo>
                  <a:lnTo>
                    <a:pt x="1536" y="166"/>
                  </a:lnTo>
                  <a:lnTo>
                    <a:pt x="1530" y="169"/>
                  </a:lnTo>
                  <a:lnTo>
                    <a:pt x="1524" y="169"/>
                  </a:lnTo>
                  <a:lnTo>
                    <a:pt x="1521" y="169"/>
                  </a:lnTo>
                  <a:lnTo>
                    <a:pt x="1517" y="168"/>
                  </a:lnTo>
                  <a:lnTo>
                    <a:pt x="1517" y="168"/>
                  </a:lnTo>
                  <a:lnTo>
                    <a:pt x="1514" y="162"/>
                  </a:lnTo>
                  <a:lnTo>
                    <a:pt x="1514" y="162"/>
                  </a:lnTo>
                  <a:lnTo>
                    <a:pt x="1511" y="158"/>
                  </a:lnTo>
                  <a:lnTo>
                    <a:pt x="1509" y="156"/>
                  </a:lnTo>
                  <a:lnTo>
                    <a:pt x="1506" y="158"/>
                  </a:lnTo>
                  <a:lnTo>
                    <a:pt x="1506" y="158"/>
                  </a:lnTo>
                  <a:lnTo>
                    <a:pt x="1500" y="159"/>
                  </a:lnTo>
                  <a:lnTo>
                    <a:pt x="1500" y="159"/>
                  </a:lnTo>
                  <a:lnTo>
                    <a:pt x="1494" y="160"/>
                  </a:lnTo>
                  <a:lnTo>
                    <a:pt x="1490" y="160"/>
                  </a:lnTo>
                  <a:lnTo>
                    <a:pt x="1490" y="160"/>
                  </a:lnTo>
                  <a:lnTo>
                    <a:pt x="1489" y="160"/>
                  </a:lnTo>
                  <a:lnTo>
                    <a:pt x="1487" y="159"/>
                  </a:lnTo>
                  <a:lnTo>
                    <a:pt x="1487" y="159"/>
                  </a:lnTo>
                  <a:lnTo>
                    <a:pt x="1484" y="155"/>
                  </a:lnTo>
                  <a:lnTo>
                    <a:pt x="1484" y="155"/>
                  </a:lnTo>
                  <a:lnTo>
                    <a:pt x="1481" y="150"/>
                  </a:lnTo>
                  <a:lnTo>
                    <a:pt x="1479" y="149"/>
                  </a:lnTo>
                  <a:lnTo>
                    <a:pt x="1474" y="149"/>
                  </a:lnTo>
                  <a:lnTo>
                    <a:pt x="1474" y="149"/>
                  </a:lnTo>
                  <a:lnTo>
                    <a:pt x="1469" y="150"/>
                  </a:lnTo>
                  <a:lnTo>
                    <a:pt x="1469" y="150"/>
                  </a:lnTo>
                  <a:lnTo>
                    <a:pt x="1461" y="150"/>
                  </a:lnTo>
                  <a:lnTo>
                    <a:pt x="1453" y="153"/>
                  </a:lnTo>
                  <a:lnTo>
                    <a:pt x="1453" y="153"/>
                  </a:lnTo>
                  <a:lnTo>
                    <a:pt x="1447" y="158"/>
                  </a:lnTo>
                  <a:lnTo>
                    <a:pt x="1447" y="158"/>
                  </a:lnTo>
                  <a:lnTo>
                    <a:pt x="1446" y="159"/>
                  </a:lnTo>
                  <a:lnTo>
                    <a:pt x="1441" y="159"/>
                  </a:lnTo>
                  <a:lnTo>
                    <a:pt x="1441" y="159"/>
                  </a:lnTo>
                  <a:lnTo>
                    <a:pt x="1437" y="159"/>
                  </a:lnTo>
                  <a:lnTo>
                    <a:pt x="1437" y="159"/>
                  </a:lnTo>
                  <a:lnTo>
                    <a:pt x="1431" y="159"/>
                  </a:lnTo>
                  <a:lnTo>
                    <a:pt x="1431" y="159"/>
                  </a:lnTo>
                  <a:lnTo>
                    <a:pt x="1424" y="159"/>
                  </a:lnTo>
                  <a:lnTo>
                    <a:pt x="1424" y="159"/>
                  </a:lnTo>
                  <a:lnTo>
                    <a:pt x="1420" y="159"/>
                  </a:lnTo>
                  <a:lnTo>
                    <a:pt x="1416" y="162"/>
                  </a:lnTo>
                  <a:lnTo>
                    <a:pt x="1416" y="162"/>
                  </a:lnTo>
                  <a:lnTo>
                    <a:pt x="1413" y="163"/>
                  </a:lnTo>
                  <a:lnTo>
                    <a:pt x="1413" y="163"/>
                  </a:lnTo>
                  <a:lnTo>
                    <a:pt x="1410" y="168"/>
                  </a:lnTo>
                  <a:lnTo>
                    <a:pt x="1409" y="170"/>
                  </a:lnTo>
                  <a:lnTo>
                    <a:pt x="1407" y="175"/>
                  </a:lnTo>
                  <a:lnTo>
                    <a:pt x="1407" y="175"/>
                  </a:lnTo>
                  <a:lnTo>
                    <a:pt x="1406" y="180"/>
                  </a:lnTo>
                  <a:lnTo>
                    <a:pt x="1400" y="185"/>
                  </a:lnTo>
                  <a:lnTo>
                    <a:pt x="1394" y="189"/>
                  </a:lnTo>
                  <a:lnTo>
                    <a:pt x="1389" y="192"/>
                  </a:lnTo>
                  <a:lnTo>
                    <a:pt x="1389" y="192"/>
                  </a:lnTo>
                  <a:lnTo>
                    <a:pt x="1389" y="188"/>
                  </a:lnTo>
                  <a:lnTo>
                    <a:pt x="1391" y="182"/>
                  </a:lnTo>
                  <a:lnTo>
                    <a:pt x="1391" y="182"/>
                  </a:lnTo>
                  <a:lnTo>
                    <a:pt x="1391" y="179"/>
                  </a:lnTo>
                  <a:lnTo>
                    <a:pt x="1391" y="176"/>
                  </a:lnTo>
                  <a:lnTo>
                    <a:pt x="1387" y="173"/>
                  </a:lnTo>
                  <a:lnTo>
                    <a:pt x="1387" y="173"/>
                  </a:lnTo>
                  <a:lnTo>
                    <a:pt x="1384" y="170"/>
                  </a:lnTo>
                  <a:lnTo>
                    <a:pt x="1384" y="170"/>
                  </a:lnTo>
                  <a:lnTo>
                    <a:pt x="1384" y="166"/>
                  </a:lnTo>
                  <a:lnTo>
                    <a:pt x="1384" y="166"/>
                  </a:lnTo>
                  <a:lnTo>
                    <a:pt x="1384" y="162"/>
                  </a:lnTo>
                  <a:lnTo>
                    <a:pt x="1383" y="159"/>
                  </a:lnTo>
                  <a:lnTo>
                    <a:pt x="1383" y="159"/>
                  </a:lnTo>
                  <a:lnTo>
                    <a:pt x="1380" y="158"/>
                  </a:lnTo>
                  <a:lnTo>
                    <a:pt x="1380" y="158"/>
                  </a:lnTo>
                  <a:lnTo>
                    <a:pt x="1371" y="159"/>
                  </a:lnTo>
                  <a:lnTo>
                    <a:pt x="1371" y="159"/>
                  </a:lnTo>
                  <a:lnTo>
                    <a:pt x="1340" y="165"/>
                  </a:lnTo>
                  <a:lnTo>
                    <a:pt x="1320" y="168"/>
                  </a:lnTo>
                  <a:lnTo>
                    <a:pt x="1301" y="168"/>
                  </a:lnTo>
                  <a:lnTo>
                    <a:pt x="1301" y="168"/>
                  </a:lnTo>
                  <a:lnTo>
                    <a:pt x="1287" y="168"/>
                  </a:lnTo>
                  <a:lnTo>
                    <a:pt x="1277" y="165"/>
                  </a:lnTo>
                  <a:lnTo>
                    <a:pt x="1277" y="165"/>
                  </a:lnTo>
                  <a:lnTo>
                    <a:pt x="1280" y="163"/>
                  </a:lnTo>
                  <a:lnTo>
                    <a:pt x="1280" y="163"/>
                  </a:lnTo>
                  <a:lnTo>
                    <a:pt x="1283" y="159"/>
                  </a:lnTo>
                  <a:lnTo>
                    <a:pt x="1283" y="159"/>
                  </a:lnTo>
                  <a:lnTo>
                    <a:pt x="1289" y="158"/>
                  </a:lnTo>
                  <a:lnTo>
                    <a:pt x="1289" y="158"/>
                  </a:lnTo>
                  <a:lnTo>
                    <a:pt x="1297" y="158"/>
                  </a:lnTo>
                  <a:lnTo>
                    <a:pt x="1297" y="158"/>
                  </a:lnTo>
                  <a:lnTo>
                    <a:pt x="1300" y="158"/>
                  </a:lnTo>
                  <a:lnTo>
                    <a:pt x="1300" y="158"/>
                  </a:lnTo>
                  <a:lnTo>
                    <a:pt x="1307" y="158"/>
                  </a:lnTo>
                  <a:lnTo>
                    <a:pt x="1307" y="158"/>
                  </a:lnTo>
                  <a:lnTo>
                    <a:pt x="1310" y="159"/>
                  </a:lnTo>
                  <a:lnTo>
                    <a:pt x="1310" y="159"/>
                  </a:lnTo>
                  <a:lnTo>
                    <a:pt x="1313" y="158"/>
                  </a:lnTo>
                  <a:lnTo>
                    <a:pt x="1316" y="155"/>
                  </a:lnTo>
                  <a:lnTo>
                    <a:pt x="1316" y="155"/>
                  </a:lnTo>
                  <a:lnTo>
                    <a:pt x="1316" y="155"/>
                  </a:lnTo>
                  <a:lnTo>
                    <a:pt x="1319" y="150"/>
                  </a:lnTo>
                  <a:lnTo>
                    <a:pt x="1319" y="148"/>
                  </a:lnTo>
                  <a:lnTo>
                    <a:pt x="1319" y="146"/>
                  </a:lnTo>
                  <a:lnTo>
                    <a:pt x="1319" y="146"/>
                  </a:lnTo>
                  <a:lnTo>
                    <a:pt x="1316" y="142"/>
                  </a:lnTo>
                  <a:lnTo>
                    <a:pt x="1311" y="139"/>
                  </a:lnTo>
                  <a:lnTo>
                    <a:pt x="1311" y="139"/>
                  </a:lnTo>
                  <a:lnTo>
                    <a:pt x="1306" y="136"/>
                  </a:lnTo>
                  <a:lnTo>
                    <a:pt x="1306" y="136"/>
                  </a:lnTo>
                  <a:lnTo>
                    <a:pt x="1301" y="135"/>
                  </a:lnTo>
                  <a:lnTo>
                    <a:pt x="1297" y="132"/>
                  </a:lnTo>
                  <a:lnTo>
                    <a:pt x="1297" y="132"/>
                  </a:lnTo>
                  <a:lnTo>
                    <a:pt x="1313" y="133"/>
                  </a:lnTo>
                  <a:lnTo>
                    <a:pt x="1313" y="133"/>
                  </a:lnTo>
                  <a:lnTo>
                    <a:pt x="1330" y="135"/>
                  </a:lnTo>
                  <a:lnTo>
                    <a:pt x="1330" y="135"/>
                  </a:lnTo>
                  <a:lnTo>
                    <a:pt x="1327" y="139"/>
                  </a:lnTo>
                  <a:lnTo>
                    <a:pt x="1326" y="145"/>
                  </a:lnTo>
                  <a:lnTo>
                    <a:pt x="1326" y="145"/>
                  </a:lnTo>
                  <a:lnTo>
                    <a:pt x="1327" y="149"/>
                  </a:lnTo>
                  <a:lnTo>
                    <a:pt x="1331" y="152"/>
                  </a:lnTo>
                  <a:lnTo>
                    <a:pt x="1331" y="152"/>
                  </a:lnTo>
                  <a:lnTo>
                    <a:pt x="1340" y="152"/>
                  </a:lnTo>
                  <a:lnTo>
                    <a:pt x="1340" y="152"/>
                  </a:lnTo>
                  <a:lnTo>
                    <a:pt x="1359" y="152"/>
                  </a:lnTo>
                  <a:lnTo>
                    <a:pt x="1381" y="149"/>
                  </a:lnTo>
                  <a:lnTo>
                    <a:pt x="1381" y="149"/>
                  </a:lnTo>
                  <a:lnTo>
                    <a:pt x="1404" y="148"/>
                  </a:lnTo>
                  <a:lnTo>
                    <a:pt x="1406" y="148"/>
                  </a:lnTo>
                  <a:lnTo>
                    <a:pt x="1406" y="148"/>
                  </a:lnTo>
                  <a:lnTo>
                    <a:pt x="1410" y="148"/>
                  </a:lnTo>
                  <a:lnTo>
                    <a:pt x="1414" y="146"/>
                  </a:lnTo>
                  <a:lnTo>
                    <a:pt x="1421" y="143"/>
                  </a:lnTo>
                  <a:lnTo>
                    <a:pt x="1423" y="142"/>
                  </a:lnTo>
                  <a:lnTo>
                    <a:pt x="1423" y="142"/>
                  </a:lnTo>
                  <a:lnTo>
                    <a:pt x="1427" y="140"/>
                  </a:lnTo>
                  <a:lnTo>
                    <a:pt x="1433" y="140"/>
                  </a:lnTo>
                  <a:lnTo>
                    <a:pt x="1433" y="140"/>
                  </a:lnTo>
                  <a:lnTo>
                    <a:pt x="1444" y="139"/>
                  </a:lnTo>
                  <a:lnTo>
                    <a:pt x="1449" y="139"/>
                  </a:lnTo>
                  <a:lnTo>
                    <a:pt x="1449" y="139"/>
                  </a:lnTo>
                  <a:lnTo>
                    <a:pt x="1464" y="136"/>
                  </a:lnTo>
                  <a:lnTo>
                    <a:pt x="1470" y="133"/>
                  </a:lnTo>
                  <a:lnTo>
                    <a:pt x="1473" y="130"/>
                  </a:lnTo>
                  <a:lnTo>
                    <a:pt x="1473" y="130"/>
                  </a:lnTo>
                  <a:lnTo>
                    <a:pt x="1473" y="129"/>
                  </a:lnTo>
                  <a:lnTo>
                    <a:pt x="1473" y="129"/>
                  </a:lnTo>
                  <a:lnTo>
                    <a:pt x="1480" y="132"/>
                  </a:lnTo>
                  <a:lnTo>
                    <a:pt x="1480" y="132"/>
                  </a:lnTo>
                  <a:lnTo>
                    <a:pt x="1483" y="133"/>
                  </a:lnTo>
                  <a:lnTo>
                    <a:pt x="1483" y="133"/>
                  </a:lnTo>
                  <a:lnTo>
                    <a:pt x="1501" y="140"/>
                  </a:lnTo>
                  <a:lnTo>
                    <a:pt x="1501" y="140"/>
                  </a:lnTo>
                  <a:lnTo>
                    <a:pt x="1507" y="143"/>
                  </a:lnTo>
                  <a:lnTo>
                    <a:pt x="1513" y="145"/>
                  </a:lnTo>
                  <a:lnTo>
                    <a:pt x="1513" y="145"/>
                  </a:lnTo>
                  <a:lnTo>
                    <a:pt x="1523" y="146"/>
                  </a:lnTo>
                  <a:lnTo>
                    <a:pt x="1523" y="146"/>
                  </a:lnTo>
                  <a:lnTo>
                    <a:pt x="1531" y="148"/>
                  </a:lnTo>
                  <a:lnTo>
                    <a:pt x="1531" y="148"/>
                  </a:lnTo>
                  <a:lnTo>
                    <a:pt x="1534" y="148"/>
                  </a:lnTo>
                  <a:lnTo>
                    <a:pt x="1537" y="145"/>
                  </a:lnTo>
                  <a:lnTo>
                    <a:pt x="1537" y="145"/>
                  </a:lnTo>
                  <a:lnTo>
                    <a:pt x="1540" y="143"/>
                  </a:lnTo>
                  <a:lnTo>
                    <a:pt x="1540" y="143"/>
                  </a:lnTo>
                  <a:lnTo>
                    <a:pt x="1549" y="139"/>
                  </a:lnTo>
                  <a:lnTo>
                    <a:pt x="1549" y="139"/>
                  </a:lnTo>
                  <a:lnTo>
                    <a:pt x="1556" y="136"/>
                  </a:lnTo>
                  <a:lnTo>
                    <a:pt x="1557" y="135"/>
                  </a:lnTo>
                  <a:lnTo>
                    <a:pt x="1559" y="132"/>
                  </a:lnTo>
                  <a:lnTo>
                    <a:pt x="1559" y="132"/>
                  </a:lnTo>
                  <a:lnTo>
                    <a:pt x="1559" y="129"/>
                  </a:lnTo>
                  <a:lnTo>
                    <a:pt x="1559" y="129"/>
                  </a:lnTo>
                  <a:lnTo>
                    <a:pt x="1556" y="126"/>
                  </a:lnTo>
                  <a:lnTo>
                    <a:pt x="1553" y="126"/>
                  </a:lnTo>
                  <a:lnTo>
                    <a:pt x="1553" y="126"/>
                  </a:lnTo>
                  <a:lnTo>
                    <a:pt x="1549" y="126"/>
                  </a:lnTo>
                  <a:lnTo>
                    <a:pt x="1549" y="126"/>
                  </a:lnTo>
                  <a:lnTo>
                    <a:pt x="1544" y="128"/>
                  </a:lnTo>
                  <a:lnTo>
                    <a:pt x="1540" y="128"/>
                  </a:lnTo>
                  <a:lnTo>
                    <a:pt x="1540" y="128"/>
                  </a:lnTo>
                  <a:lnTo>
                    <a:pt x="1540" y="128"/>
                  </a:lnTo>
                  <a:lnTo>
                    <a:pt x="1540" y="128"/>
                  </a:lnTo>
                  <a:lnTo>
                    <a:pt x="1543" y="126"/>
                  </a:lnTo>
                  <a:lnTo>
                    <a:pt x="1543" y="126"/>
                  </a:lnTo>
                  <a:lnTo>
                    <a:pt x="1549" y="120"/>
                  </a:lnTo>
                  <a:lnTo>
                    <a:pt x="1549" y="120"/>
                  </a:lnTo>
                  <a:lnTo>
                    <a:pt x="1549" y="119"/>
                  </a:lnTo>
                  <a:lnTo>
                    <a:pt x="1549" y="119"/>
                  </a:lnTo>
                  <a:lnTo>
                    <a:pt x="1550" y="120"/>
                  </a:lnTo>
                  <a:lnTo>
                    <a:pt x="1550" y="120"/>
                  </a:lnTo>
                  <a:lnTo>
                    <a:pt x="1553" y="123"/>
                  </a:lnTo>
                  <a:lnTo>
                    <a:pt x="1557" y="125"/>
                  </a:lnTo>
                  <a:lnTo>
                    <a:pt x="1557" y="125"/>
                  </a:lnTo>
                  <a:lnTo>
                    <a:pt x="1561" y="126"/>
                  </a:lnTo>
                  <a:lnTo>
                    <a:pt x="1561" y="126"/>
                  </a:lnTo>
                  <a:lnTo>
                    <a:pt x="1563" y="125"/>
                  </a:lnTo>
                  <a:lnTo>
                    <a:pt x="1566" y="123"/>
                  </a:lnTo>
                  <a:lnTo>
                    <a:pt x="1566" y="123"/>
                  </a:lnTo>
                  <a:lnTo>
                    <a:pt x="1569" y="120"/>
                  </a:lnTo>
                  <a:lnTo>
                    <a:pt x="1569" y="120"/>
                  </a:lnTo>
                  <a:lnTo>
                    <a:pt x="1573" y="119"/>
                  </a:lnTo>
                  <a:lnTo>
                    <a:pt x="1579" y="120"/>
                  </a:lnTo>
                  <a:lnTo>
                    <a:pt x="1579" y="120"/>
                  </a:lnTo>
                  <a:lnTo>
                    <a:pt x="1587" y="120"/>
                  </a:lnTo>
                  <a:lnTo>
                    <a:pt x="1594" y="120"/>
                  </a:lnTo>
                  <a:lnTo>
                    <a:pt x="1594" y="120"/>
                  </a:lnTo>
                  <a:lnTo>
                    <a:pt x="1600" y="119"/>
                  </a:lnTo>
                  <a:lnTo>
                    <a:pt x="1603" y="116"/>
                  </a:lnTo>
                  <a:lnTo>
                    <a:pt x="1604" y="113"/>
                  </a:lnTo>
                  <a:lnTo>
                    <a:pt x="1606" y="112"/>
                  </a:lnTo>
                  <a:lnTo>
                    <a:pt x="1606" y="112"/>
                  </a:lnTo>
                  <a:lnTo>
                    <a:pt x="1604" y="109"/>
                  </a:lnTo>
                  <a:lnTo>
                    <a:pt x="1601" y="108"/>
                  </a:lnTo>
                  <a:lnTo>
                    <a:pt x="1601" y="108"/>
                  </a:lnTo>
                  <a:lnTo>
                    <a:pt x="1593" y="103"/>
                  </a:lnTo>
                  <a:lnTo>
                    <a:pt x="1587" y="100"/>
                  </a:lnTo>
                  <a:lnTo>
                    <a:pt x="1583" y="96"/>
                  </a:lnTo>
                  <a:lnTo>
                    <a:pt x="1583" y="96"/>
                  </a:lnTo>
                  <a:lnTo>
                    <a:pt x="1580" y="93"/>
                  </a:lnTo>
                  <a:lnTo>
                    <a:pt x="1576" y="92"/>
                  </a:lnTo>
                  <a:lnTo>
                    <a:pt x="1576" y="92"/>
                  </a:lnTo>
                  <a:lnTo>
                    <a:pt x="1574" y="92"/>
                  </a:lnTo>
                  <a:lnTo>
                    <a:pt x="1574" y="92"/>
                  </a:lnTo>
                  <a:lnTo>
                    <a:pt x="1571" y="93"/>
                  </a:lnTo>
                  <a:lnTo>
                    <a:pt x="1566" y="92"/>
                  </a:lnTo>
                  <a:lnTo>
                    <a:pt x="1566" y="92"/>
                  </a:lnTo>
                  <a:lnTo>
                    <a:pt x="1563" y="90"/>
                  </a:lnTo>
                  <a:lnTo>
                    <a:pt x="1563" y="90"/>
                  </a:lnTo>
                  <a:lnTo>
                    <a:pt x="1563" y="89"/>
                  </a:lnTo>
                  <a:lnTo>
                    <a:pt x="1566" y="88"/>
                  </a:lnTo>
                  <a:lnTo>
                    <a:pt x="1577" y="78"/>
                  </a:lnTo>
                  <a:lnTo>
                    <a:pt x="1577" y="78"/>
                  </a:lnTo>
                  <a:lnTo>
                    <a:pt x="1580" y="76"/>
                  </a:lnTo>
                  <a:lnTo>
                    <a:pt x="1581" y="73"/>
                  </a:lnTo>
                  <a:lnTo>
                    <a:pt x="1581" y="68"/>
                  </a:lnTo>
                  <a:lnTo>
                    <a:pt x="1581" y="68"/>
                  </a:lnTo>
                  <a:lnTo>
                    <a:pt x="1581" y="65"/>
                  </a:lnTo>
                  <a:lnTo>
                    <a:pt x="1581" y="62"/>
                  </a:lnTo>
                  <a:lnTo>
                    <a:pt x="1581" y="62"/>
                  </a:lnTo>
                  <a:lnTo>
                    <a:pt x="1584" y="59"/>
                  </a:lnTo>
                  <a:lnTo>
                    <a:pt x="1587" y="56"/>
                  </a:lnTo>
                  <a:lnTo>
                    <a:pt x="1587" y="56"/>
                  </a:lnTo>
                  <a:lnTo>
                    <a:pt x="1590" y="53"/>
                  </a:lnTo>
                  <a:lnTo>
                    <a:pt x="1593" y="48"/>
                  </a:lnTo>
                  <a:lnTo>
                    <a:pt x="1593" y="48"/>
                  </a:lnTo>
                  <a:lnTo>
                    <a:pt x="1594" y="46"/>
                  </a:lnTo>
                  <a:lnTo>
                    <a:pt x="1594" y="46"/>
                  </a:lnTo>
                  <a:lnTo>
                    <a:pt x="1598" y="46"/>
                  </a:lnTo>
                  <a:lnTo>
                    <a:pt x="1598" y="46"/>
                  </a:lnTo>
                  <a:lnTo>
                    <a:pt x="1600" y="46"/>
                  </a:lnTo>
                  <a:lnTo>
                    <a:pt x="1600" y="46"/>
                  </a:lnTo>
                  <a:lnTo>
                    <a:pt x="1607" y="42"/>
                  </a:lnTo>
                  <a:lnTo>
                    <a:pt x="1607" y="42"/>
                  </a:lnTo>
                  <a:lnTo>
                    <a:pt x="1610" y="40"/>
                  </a:lnTo>
                  <a:lnTo>
                    <a:pt x="1610" y="40"/>
                  </a:lnTo>
                  <a:lnTo>
                    <a:pt x="1614" y="38"/>
                  </a:lnTo>
                  <a:lnTo>
                    <a:pt x="1614" y="38"/>
                  </a:lnTo>
                  <a:lnTo>
                    <a:pt x="1620" y="35"/>
                  </a:lnTo>
                  <a:lnTo>
                    <a:pt x="1620" y="35"/>
                  </a:lnTo>
                  <a:lnTo>
                    <a:pt x="1623" y="33"/>
                  </a:lnTo>
                  <a:lnTo>
                    <a:pt x="1626" y="29"/>
                  </a:lnTo>
                  <a:lnTo>
                    <a:pt x="1626" y="29"/>
                  </a:lnTo>
                  <a:lnTo>
                    <a:pt x="1626" y="26"/>
                  </a:lnTo>
                  <a:lnTo>
                    <a:pt x="1624" y="23"/>
                  </a:lnTo>
                  <a:lnTo>
                    <a:pt x="1624" y="23"/>
                  </a:lnTo>
                  <a:lnTo>
                    <a:pt x="1621" y="22"/>
                  </a:lnTo>
                  <a:lnTo>
                    <a:pt x="1620" y="20"/>
                  </a:lnTo>
                  <a:lnTo>
                    <a:pt x="1616" y="20"/>
                  </a:lnTo>
                  <a:lnTo>
                    <a:pt x="1616" y="20"/>
                  </a:lnTo>
                  <a:lnTo>
                    <a:pt x="1614" y="20"/>
                  </a:lnTo>
                  <a:lnTo>
                    <a:pt x="1614" y="20"/>
                  </a:lnTo>
                  <a:lnTo>
                    <a:pt x="1606" y="22"/>
                  </a:lnTo>
                  <a:lnTo>
                    <a:pt x="1606" y="22"/>
                  </a:lnTo>
                  <a:lnTo>
                    <a:pt x="1600" y="23"/>
                  </a:lnTo>
                  <a:lnTo>
                    <a:pt x="1600" y="23"/>
                  </a:lnTo>
                  <a:lnTo>
                    <a:pt x="1588" y="25"/>
                  </a:lnTo>
                  <a:lnTo>
                    <a:pt x="1588" y="25"/>
                  </a:lnTo>
                  <a:lnTo>
                    <a:pt x="1583" y="25"/>
                  </a:lnTo>
                  <a:lnTo>
                    <a:pt x="1581" y="26"/>
                  </a:lnTo>
                  <a:lnTo>
                    <a:pt x="1580" y="28"/>
                  </a:lnTo>
                  <a:lnTo>
                    <a:pt x="1580" y="28"/>
                  </a:lnTo>
                  <a:lnTo>
                    <a:pt x="1581" y="30"/>
                  </a:lnTo>
                  <a:lnTo>
                    <a:pt x="1583" y="33"/>
                  </a:lnTo>
                  <a:lnTo>
                    <a:pt x="1583" y="33"/>
                  </a:lnTo>
                  <a:lnTo>
                    <a:pt x="1586" y="35"/>
                  </a:lnTo>
                  <a:lnTo>
                    <a:pt x="1588" y="35"/>
                  </a:lnTo>
                  <a:lnTo>
                    <a:pt x="1588" y="35"/>
                  </a:lnTo>
                  <a:lnTo>
                    <a:pt x="1591" y="35"/>
                  </a:lnTo>
                  <a:lnTo>
                    <a:pt x="1591" y="35"/>
                  </a:lnTo>
                  <a:lnTo>
                    <a:pt x="1591" y="36"/>
                  </a:lnTo>
                  <a:lnTo>
                    <a:pt x="1591" y="36"/>
                  </a:lnTo>
                  <a:lnTo>
                    <a:pt x="1591" y="38"/>
                  </a:lnTo>
                  <a:lnTo>
                    <a:pt x="1591" y="38"/>
                  </a:lnTo>
                  <a:lnTo>
                    <a:pt x="1584" y="36"/>
                  </a:lnTo>
                  <a:lnTo>
                    <a:pt x="1584" y="36"/>
                  </a:lnTo>
                  <a:lnTo>
                    <a:pt x="1584" y="36"/>
                  </a:lnTo>
                  <a:lnTo>
                    <a:pt x="1576" y="35"/>
                  </a:lnTo>
                  <a:lnTo>
                    <a:pt x="1576" y="35"/>
                  </a:lnTo>
                  <a:lnTo>
                    <a:pt x="1567" y="32"/>
                  </a:lnTo>
                  <a:lnTo>
                    <a:pt x="1559" y="32"/>
                  </a:lnTo>
                  <a:lnTo>
                    <a:pt x="1559" y="32"/>
                  </a:lnTo>
                  <a:lnTo>
                    <a:pt x="1551" y="32"/>
                  </a:lnTo>
                  <a:lnTo>
                    <a:pt x="1547" y="36"/>
                  </a:lnTo>
                  <a:lnTo>
                    <a:pt x="1541" y="42"/>
                  </a:lnTo>
                  <a:lnTo>
                    <a:pt x="1537" y="48"/>
                  </a:lnTo>
                  <a:lnTo>
                    <a:pt x="1534" y="53"/>
                  </a:lnTo>
                  <a:lnTo>
                    <a:pt x="1534" y="53"/>
                  </a:lnTo>
                  <a:lnTo>
                    <a:pt x="1529" y="59"/>
                  </a:lnTo>
                  <a:lnTo>
                    <a:pt x="1524" y="65"/>
                  </a:lnTo>
                  <a:lnTo>
                    <a:pt x="1520" y="68"/>
                  </a:lnTo>
                  <a:lnTo>
                    <a:pt x="1513" y="68"/>
                  </a:lnTo>
                  <a:lnTo>
                    <a:pt x="1513" y="68"/>
                  </a:lnTo>
                  <a:lnTo>
                    <a:pt x="1511" y="68"/>
                  </a:lnTo>
                  <a:lnTo>
                    <a:pt x="1511" y="68"/>
                  </a:lnTo>
                  <a:lnTo>
                    <a:pt x="1513" y="65"/>
                  </a:lnTo>
                  <a:lnTo>
                    <a:pt x="1516" y="60"/>
                  </a:lnTo>
                  <a:lnTo>
                    <a:pt x="1516" y="60"/>
                  </a:lnTo>
                  <a:lnTo>
                    <a:pt x="1520" y="56"/>
                  </a:lnTo>
                  <a:lnTo>
                    <a:pt x="1523" y="50"/>
                  </a:lnTo>
                  <a:lnTo>
                    <a:pt x="1523" y="50"/>
                  </a:lnTo>
                  <a:lnTo>
                    <a:pt x="1524" y="48"/>
                  </a:lnTo>
                  <a:lnTo>
                    <a:pt x="1523" y="45"/>
                  </a:lnTo>
                  <a:lnTo>
                    <a:pt x="1523" y="45"/>
                  </a:lnTo>
                  <a:lnTo>
                    <a:pt x="1519" y="42"/>
                  </a:lnTo>
                  <a:lnTo>
                    <a:pt x="1514" y="39"/>
                  </a:lnTo>
                  <a:lnTo>
                    <a:pt x="1504" y="38"/>
                  </a:lnTo>
                  <a:lnTo>
                    <a:pt x="1504" y="38"/>
                  </a:lnTo>
                  <a:lnTo>
                    <a:pt x="1501" y="38"/>
                  </a:lnTo>
                  <a:lnTo>
                    <a:pt x="1500" y="39"/>
                  </a:lnTo>
                  <a:lnTo>
                    <a:pt x="1500" y="39"/>
                  </a:lnTo>
                  <a:lnTo>
                    <a:pt x="1499" y="43"/>
                  </a:lnTo>
                  <a:lnTo>
                    <a:pt x="1499" y="43"/>
                  </a:lnTo>
                  <a:lnTo>
                    <a:pt x="1497" y="48"/>
                  </a:lnTo>
                  <a:lnTo>
                    <a:pt x="1494" y="50"/>
                  </a:lnTo>
                  <a:lnTo>
                    <a:pt x="1494" y="50"/>
                  </a:lnTo>
                  <a:lnTo>
                    <a:pt x="1490" y="52"/>
                  </a:lnTo>
                  <a:lnTo>
                    <a:pt x="1490" y="52"/>
                  </a:lnTo>
                  <a:lnTo>
                    <a:pt x="1484" y="50"/>
                  </a:lnTo>
                  <a:lnTo>
                    <a:pt x="1484" y="50"/>
                  </a:lnTo>
                  <a:lnTo>
                    <a:pt x="1486" y="49"/>
                  </a:lnTo>
                  <a:lnTo>
                    <a:pt x="1486" y="48"/>
                  </a:lnTo>
                  <a:lnTo>
                    <a:pt x="1486" y="48"/>
                  </a:lnTo>
                  <a:lnTo>
                    <a:pt x="1484" y="46"/>
                  </a:lnTo>
                  <a:lnTo>
                    <a:pt x="1483" y="43"/>
                  </a:lnTo>
                  <a:lnTo>
                    <a:pt x="1470" y="39"/>
                  </a:lnTo>
                  <a:lnTo>
                    <a:pt x="1470" y="39"/>
                  </a:lnTo>
                  <a:lnTo>
                    <a:pt x="1463" y="36"/>
                  </a:lnTo>
                  <a:lnTo>
                    <a:pt x="1456" y="36"/>
                  </a:lnTo>
                  <a:lnTo>
                    <a:pt x="1450" y="38"/>
                  </a:lnTo>
                  <a:lnTo>
                    <a:pt x="1443" y="40"/>
                  </a:lnTo>
                  <a:lnTo>
                    <a:pt x="1443" y="40"/>
                  </a:lnTo>
                  <a:lnTo>
                    <a:pt x="1440" y="42"/>
                  </a:lnTo>
                  <a:lnTo>
                    <a:pt x="1440" y="42"/>
                  </a:lnTo>
                  <a:lnTo>
                    <a:pt x="1443" y="38"/>
                  </a:lnTo>
                  <a:lnTo>
                    <a:pt x="1444" y="33"/>
                  </a:lnTo>
                  <a:lnTo>
                    <a:pt x="1444" y="33"/>
                  </a:lnTo>
                  <a:lnTo>
                    <a:pt x="1443" y="30"/>
                  </a:lnTo>
                  <a:lnTo>
                    <a:pt x="1440" y="29"/>
                  </a:lnTo>
                  <a:lnTo>
                    <a:pt x="1437" y="29"/>
                  </a:lnTo>
                  <a:lnTo>
                    <a:pt x="1437" y="29"/>
                  </a:lnTo>
                  <a:lnTo>
                    <a:pt x="1431" y="29"/>
                  </a:lnTo>
                  <a:lnTo>
                    <a:pt x="1431" y="29"/>
                  </a:lnTo>
                  <a:lnTo>
                    <a:pt x="1434" y="28"/>
                  </a:lnTo>
                  <a:lnTo>
                    <a:pt x="1434" y="28"/>
                  </a:lnTo>
                  <a:lnTo>
                    <a:pt x="1436" y="25"/>
                  </a:lnTo>
                  <a:lnTo>
                    <a:pt x="1436" y="25"/>
                  </a:lnTo>
                  <a:lnTo>
                    <a:pt x="1434" y="22"/>
                  </a:lnTo>
                  <a:lnTo>
                    <a:pt x="1431" y="19"/>
                  </a:lnTo>
                  <a:lnTo>
                    <a:pt x="1423" y="12"/>
                  </a:lnTo>
                  <a:lnTo>
                    <a:pt x="1423" y="12"/>
                  </a:lnTo>
                  <a:lnTo>
                    <a:pt x="1423" y="12"/>
                  </a:lnTo>
                  <a:lnTo>
                    <a:pt x="1417" y="8"/>
                  </a:lnTo>
                  <a:lnTo>
                    <a:pt x="1417" y="8"/>
                  </a:lnTo>
                  <a:lnTo>
                    <a:pt x="1414" y="5"/>
                  </a:lnTo>
                  <a:lnTo>
                    <a:pt x="1410" y="5"/>
                  </a:lnTo>
                  <a:lnTo>
                    <a:pt x="1410" y="5"/>
                  </a:lnTo>
                  <a:lnTo>
                    <a:pt x="1407" y="5"/>
                  </a:lnTo>
                  <a:lnTo>
                    <a:pt x="1403" y="8"/>
                  </a:lnTo>
                  <a:lnTo>
                    <a:pt x="1397" y="12"/>
                  </a:lnTo>
                  <a:lnTo>
                    <a:pt x="1397" y="12"/>
                  </a:lnTo>
                  <a:lnTo>
                    <a:pt x="1393" y="15"/>
                  </a:lnTo>
                  <a:lnTo>
                    <a:pt x="1393" y="15"/>
                  </a:lnTo>
                  <a:lnTo>
                    <a:pt x="1391" y="15"/>
                  </a:lnTo>
                  <a:lnTo>
                    <a:pt x="1389" y="15"/>
                  </a:lnTo>
                  <a:lnTo>
                    <a:pt x="1384" y="13"/>
                  </a:lnTo>
                  <a:lnTo>
                    <a:pt x="1384" y="13"/>
                  </a:lnTo>
                  <a:lnTo>
                    <a:pt x="1380" y="12"/>
                  </a:lnTo>
                  <a:lnTo>
                    <a:pt x="1376" y="10"/>
                  </a:lnTo>
                  <a:lnTo>
                    <a:pt x="1376" y="10"/>
                  </a:lnTo>
                  <a:lnTo>
                    <a:pt x="1369" y="9"/>
                  </a:lnTo>
                  <a:lnTo>
                    <a:pt x="1363" y="6"/>
                  </a:lnTo>
                  <a:lnTo>
                    <a:pt x="1363" y="6"/>
                  </a:lnTo>
                  <a:lnTo>
                    <a:pt x="1363" y="6"/>
                  </a:lnTo>
                  <a:lnTo>
                    <a:pt x="1357" y="2"/>
                  </a:lnTo>
                  <a:lnTo>
                    <a:pt x="1357" y="2"/>
                  </a:lnTo>
                  <a:lnTo>
                    <a:pt x="1351" y="0"/>
                  </a:lnTo>
                  <a:lnTo>
                    <a:pt x="1343" y="0"/>
                  </a:lnTo>
                  <a:lnTo>
                    <a:pt x="1343" y="0"/>
                  </a:lnTo>
                  <a:lnTo>
                    <a:pt x="1331" y="0"/>
                  </a:lnTo>
                  <a:lnTo>
                    <a:pt x="1320" y="2"/>
                  </a:lnTo>
                  <a:lnTo>
                    <a:pt x="1299" y="6"/>
                  </a:lnTo>
                  <a:lnTo>
                    <a:pt x="1299" y="6"/>
                  </a:lnTo>
                  <a:lnTo>
                    <a:pt x="1291" y="8"/>
                  </a:lnTo>
                  <a:lnTo>
                    <a:pt x="1291" y="8"/>
                  </a:lnTo>
                  <a:lnTo>
                    <a:pt x="1287" y="9"/>
                  </a:lnTo>
                  <a:lnTo>
                    <a:pt x="1286" y="9"/>
                  </a:lnTo>
                  <a:lnTo>
                    <a:pt x="1284" y="12"/>
                  </a:lnTo>
                  <a:lnTo>
                    <a:pt x="1283" y="15"/>
                  </a:lnTo>
                  <a:lnTo>
                    <a:pt x="1283" y="15"/>
                  </a:lnTo>
                  <a:lnTo>
                    <a:pt x="1283" y="18"/>
                  </a:lnTo>
                  <a:lnTo>
                    <a:pt x="1281" y="23"/>
                  </a:lnTo>
                  <a:lnTo>
                    <a:pt x="1281" y="23"/>
                  </a:lnTo>
                  <a:lnTo>
                    <a:pt x="1277" y="28"/>
                  </a:lnTo>
                  <a:lnTo>
                    <a:pt x="1270" y="32"/>
                  </a:lnTo>
                  <a:lnTo>
                    <a:pt x="1259" y="36"/>
                  </a:lnTo>
                  <a:lnTo>
                    <a:pt x="1259" y="36"/>
                  </a:lnTo>
                  <a:lnTo>
                    <a:pt x="1250" y="40"/>
                  </a:lnTo>
                  <a:lnTo>
                    <a:pt x="1250" y="40"/>
                  </a:lnTo>
                  <a:lnTo>
                    <a:pt x="1244" y="43"/>
                  </a:lnTo>
                  <a:lnTo>
                    <a:pt x="1236" y="46"/>
                  </a:lnTo>
                  <a:lnTo>
                    <a:pt x="1236" y="46"/>
                  </a:lnTo>
                  <a:lnTo>
                    <a:pt x="1230" y="48"/>
                  </a:lnTo>
                  <a:lnTo>
                    <a:pt x="1227" y="49"/>
                  </a:lnTo>
                  <a:lnTo>
                    <a:pt x="1227" y="49"/>
                  </a:lnTo>
                  <a:lnTo>
                    <a:pt x="1217" y="53"/>
                  </a:lnTo>
                  <a:lnTo>
                    <a:pt x="1209" y="56"/>
                  </a:lnTo>
                  <a:lnTo>
                    <a:pt x="1203" y="60"/>
                  </a:lnTo>
                  <a:lnTo>
                    <a:pt x="1201" y="63"/>
                  </a:lnTo>
                  <a:lnTo>
                    <a:pt x="1200" y="66"/>
                  </a:lnTo>
                  <a:lnTo>
                    <a:pt x="1200" y="66"/>
                  </a:lnTo>
                  <a:lnTo>
                    <a:pt x="1200" y="68"/>
                  </a:lnTo>
                  <a:lnTo>
                    <a:pt x="1201" y="70"/>
                  </a:lnTo>
                  <a:lnTo>
                    <a:pt x="1201" y="70"/>
                  </a:lnTo>
                  <a:lnTo>
                    <a:pt x="1204" y="72"/>
                  </a:lnTo>
                  <a:lnTo>
                    <a:pt x="1210" y="72"/>
                  </a:lnTo>
                  <a:lnTo>
                    <a:pt x="1213" y="72"/>
                  </a:lnTo>
                  <a:lnTo>
                    <a:pt x="1213" y="72"/>
                  </a:lnTo>
                  <a:lnTo>
                    <a:pt x="1219" y="73"/>
                  </a:lnTo>
                  <a:lnTo>
                    <a:pt x="1219" y="73"/>
                  </a:lnTo>
                  <a:lnTo>
                    <a:pt x="1220" y="75"/>
                  </a:lnTo>
                  <a:lnTo>
                    <a:pt x="1219" y="78"/>
                  </a:lnTo>
                  <a:lnTo>
                    <a:pt x="1219" y="78"/>
                  </a:lnTo>
                  <a:lnTo>
                    <a:pt x="1217" y="82"/>
                  </a:lnTo>
                  <a:lnTo>
                    <a:pt x="1217" y="86"/>
                  </a:lnTo>
                  <a:lnTo>
                    <a:pt x="1217" y="86"/>
                  </a:lnTo>
                  <a:lnTo>
                    <a:pt x="1219" y="89"/>
                  </a:lnTo>
                  <a:lnTo>
                    <a:pt x="1221" y="89"/>
                  </a:lnTo>
                  <a:lnTo>
                    <a:pt x="1223" y="90"/>
                  </a:lnTo>
                  <a:lnTo>
                    <a:pt x="1223" y="90"/>
                  </a:lnTo>
                  <a:lnTo>
                    <a:pt x="1229" y="89"/>
                  </a:lnTo>
                  <a:lnTo>
                    <a:pt x="1236" y="86"/>
                  </a:lnTo>
                  <a:lnTo>
                    <a:pt x="1250" y="80"/>
                  </a:lnTo>
                  <a:lnTo>
                    <a:pt x="1250" y="80"/>
                  </a:lnTo>
                  <a:lnTo>
                    <a:pt x="1254" y="79"/>
                  </a:lnTo>
                  <a:lnTo>
                    <a:pt x="1259" y="78"/>
                  </a:lnTo>
                  <a:lnTo>
                    <a:pt x="1266" y="79"/>
                  </a:lnTo>
                  <a:lnTo>
                    <a:pt x="1266" y="79"/>
                  </a:lnTo>
                  <a:lnTo>
                    <a:pt x="1273" y="80"/>
                  </a:lnTo>
                  <a:lnTo>
                    <a:pt x="1273" y="80"/>
                  </a:lnTo>
                  <a:lnTo>
                    <a:pt x="1277" y="79"/>
                  </a:lnTo>
                  <a:lnTo>
                    <a:pt x="1281" y="78"/>
                  </a:lnTo>
                  <a:lnTo>
                    <a:pt x="1289" y="72"/>
                  </a:lnTo>
                  <a:lnTo>
                    <a:pt x="1289" y="72"/>
                  </a:lnTo>
                  <a:lnTo>
                    <a:pt x="1290" y="72"/>
                  </a:lnTo>
                  <a:lnTo>
                    <a:pt x="1290" y="72"/>
                  </a:lnTo>
                  <a:lnTo>
                    <a:pt x="1291" y="73"/>
                  </a:lnTo>
                  <a:lnTo>
                    <a:pt x="1294" y="73"/>
                  </a:lnTo>
                  <a:lnTo>
                    <a:pt x="1294" y="73"/>
                  </a:lnTo>
                  <a:lnTo>
                    <a:pt x="1297" y="73"/>
                  </a:lnTo>
                  <a:lnTo>
                    <a:pt x="1300" y="72"/>
                  </a:lnTo>
                  <a:lnTo>
                    <a:pt x="1306" y="66"/>
                  </a:lnTo>
                  <a:lnTo>
                    <a:pt x="1306" y="66"/>
                  </a:lnTo>
                  <a:lnTo>
                    <a:pt x="1311" y="62"/>
                  </a:lnTo>
                  <a:lnTo>
                    <a:pt x="1314" y="60"/>
                  </a:lnTo>
                  <a:lnTo>
                    <a:pt x="1317" y="59"/>
                  </a:lnTo>
                  <a:lnTo>
                    <a:pt x="1317" y="59"/>
                  </a:lnTo>
                  <a:lnTo>
                    <a:pt x="1327" y="59"/>
                  </a:lnTo>
                  <a:lnTo>
                    <a:pt x="1330" y="58"/>
                  </a:lnTo>
                  <a:lnTo>
                    <a:pt x="1331" y="55"/>
                  </a:lnTo>
                  <a:lnTo>
                    <a:pt x="1331" y="55"/>
                  </a:lnTo>
                  <a:lnTo>
                    <a:pt x="1333" y="53"/>
                  </a:lnTo>
                  <a:lnTo>
                    <a:pt x="1333" y="53"/>
                  </a:lnTo>
                  <a:lnTo>
                    <a:pt x="1337" y="50"/>
                  </a:lnTo>
                  <a:lnTo>
                    <a:pt x="1347" y="48"/>
                  </a:lnTo>
                  <a:lnTo>
                    <a:pt x="1347" y="48"/>
                  </a:lnTo>
                  <a:lnTo>
                    <a:pt x="1344" y="50"/>
                  </a:lnTo>
                  <a:lnTo>
                    <a:pt x="1344" y="50"/>
                  </a:lnTo>
                  <a:lnTo>
                    <a:pt x="1343" y="53"/>
                  </a:lnTo>
                  <a:lnTo>
                    <a:pt x="1343" y="53"/>
                  </a:lnTo>
                  <a:lnTo>
                    <a:pt x="1340" y="55"/>
                  </a:lnTo>
                  <a:lnTo>
                    <a:pt x="1337" y="56"/>
                  </a:lnTo>
                  <a:lnTo>
                    <a:pt x="1337" y="56"/>
                  </a:lnTo>
                  <a:lnTo>
                    <a:pt x="1331" y="60"/>
                  </a:lnTo>
                  <a:lnTo>
                    <a:pt x="1331" y="60"/>
                  </a:lnTo>
                  <a:lnTo>
                    <a:pt x="1327" y="62"/>
                  </a:lnTo>
                  <a:lnTo>
                    <a:pt x="1324" y="62"/>
                  </a:lnTo>
                  <a:lnTo>
                    <a:pt x="1324" y="62"/>
                  </a:lnTo>
                  <a:lnTo>
                    <a:pt x="1320" y="62"/>
                  </a:lnTo>
                  <a:lnTo>
                    <a:pt x="1314" y="65"/>
                  </a:lnTo>
                  <a:lnTo>
                    <a:pt x="1314" y="65"/>
                  </a:lnTo>
                  <a:lnTo>
                    <a:pt x="1313" y="66"/>
                  </a:lnTo>
                  <a:lnTo>
                    <a:pt x="1311" y="69"/>
                  </a:lnTo>
                  <a:lnTo>
                    <a:pt x="1311" y="69"/>
                  </a:lnTo>
                  <a:lnTo>
                    <a:pt x="1313" y="70"/>
                  </a:lnTo>
                  <a:lnTo>
                    <a:pt x="1316" y="72"/>
                  </a:lnTo>
                  <a:lnTo>
                    <a:pt x="1316" y="72"/>
                  </a:lnTo>
                  <a:lnTo>
                    <a:pt x="1316" y="72"/>
                  </a:lnTo>
                  <a:lnTo>
                    <a:pt x="1316" y="72"/>
                  </a:lnTo>
                  <a:lnTo>
                    <a:pt x="1313" y="75"/>
                  </a:lnTo>
                  <a:lnTo>
                    <a:pt x="1313" y="76"/>
                  </a:lnTo>
                  <a:lnTo>
                    <a:pt x="1313" y="79"/>
                  </a:lnTo>
                  <a:lnTo>
                    <a:pt x="1313" y="79"/>
                  </a:lnTo>
                  <a:lnTo>
                    <a:pt x="1314" y="80"/>
                  </a:lnTo>
                  <a:lnTo>
                    <a:pt x="1317" y="82"/>
                  </a:lnTo>
                  <a:lnTo>
                    <a:pt x="1317" y="82"/>
                  </a:lnTo>
                  <a:lnTo>
                    <a:pt x="1307" y="83"/>
                  </a:lnTo>
                  <a:lnTo>
                    <a:pt x="1300" y="85"/>
                  </a:lnTo>
                  <a:lnTo>
                    <a:pt x="1300" y="85"/>
                  </a:lnTo>
                  <a:lnTo>
                    <a:pt x="1299" y="88"/>
                  </a:lnTo>
                  <a:lnTo>
                    <a:pt x="1297" y="89"/>
                  </a:lnTo>
                  <a:lnTo>
                    <a:pt x="1297" y="89"/>
                  </a:lnTo>
                  <a:lnTo>
                    <a:pt x="1297" y="92"/>
                  </a:lnTo>
                  <a:lnTo>
                    <a:pt x="1299" y="93"/>
                  </a:lnTo>
                  <a:lnTo>
                    <a:pt x="1303" y="98"/>
                  </a:lnTo>
                  <a:lnTo>
                    <a:pt x="1303" y="98"/>
                  </a:lnTo>
                  <a:lnTo>
                    <a:pt x="1304" y="99"/>
                  </a:lnTo>
                  <a:lnTo>
                    <a:pt x="1304" y="99"/>
                  </a:lnTo>
                  <a:lnTo>
                    <a:pt x="1307" y="99"/>
                  </a:lnTo>
                  <a:lnTo>
                    <a:pt x="1320" y="100"/>
                  </a:lnTo>
                  <a:lnTo>
                    <a:pt x="1320" y="100"/>
                  </a:lnTo>
                  <a:lnTo>
                    <a:pt x="1364" y="99"/>
                  </a:lnTo>
                  <a:lnTo>
                    <a:pt x="1364" y="99"/>
                  </a:lnTo>
                  <a:lnTo>
                    <a:pt x="1377" y="99"/>
                  </a:lnTo>
                  <a:lnTo>
                    <a:pt x="1377" y="99"/>
                  </a:lnTo>
                  <a:lnTo>
                    <a:pt x="1387" y="100"/>
                  </a:lnTo>
                  <a:lnTo>
                    <a:pt x="1396" y="103"/>
                  </a:lnTo>
                  <a:lnTo>
                    <a:pt x="1396" y="103"/>
                  </a:lnTo>
                  <a:lnTo>
                    <a:pt x="1383" y="105"/>
                  </a:lnTo>
                  <a:lnTo>
                    <a:pt x="1383" y="105"/>
                  </a:lnTo>
                  <a:lnTo>
                    <a:pt x="1376" y="105"/>
                  </a:lnTo>
                  <a:lnTo>
                    <a:pt x="1374" y="105"/>
                  </a:lnTo>
                  <a:lnTo>
                    <a:pt x="1374" y="105"/>
                  </a:lnTo>
                  <a:lnTo>
                    <a:pt x="1366" y="103"/>
                  </a:lnTo>
                  <a:lnTo>
                    <a:pt x="1366" y="103"/>
                  </a:lnTo>
                  <a:lnTo>
                    <a:pt x="1353" y="105"/>
                  </a:lnTo>
                  <a:lnTo>
                    <a:pt x="1353" y="105"/>
                  </a:lnTo>
                  <a:lnTo>
                    <a:pt x="1344" y="106"/>
                  </a:lnTo>
                  <a:lnTo>
                    <a:pt x="1327" y="106"/>
                  </a:lnTo>
                  <a:lnTo>
                    <a:pt x="1327" y="106"/>
                  </a:lnTo>
                  <a:lnTo>
                    <a:pt x="1313" y="106"/>
                  </a:lnTo>
                  <a:lnTo>
                    <a:pt x="1313" y="106"/>
                  </a:lnTo>
                  <a:lnTo>
                    <a:pt x="1306" y="106"/>
                  </a:lnTo>
                  <a:lnTo>
                    <a:pt x="1303" y="106"/>
                  </a:lnTo>
                  <a:lnTo>
                    <a:pt x="1303" y="106"/>
                  </a:lnTo>
                  <a:lnTo>
                    <a:pt x="1297" y="106"/>
                  </a:lnTo>
                  <a:lnTo>
                    <a:pt x="1293" y="108"/>
                  </a:lnTo>
                  <a:lnTo>
                    <a:pt x="1290" y="109"/>
                  </a:lnTo>
                  <a:lnTo>
                    <a:pt x="1287" y="113"/>
                  </a:lnTo>
                  <a:lnTo>
                    <a:pt x="1287" y="113"/>
                  </a:lnTo>
                  <a:lnTo>
                    <a:pt x="1287" y="118"/>
                  </a:lnTo>
                  <a:lnTo>
                    <a:pt x="1287" y="120"/>
                  </a:lnTo>
                  <a:lnTo>
                    <a:pt x="1289" y="126"/>
                  </a:lnTo>
                  <a:lnTo>
                    <a:pt x="1289" y="126"/>
                  </a:lnTo>
                  <a:lnTo>
                    <a:pt x="1290" y="129"/>
                  </a:lnTo>
                  <a:lnTo>
                    <a:pt x="1290" y="129"/>
                  </a:lnTo>
                  <a:lnTo>
                    <a:pt x="1291" y="130"/>
                  </a:lnTo>
                  <a:lnTo>
                    <a:pt x="1296" y="132"/>
                  </a:lnTo>
                  <a:lnTo>
                    <a:pt x="1296" y="132"/>
                  </a:lnTo>
                  <a:lnTo>
                    <a:pt x="1293" y="132"/>
                  </a:lnTo>
                  <a:lnTo>
                    <a:pt x="1293" y="132"/>
                  </a:lnTo>
                  <a:lnTo>
                    <a:pt x="1289" y="132"/>
                  </a:lnTo>
                  <a:lnTo>
                    <a:pt x="1283" y="135"/>
                  </a:lnTo>
                  <a:lnTo>
                    <a:pt x="1283" y="135"/>
                  </a:lnTo>
                  <a:lnTo>
                    <a:pt x="1274" y="138"/>
                  </a:lnTo>
                  <a:lnTo>
                    <a:pt x="1269" y="139"/>
                  </a:lnTo>
                  <a:lnTo>
                    <a:pt x="1269" y="139"/>
                  </a:lnTo>
                  <a:lnTo>
                    <a:pt x="1266" y="138"/>
                  </a:lnTo>
                  <a:lnTo>
                    <a:pt x="1264" y="138"/>
                  </a:lnTo>
                  <a:lnTo>
                    <a:pt x="1264" y="138"/>
                  </a:lnTo>
                  <a:lnTo>
                    <a:pt x="1263" y="135"/>
                  </a:lnTo>
                  <a:lnTo>
                    <a:pt x="1260" y="135"/>
                  </a:lnTo>
                  <a:lnTo>
                    <a:pt x="1254" y="133"/>
                  </a:lnTo>
                  <a:lnTo>
                    <a:pt x="1254" y="133"/>
                  </a:lnTo>
                  <a:lnTo>
                    <a:pt x="1249" y="132"/>
                  </a:lnTo>
                  <a:lnTo>
                    <a:pt x="1243" y="129"/>
                  </a:lnTo>
                  <a:lnTo>
                    <a:pt x="1243" y="129"/>
                  </a:lnTo>
                  <a:lnTo>
                    <a:pt x="1239" y="128"/>
                  </a:lnTo>
                  <a:lnTo>
                    <a:pt x="1234" y="125"/>
                  </a:lnTo>
                  <a:lnTo>
                    <a:pt x="1226" y="123"/>
                  </a:lnTo>
                  <a:lnTo>
                    <a:pt x="1226" y="123"/>
                  </a:lnTo>
                  <a:lnTo>
                    <a:pt x="1220" y="122"/>
                  </a:lnTo>
                  <a:lnTo>
                    <a:pt x="1220" y="122"/>
                  </a:lnTo>
                  <a:lnTo>
                    <a:pt x="1216" y="119"/>
                  </a:lnTo>
                  <a:lnTo>
                    <a:pt x="1207" y="116"/>
                  </a:lnTo>
                  <a:lnTo>
                    <a:pt x="1197" y="115"/>
                  </a:lnTo>
                  <a:lnTo>
                    <a:pt x="1189" y="113"/>
                  </a:lnTo>
                  <a:lnTo>
                    <a:pt x="1189" y="113"/>
                  </a:lnTo>
                  <a:lnTo>
                    <a:pt x="1181" y="115"/>
                  </a:lnTo>
                  <a:lnTo>
                    <a:pt x="1177" y="116"/>
                  </a:lnTo>
                  <a:lnTo>
                    <a:pt x="1177" y="116"/>
                  </a:lnTo>
                  <a:lnTo>
                    <a:pt x="1171" y="122"/>
                  </a:lnTo>
                  <a:lnTo>
                    <a:pt x="1171" y="122"/>
                  </a:lnTo>
                  <a:lnTo>
                    <a:pt x="1167" y="125"/>
                  </a:lnTo>
                  <a:lnTo>
                    <a:pt x="1163" y="126"/>
                  </a:lnTo>
                  <a:lnTo>
                    <a:pt x="1163" y="126"/>
                  </a:lnTo>
                  <a:lnTo>
                    <a:pt x="1154" y="126"/>
                  </a:lnTo>
                  <a:lnTo>
                    <a:pt x="1154" y="126"/>
                  </a:lnTo>
                  <a:lnTo>
                    <a:pt x="1149" y="128"/>
                  </a:lnTo>
                  <a:lnTo>
                    <a:pt x="1149" y="128"/>
                  </a:lnTo>
                  <a:lnTo>
                    <a:pt x="1154" y="122"/>
                  </a:lnTo>
                  <a:lnTo>
                    <a:pt x="1154" y="122"/>
                  </a:lnTo>
                  <a:lnTo>
                    <a:pt x="1161" y="115"/>
                  </a:lnTo>
                  <a:lnTo>
                    <a:pt x="1164" y="110"/>
                  </a:lnTo>
                  <a:lnTo>
                    <a:pt x="1164" y="110"/>
                  </a:lnTo>
                  <a:lnTo>
                    <a:pt x="1164" y="109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1" y="108"/>
                  </a:lnTo>
                  <a:lnTo>
                    <a:pt x="1161" y="108"/>
                  </a:lnTo>
                  <a:lnTo>
                    <a:pt x="1157" y="109"/>
                  </a:lnTo>
                  <a:lnTo>
                    <a:pt x="1147" y="115"/>
                  </a:lnTo>
                  <a:lnTo>
                    <a:pt x="1147" y="115"/>
                  </a:lnTo>
                  <a:lnTo>
                    <a:pt x="1136" y="122"/>
                  </a:lnTo>
                  <a:lnTo>
                    <a:pt x="1127" y="125"/>
                  </a:lnTo>
                  <a:lnTo>
                    <a:pt x="1127" y="125"/>
                  </a:lnTo>
                  <a:lnTo>
                    <a:pt x="1119" y="125"/>
                  </a:lnTo>
                  <a:lnTo>
                    <a:pt x="1114" y="123"/>
                  </a:lnTo>
                  <a:lnTo>
                    <a:pt x="1113" y="122"/>
                  </a:lnTo>
                  <a:lnTo>
                    <a:pt x="1113" y="122"/>
                  </a:lnTo>
                  <a:lnTo>
                    <a:pt x="1113" y="122"/>
                  </a:lnTo>
                  <a:lnTo>
                    <a:pt x="1113" y="122"/>
                  </a:lnTo>
                  <a:lnTo>
                    <a:pt x="1116" y="116"/>
                  </a:lnTo>
                  <a:lnTo>
                    <a:pt x="1116" y="116"/>
                  </a:lnTo>
                  <a:lnTo>
                    <a:pt x="1119" y="112"/>
                  </a:lnTo>
                  <a:lnTo>
                    <a:pt x="1120" y="108"/>
                  </a:lnTo>
                  <a:lnTo>
                    <a:pt x="1120" y="108"/>
                  </a:lnTo>
                  <a:lnTo>
                    <a:pt x="1119" y="102"/>
                  </a:lnTo>
                  <a:lnTo>
                    <a:pt x="1117" y="96"/>
                  </a:lnTo>
                  <a:lnTo>
                    <a:pt x="1117" y="96"/>
                  </a:lnTo>
                  <a:lnTo>
                    <a:pt x="1114" y="95"/>
                  </a:lnTo>
                  <a:lnTo>
                    <a:pt x="1111" y="93"/>
                  </a:lnTo>
                  <a:lnTo>
                    <a:pt x="1110" y="93"/>
                  </a:lnTo>
                  <a:lnTo>
                    <a:pt x="1110" y="93"/>
                  </a:lnTo>
                  <a:lnTo>
                    <a:pt x="1107" y="95"/>
                  </a:lnTo>
                  <a:lnTo>
                    <a:pt x="1104" y="96"/>
                  </a:lnTo>
                  <a:lnTo>
                    <a:pt x="1104" y="96"/>
                  </a:lnTo>
                  <a:lnTo>
                    <a:pt x="1101" y="102"/>
                  </a:lnTo>
                  <a:lnTo>
                    <a:pt x="1101" y="108"/>
                  </a:lnTo>
                  <a:lnTo>
                    <a:pt x="1101" y="108"/>
                  </a:lnTo>
                  <a:lnTo>
                    <a:pt x="1101" y="108"/>
                  </a:lnTo>
                  <a:lnTo>
                    <a:pt x="1101" y="108"/>
                  </a:lnTo>
                  <a:lnTo>
                    <a:pt x="1094" y="109"/>
                  </a:lnTo>
                  <a:lnTo>
                    <a:pt x="1094" y="109"/>
                  </a:lnTo>
                  <a:lnTo>
                    <a:pt x="1090" y="110"/>
                  </a:lnTo>
                  <a:lnTo>
                    <a:pt x="1087" y="112"/>
                  </a:lnTo>
                  <a:lnTo>
                    <a:pt x="1087" y="112"/>
                  </a:lnTo>
                  <a:lnTo>
                    <a:pt x="1081" y="116"/>
                  </a:lnTo>
                  <a:lnTo>
                    <a:pt x="1081" y="116"/>
                  </a:lnTo>
                  <a:lnTo>
                    <a:pt x="1074" y="118"/>
                  </a:lnTo>
                  <a:lnTo>
                    <a:pt x="1066" y="118"/>
                  </a:lnTo>
                  <a:lnTo>
                    <a:pt x="1066" y="118"/>
                  </a:lnTo>
                  <a:lnTo>
                    <a:pt x="1066" y="118"/>
                  </a:lnTo>
                  <a:lnTo>
                    <a:pt x="1066" y="118"/>
                  </a:lnTo>
                  <a:lnTo>
                    <a:pt x="1074" y="113"/>
                  </a:lnTo>
                  <a:lnTo>
                    <a:pt x="1076" y="112"/>
                  </a:lnTo>
                  <a:lnTo>
                    <a:pt x="1077" y="109"/>
                  </a:lnTo>
                  <a:lnTo>
                    <a:pt x="1077" y="109"/>
                  </a:lnTo>
                  <a:lnTo>
                    <a:pt x="1076" y="106"/>
                  </a:lnTo>
                  <a:lnTo>
                    <a:pt x="1074" y="105"/>
                  </a:lnTo>
                  <a:lnTo>
                    <a:pt x="1070" y="105"/>
                  </a:lnTo>
                  <a:lnTo>
                    <a:pt x="1070" y="105"/>
                  </a:lnTo>
                  <a:lnTo>
                    <a:pt x="1061" y="106"/>
                  </a:lnTo>
                  <a:lnTo>
                    <a:pt x="1061" y="106"/>
                  </a:lnTo>
                  <a:lnTo>
                    <a:pt x="1054" y="106"/>
                  </a:lnTo>
                  <a:lnTo>
                    <a:pt x="1054" y="106"/>
                  </a:lnTo>
                  <a:lnTo>
                    <a:pt x="1051" y="106"/>
                  </a:lnTo>
                  <a:lnTo>
                    <a:pt x="1051" y="108"/>
                  </a:lnTo>
                  <a:lnTo>
                    <a:pt x="1051" y="108"/>
                  </a:lnTo>
                  <a:lnTo>
                    <a:pt x="1051" y="106"/>
                  </a:lnTo>
                  <a:lnTo>
                    <a:pt x="1051" y="106"/>
                  </a:lnTo>
                  <a:lnTo>
                    <a:pt x="1046" y="106"/>
                  </a:lnTo>
                  <a:lnTo>
                    <a:pt x="1040" y="109"/>
                  </a:lnTo>
                  <a:lnTo>
                    <a:pt x="1040" y="109"/>
                  </a:lnTo>
                  <a:lnTo>
                    <a:pt x="1029" y="113"/>
                  </a:lnTo>
                  <a:lnTo>
                    <a:pt x="1014" y="115"/>
                  </a:lnTo>
                  <a:lnTo>
                    <a:pt x="1014" y="115"/>
                  </a:lnTo>
                  <a:lnTo>
                    <a:pt x="1001" y="118"/>
                  </a:lnTo>
                  <a:lnTo>
                    <a:pt x="990" y="120"/>
                  </a:lnTo>
                  <a:lnTo>
                    <a:pt x="986" y="122"/>
                  </a:lnTo>
                  <a:lnTo>
                    <a:pt x="986" y="122"/>
                  </a:lnTo>
                  <a:lnTo>
                    <a:pt x="976" y="125"/>
                  </a:lnTo>
                  <a:lnTo>
                    <a:pt x="976" y="125"/>
                  </a:lnTo>
                  <a:lnTo>
                    <a:pt x="974" y="123"/>
                  </a:lnTo>
                  <a:lnTo>
                    <a:pt x="974" y="123"/>
                  </a:lnTo>
                  <a:lnTo>
                    <a:pt x="974" y="122"/>
                  </a:lnTo>
                  <a:lnTo>
                    <a:pt x="974" y="122"/>
                  </a:lnTo>
                  <a:lnTo>
                    <a:pt x="973" y="119"/>
                  </a:lnTo>
                  <a:lnTo>
                    <a:pt x="971" y="116"/>
                  </a:lnTo>
                  <a:lnTo>
                    <a:pt x="969" y="116"/>
                  </a:lnTo>
                  <a:lnTo>
                    <a:pt x="969" y="116"/>
                  </a:lnTo>
                  <a:lnTo>
                    <a:pt x="963" y="118"/>
                  </a:lnTo>
                  <a:lnTo>
                    <a:pt x="963" y="118"/>
                  </a:lnTo>
                  <a:lnTo>
                    <a:pt x="956" y="120"/>
                  </a:lnTo>
                  <a:lnTo>
                    <a:pt x="947" y="123"/>
                  </a:lnTo>
                  <a:lnTo>
                    <a:pt x="934" y="126"/>
                  </a:lnTo>
                  <a:lnTo>
                    <a:pt x="934" y="126"/>
                  </a:lnTo>
                  <a:lnTo>
                    <a:pt x="924" y="129"/>
                  </a:lnTo>
                  <a:lnTo>
                    <a:pt x="920" y="132"/>
                  </a:lnTo>
                  <a:lnTo>
                    <a:pt x="917" y="135"/>
                  </a:lnTo>
                  <a:lnTo>
                    <a:pt x="917" y="135"/>
                  </a:lnTo>
                  <a:lnTo>
                    <a:pt x="917" y="138"/>
                  </a:lnTo>
                  <a:lnTo>
                    <a:pt x="917" y="140"/>
                  </a:lnTo>
                  <a:lnTo>
                    <a:pt x="917" y="140"/>
                  </a:lnTo>
                  <a:lnTo>
                    <a:pt x="919" y="142"/>
                  </a:lnTo>
                  <a:lnTo>
                    <a:pt x="919" y="142"/>
                  </a:lnTo>
                  <a:lnTo>
                    <a:pt x="914" y="140"/>
                  </a:lnTo>
                  <a:lnTo>
                    <a:pt x="914" y="140"/>
                  </a:lnTo>
                  <a:lnTo>
                    <a:pt x="911" y="138"/>
                  </a:lnTo>
                  <a:lnTo>
                    <a:pt x="907" y="138"/>
                  </a:lnTo>
                  <a:lnTo>
                    <a:pt x="907" y="138"/>
                  </a:lnTo>
                  <a:lnTo>
                    <a:pt x="901" y="138"/>
                  </a:lnTo>
                  <a:lnTo>
                    <a:pt x="901" y="138"/>
                  </a:lnTo>
                  <a:lnTo>
                    <a:pt x="899" y="138"/>
                  </a:lnTo>
                  <a:lnTo>
                    <a:pt x="899" y="138"/>
                  </a:lnTo>
                  <a:lnTo>
                    <a:pt x="896" y="138"/>
                  </a:lnTo>
                  <a:lnTo>
                    <a:pt x="893" y="136"/>
                  </a:lnTo>
                  <a:lnTo>
                    <a:pt x="893" y="136"/>
                  </a:lnTo>
                  <a:lnTo>
                    <a:pt x="889" y="133"/>
                  </a:lnTo>
                  <a:lnTo>
                    <a:pt x="883" y="132"/>
                  </a:lnTo>
                  <a:lnTo>
                    <a:pt x="883" y="132"/>
                  </a:lnTo>
                  <a:lnTo>
                    <a:pt x="879" y="132"/>
                  </a:lnTo>
                  <a:lnTo>
                    <a:pt x="876" y="129"/>
                  </a:lnTo>
                  <a:lnTo>
                    <a:pt x="876" y="129"/>
                  </a:lnTo>
                  <a:lnTo>
                    <a:pt x="876" y="126"/>
                  </a:lnTo>
                  <a:lnTo>
                    <a:pt x="876" y="125"/>
                  </a:lnTo>
                  <a:lnTo>
                    <a:pt x="876" y="125"/>
                  </a:lnTo>
                  <a:lnTo>
                    <a:pt x="876" y="125"/>
                  </a:lnTo>
                  <a:lnTo>
                    <a:pt x="876" y="125"/>
                  </a:lnTo>
                  <a:lnTo>
                    <a:pt x="877" y="123"/>
                  </a:lnTo>
                  <a:lnTo>
                    <a:pt x="877" y="120"/>
                  </a:lnTo>
                  <a:lnTo>
                    <a:pt x="877" y="120"/>
                  </a:lnTo>
                  <a:lnTo>
                    <a:pt x="876" y="120"/>
                  </a:lnTo>
                  <a:lnTo>
                    <a:pt x="874" y="119"/>
                  </a:lnTo>
                  <a:lnTo>
                    <a:pt x="869" y="118"/>
                  </a:lnTo>
                  <a:lnTo>
                    <a:pt x="857" y="118"/>
                  </a:lnTo>
                  <a:lnTo>
                    <a:pt x="857" y="118"/>
                  </a:lnTo>
                  <a:lnTo>
                    <a:pt x="847" y="118"/>
                  </a:lnTo>
                  <a:lnTo>
                    <a:pt x="841" y="119"/>
                  </a:lnTo>
                  <a:lnTo>
                    <a:pt x="837" y="120"/>
                  </a:lnTo>
                  <a:lnTo>
                    <a:pt x="837" y="120"/>
                  </a:lnTo>
                  <a:lnTo>
                    <a:pt x="834" y="118"/>
                  </a:lnTo>
                  <a:lnTo>
                    <a:pt x="830" y="115"/>
                  </a:lnTo>
                  <a:lnTo>
                    <a:pt x="820" y="110"/>
                  </a:lnTo>
                  <a:lnTo>
                    <a:pt x="809" y="109"/>
                  </a:lnTo>
                  <a:lnTo>
                    <a:pt x="801" y="109"/>
                  </a:lnTo>
                  <a:lnTo>
                    <a:pt x="801" y="109"/>
                  </a:lnTo>
                  <a:lnTo>
                    <a:pt x="789" y="110"/>
                  </a:lnTo>
                  <a:lnTo>
                    <a:pt x="780" y="112"/>
                  </a:lnTo>
                  <a:lnTo>
                    <a:pt x="780" y="112"/>
                  </a:lnTo>
                  <a:lnTo>
                    <a:pt x="777" y="112"/>
                  </a:lnTo>
                  <a:lnTo>
                    <a:pt x="774" y="110"/>
                  </a:lnTo>
                  <a:lnTo>
                    <a:pt x="774" y="110"/>
                  </a:lnTo>
                  <a:lnTo>
                    <a:pt x="769" y="105"/>
                  </a:lnTo>
                  <a:lnTo>
                    <a:pt x="769" y="105"/>
                  </a:lnTo>
                  <a:lnTo>
                    <a:pt x="764" y="103"/>
                  </a:lnTo>
                  <a:lnTo>
                    <a:pt x="760" y="103"/>
                  </a:lnTo>
                  <a:lnTo>
                    <a:pt x="751" y="105"/>
                  </a:lnTo>
                  <a:lnTo>
                    <a:pt x="751" y="105"/>
                  </a:lnTo>
                  <a:lnTo>
                    <a:pt x="741" y="106"/>
                  </a:lnTo>
                  <a:lnTo>
                    <a:pt x="741" y="106"/>
                  </a:lnTo>
                  <a:lnTo>
                    <a:pt x="739" y="106"/>
                  </a:lnTo>
                  <a:lnTo>
                    <a:pt x="739" y="106"/>
                  </a:lnTo>
                  <a:lnTo>
                    <a:pt x="734" y="105"/>
                  </a:lnTo>
                  <a:lnTo>
                    <a:pt x="730" y="103"/>
                  </a:lnTo>
                  <a:lnTo>
                    <a:pt x="729" y="102"/>
                  </a:lnTo>
                  <a:lnTo>
                    <a:pt x="729" y="102"/>
                  </a:lnTo>
                  <a:lnTo>
                    <a:pt x="724" y="99"/>
                  </a:lnTo>
                  <a:lnTo>
                    <a:pt x="720" y="99"/>
                  </a:lnTo>
                  <a:lnTo>
                    <a:pt x="720" y="99"/>
                  </a:lnTo>
                  <a:lnTo>
                    <a:pt x="716" y="99"/>
                  </a:lnTo>
                  <a:lnTo>
                    <a:pt x="716" y="99"/>
                  </a:lnTo>
                  <a:lnTo>
                    <a:pt x="707" y="99"/>
                  </a:lnTo>
                  <a:lnTo>
                    <a:pt x="697" y="99"/>
                  </a:lnTo>
                  <a:lnTo>
                    <a:pt x="697" y="99"/>
                  </a:lnTo>
                  <a:lnTo>
                    <a:pt x="683" y="99"/>
                  </a:lnTo>
                  <a:lnTo>
                    <a:pt x="676" y="98"/>
                  </a:lnTo>
                  <a:lnTo>
                    <a:pt x="670" y="96"/>
                  </a:lnTo>
                  <a:lnTo>
                    <a:pt x="670" y="96"/>
                  </a:lnTo>
                  <a:lnTo>
                    <a:pt x="670" y="96"/>
                  </a:lnTo>
                  <a:lnTo>
                    <a:pt x="670" y="96"/>
                  </a:lnTo>
                  <a:lnTo>
                    <a:pt x="673" y="95"/>
                  </a:lnTo>
                  <a:lnTo>
                    <a:pt x="674" y="92"/>
                  </a:lnTo>
                  <a:lnTo>
                    <a:pt x="674" y="92"/>
                  </a:lnTo>
                  <a:lnTo>
                    <a:pt x="673" y="90"/>
                  </a:lnTo>
                  <a:lnTo>
                    <a:pt x="671" y="88"/>
                  </a:lnTo>
                  <a:lnTo>
                    <a:pt x="671" y="88"/>
                  </a:lnTo>
                  <a:lnTo>
                    <a:pt x="669" y="86"/>
                  </a:lnTo>
                  <a:lnTo>
                    <a:pt x="663" y="86"/>
                  </a:lnTo>
                  <a:lnTo>
                    <a:pt x="663" y="86"/>
                  </a:lnTo>
                  <a:lnTo>
                    <a:pt x="647" y="88"/>
                  </a:lnTo>
                  <a:lnTo>
                    <a:pt x="647" y="88"/>
                  </a:lnTo>
                  <a:lnTo>
                    <a:pt x="637" y="89"/>
                  </a:lnTo>
                  <a:lnTo>
                    <a:pt x="637" y="89"/>
                  </a:lnTo>
                  <a:lnTo>
                    <a:pt x="636" y="86"/>
                  </a:lnTo>
                  <a:lnTo>
                    <a:pt x="633" y="83"/>
                  </a:lnTo>
                  <a:lnTo>
                    <a:pt x="633" y="83"/>
                  </a:lnTo>
                  <a:lnTo>
                    <a:pt x="631" y="83"/>
                  </a:lnTo>
                  <a:lnTo>
                    <a:pt x="631" y="83"/>
                  </a:lnTo>
                  <a:lnTo>
                    <a:pt x="627" y="85"/>
                  </a:lnTo>
                  <a:lnTo>
                    <a:pt x="623" y="88"/>
                  </a:lnTo>
                  <a:lnTo>
                    <a:pt x="623" y="88"/>
                  </a:lnTo>
                  <a:lnTo>
                    <a:pt x="617" y="90"/>
                  </a:lnTo>
                  <a:lnTo>
                    <a:pt x="617" y="90"/>
                  </a:lnTo>
                  <a:lnTo>
                    <a:pt x="619" y="88"/>
                  </a:lnTo>
                  <a:lnTo>
                    <a:pt x="619" y="88"/>
                  </a:lnTo>
                  <a:lnTo>
                    <a:pt x="621" y="83"/>
                  </a:lnTo>
                  <a:lnTo>
                    <a:pt x="621" y="80"/>
                  </a:lnTo>
                  <a:lnTo>
                    <a:pt x="620" y="79"/>
                  </a:lnTo>
                  <a:lnTo>
                    <a:pt x="620" y="79"/>
                  </a:lnTo>
                  <a:lnTo>
                    <a:pt x="619" y="78"/>
                  </a:lnTo>
                  <a:lnTo>
                    <a:pt x="616" y="78"/>
                  </a:lnTo>
                  <a:lnTo>
                    <a:pt x="616" y="78"/>
                  </a:lnTo>
                  <a:lnTo>
                    <a:pt x="601" y="80"/>
                  </a:lnTo>
                  <a:lnTo>
                    <a:pt x="593" y="83"/>
                  </a:lnTo>
                  <a:lnTo>
                    <a:pt x="586" y="88"/>
                  </a:lnTo>
                  <a:lnTo>
                    <a:pt x="586" y="88"/>
                  </a:lnTo>
                  <a:lnTo>
                    <a:pt x="581" y="89"/>
                  </a:lnTo>
                  <a:lnTo>
                    <a:pt x="576" y="90"/>
                  </a:lnTo>
                  <a:lnTo>
                    <a:pt x="561" y="90"/>
                  </a:lnTo>
                  <a:lnTo>
                    <a:pt x="561" y="90"/>
                  </a:lnTo>
                  <a:lnTo>
                    <a:pt x="554" y="90"/>
                  </a:lnTo>
                  <a:lnTo>
                    <a:pt x="554" y="90"/>
                  </a:lnTo>
                  <a:lnTo>
                    <a:pt x="547" y="90"/>
                  </a:lnTo>
                  <a:lnTo>
                    <a:pt x="547" y="90"/>
                  </a:lnTo>
                  <a:lnTo>
                    <a:pt x="536" y="92"/>
                  </a:lnTo>
                  <a:lnTo>
                    <a:pt x="529" y="93"/>
                  </a:lnTo>
                  <a:lnTo>
                    <a:pt x="523" y="96"/>
                  </a:lnTo>
                  <a:lnTo>
                    <a:pt x="517" y="99"/>
                  </a:lnTo>
                  <a:lnTo>
                    <a:pt x="517" y="99"/>
                  </a:lnTo>
                  <a:lnTo>
                    <a:pt x="511" y="103"/>
                  </a:lnTo>
                  <a:lnTo>
                    <a:pt x="511" y="103"/>
                  </a:lnTo>
                  <a:lnTo>
                    <a:pt x="506" y="106"/>
                  </a:lnTo>
                  <a:lnTo>
                    <a:pt x="501" y="106"/>
                  </a:lnTo>
                  <a:lnTo>
                    <a:pt x="501" y="106"/>
                  </a:lnTo>
                  <a:lnTo>
                    <a:pt x="493" y="105"/>
                  </a:lnTo>
                  <a:lnTo>
                    <a:pt x="493" y="105"/>
                  </a:lnTo>
                  <a:lnTo>
                    <a:pt x="483" y="103"/>
                  </a:lnTo>
                  <a:lnTo>
                    <a:pt x="483" y="103"/>
                  </a:lnTo>
                  <a:lnTo>
                    <a:pt x="469" y="103"/>
                  </a:lnTo>
                  <a:lnTo>
                    <a:pt x="460" y="105"/>
                  </a:lnTo>
                  <a:lnTo>
                    <a:pt x="451" y="108"/>
                  </a:lnTo>
                  <a:lnTo>
                    <a:pt x="451" y="108"/>
                  </a:lnTo>
                  <a:lnTo>
                    <a:pt x="446" y="110"/>
                  </a:lnTo>
                  <a:lnTo>
                    <a:pt x="444" y="110"/>
                  </a:lnTo>
                  <a:lnTo>
                    <a:pt x="444" y="110"/>
                  </a:lnTo>
                  <a:lnTo>
                    <a:pt x="433" y="116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14" y="125"/>
                  </a:lnTo>
                  <a:lnTo>
                    <a:pt x="407" y="126"/>
                  </a:lnTo>
                  <a:lnTo>
                    <a:pt x="407" y="126"/>
                  </a:lnTo>
                  <a:lnTo>
                    <a:pt x="396" y="128"/>
                  </a:lnTo>
                  <a:lnTo>
                    <a:pt x="390" y="130"/>
                  </a:lnTo>
                  <a:lnTo>
                    <a:pt x="383" y="133"/>
                  </a:lnTo>
                  <a:lnTo>
                    <a:pt x="383" y="133"/>
                  </a:lnTo>
                  <a:lnTo>
                    <a:pt x="374" y="138"/>
                  </a:lnTo>
                  <a:lnTo>
                    <a:pt x="363" y="139"/>
                  </a:lnTo>
                  <a:lnTo>
                    <a:pt x="363" y="139"/>
                  </a:lnTo>
                  <a:lnTo>
                    <a:pt x="346" y="138"/>
                  </a:lnTo>
                  <a:lnTo>
                    <a:pt x="346" y="138"/>
                  </a:lnTo>
                  <a:lnTo>
                    <a:pt x="340" y="136"/>
                  </a:lnTo>
                  <a:lnTo>
                    <a:pt x="340" y="136"/>
                  </a:lnTo>
                  <a:lnTo>
                    <a:pt x="339" y="136"/>
                  </a:lnTo>
                  <a:lnTo>
                    <a:pt x="337" y="138"/>
                  </a:lnTo>
                  <a:lnTo>
                    <a:pt x="337" y="138"/>
                  </a:lnTo>
                  <a:lnTo>
                    <a:pt x="332" y="142"/>
                  </a:lnTo>
                  <a:lnTo>
                    <a:pt x="332" y="142"/>
                  </a:lnTo>
                  <a:lnTo>
                    <a:pt x="327" y="146"/>
                  </a:lnTo>
                  <a:lnTo>
                    <a:pt x="323" y="150"/>
                  </a:lnTo>
                  <a:lnTo>
                    <a:pt x="323" y="150"/>
                  </a:lnTo>
                  <a:lnTo>
                    <a:pt x="320" y="150"/>
                  </a:lnTo>
                  <a:lnTo>
                    <a:pt x="317" y="150"/>
                  </a:lnTo>
                  <a:lnTo>
                    <a:pt x="317" y="150"/>
                  </a:lnTo>
                  <a:lnTo>
                    <a:pt x="313" y="149"/>
                  </a:lnTo>
                  <a:lnTo>
                    <a:pt x="310" y="149"/>
                  </a:lnTo>
                  <a:lnTo>
                    <a:pt x="309" y="150"/>
                  </a:lnTo>
                  <a:lnTo>
                    <a:pt x="309" y="150"/>
                  </a:lnTo>
                  <a:lnTo>
                    <a:pt x="307" y="152"/>
                  </a:lnTo>
                  <a:lnTo>
                    <a:pt x="307" y="153"/>
                  </a:lnTo>
                  <a:lnTo>
                    <a:pt x="307" y="153"/>
                  </a:lnTo>
                  <a:lnTo>
                    <a:pt x="310" y="156"/>
                  </a:lnTo>
                  <a:lnTo>
                    <a:pt x="313" y="156"/>
                  </a:lnTo>
                  <a:lnTo>
                    <a:pt x="313" y="156"/>
                  </a:lnTo>
                  <a:lnTo>
                    <a:pt x="316" y="158"/>
                  </a:lnTo>
                  <a:lnTo>
                    <a:pt x="316" y="158"/>
                  </a:lnTo>
                  <a:lnTo>
                    <a:pt x="320" y="162"/>
                  </a:lnTo>
                  <a:lnTo>
                    <a:pt x="320" y="162"/>
                  </a:lnTo>
                  <a:lnTo>
                    <a:pt x="323" y="165"/>
                  </a:lnTo>
                  <a:lnTo>
                    <a:pt x="323" y="165"/>
                  </a:lnTo>
                  <a:lnTo>
                    <a:pt x="326" y="168"/>
                  </a:lnTo>
                  <a:lnTo>
                    <a:pt x="326" y="168"/>
                  </a:lnTo>
                  <a:lnTo>
                    <a:pt x="327" y="170"/>
                  </a:lnTo>
                  <a:lnTo>
                    <a:pt x="329" y="173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6" y="178"/>
                  </a:lnTo>
                  <a:lnTo>
                    <a:pt x="326" y="178"/>
                  </a:lnTo>
                  <a:lnTo>
                    <a:pt x="323" y="179"/>
                  </a:lnTo>
                  <a:lnTo>
                    <a:pt x="322" y="182"/>
                  </a:lnTo>
                  <a:lnTo>
                    <a:pt x="322" y="182"/>
                  </a:lnTo>
                  <a:lnTo>
                    <a:pt x="323" y="185"/>
                  </a:lnTo>
                  <a:lnTo>
                    <a:pt x="323" y="186"/>
                  </a:lnTo>
                  <a:lnTo>
                    <a:pt x="323" y="186"/>
                  </a:lnTo>
                  <a:lnTo>
                    <a:pt x="326" y="189"/>
                  </a:lnTo>
                  <a:lnTo>
                    <a:pt x="329" y="189"/>
                  </a:lnTo>
                  <a:lnTo>
                    <a:pt x="337" y="190"/>
                  </a:lnTo>
                  <a:lnTo>
                    <a:pt x="337" y="190"/>
                  </a:lnTo>
                  <a:lnTo>
                    <a:pt x="340" y="190"/>
                  </a:lnTo>
                  <a:lnTo>
                    <a:pt x="340" y="190"/>
                  </a:lnTo>
                  <a:lnTo>
                    <a:pt x="344" y="190"/>
                  </a:lnTo>
                  <a:lnTo>
                    <a:pt x="344" y="190"/>
                  </a:lnTo>
                  <a:lnTo>
                    <a:pt x="350" y="190"/>
                  </a:lnTo>
                  <a:lnTo>
                    <a:pt x="356" y="192"/>
                  </a:lnTo>
                  <a:lnTo>
                    <a:pt x="356" y="192"/>
                  </a:lnTo>
                  <a:lnTo>
                    <a:pt x="360" y="192"/>
                  </a:lnTo>
                  <a:lnTo>
                    <a:pt x="360" y="192"/>
                  </a:lnTo>
                  <a:lnTo>
                    <a:pt x="353" y="198"/>
                  </a:lnTo>
                  <a:lnTo>
                    <a:pt x="353" y="198"/>
                  </a:lnTo>
                  <a:lnTo>
                    <a:pt x="350" y="199"/>
                  </a:lnTo>
                  <a:lnTo>
                    <a:pt x="350" y="199"/>
                  </a:lnTo>
                  <a:lnTo>
                    <a:pt x="343" y="203"/>
                  </a:lnTo>
                  <a:lnTo>
                    <a:pt x="343" y="203"/>
                  </a:lnTo>
                  <a:lnTo>
                    <a:pt x="339" y="206"/>
                  </a:lnTo>
                  <a:lnTo>
                    <a:pt x="339" y="206"/>
                  </a:lnTo>
                  <a:lnTo>
                    <a:pt x="334" y="206"/>
                  </a:lnTo>
                  <a:lnTo>
                    <a:pt x="334" y="206"/>
                  </a:lnTo>
                  <a:lnTo>
                    <a:pt x="332" y="208"/>
                  </a:lnTo>
                  <a:lnTo>
                    <a:pt x="327" y="209"/>
                  </a:lnTo>
                  <a:lnTo>
                    <a:pt x="327" y="209"/>
                  </a:lnTo>
                  <a:lnTo>
                    <a:pt x="326" y="209"/>
                  </a:lnTo>
                  <a:lnTo>
                    <a:pt x="316" y="210"/>
                  </a:lnTo>
                  <a:lnTo>
                    <a:pt x="316" y="210"/>
                  </a:lnTo>
                  <a:lnTo>
                    <a:pt x="292" y="209"/>
                  </a:lnTo>
                  <a:lnTo>
                    <a:pt x="292" y="209"/>
                  </a:lnTo>
                  <a:lnTo>
                    <a:pt x="292" y="209"/>
                  </a:lnTo>
                  <a:lnTo>
                    <a:pt x="289" y="209"/>
                  </a:lnTo>
                  <a:lnTo>
                    <a:pt x="289" y="209"/>
                  </a:lnTo>
                  <a:lnTo>
                    <a:pt x="290" y="209"/>
                  </a:lnTo>
                  <a:lnTo>
                    <a:pt x="290" y="209"/>
                  </a:lnTo>
                  <a:lnTo>
                    <a:pt x="296" y="203"/>
                  </a:lnTo>
                  <a:lnTo>
                    <a:pt x="299" y="202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8"/>
                  </a:lnTo>
                  <a:lnTo>
                    <a:pt x="290" y="196"/>
                  </a:lnTo>
                  <a:lnTo>
                    <a:pt x="290" y="196"/>
                  </a:lnTo>
                  <a:lnTo>
                    <a:pt x="263" y="199"/>
                  </a:lnTo>
                  <a:lnTo>
                    <a:pt x="263" y="199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53" y="200"/>
                  </a:lnTo>
                  <a:lnTo>
                    <a:pt x="252" y="203"/>
                  </a:lnTo>
                  <a:lnTo>
                    <a:pt x="250" y="208"/>
                  </a:lnTo>
                  <a:lnTo>
                    <a:pt x="250" y="208"/>
                  </a:lnTo>
                  <a:lnTo>
                    <a:pt x="250" y="209"/>
                  </a:lnTo>
                  <a:lnTo>
                    <a:pt x="250" y="209"/>
                  </a:lnTo>
                  <a:lnTo>
                    <a:pt x="247" y="209"/>
                  </a:lnTo>
                  <a:lnTo>
                    <a:pt x="247" y="209"/>
                  </a:lnTo>
                  <a:lnTo>
                    <a:pt x="240" y="208"/>
                  </a:lnTo>
                  <a:lnTo>
                    <a:pt x="233" y="208"/>
                  </a:lnTo>
                  <a:lnTo>
                    <a:pt x="233" y="208"/>
                  </a:lnTo>
                  <a:lnTo>
                    <a:pt x="226" y="209"/>
                  </a:lnTo>
                  <a:lnTo>
                    <a:pt x="219" y="210"/>
                  </a:lnTo>
                  <a:lnTo>
                    <a:pt x="219" y="210"/>
                  </a:lnTo>
                  <a:lnTo>
                    <a:pt x="213" y="212"/>
                  </a:lnTo>
                  <a:lnTo>
                    <a:pt x="213" y="212"/>
                  </a:lnTo>
                  <a:lnTo>
                    <a:pt x="207" y="213"/>
                  </a:lnTo>
                  <a:lnTo>
                    <a:pt x="207" y="213"/>
                  </a:lnTo>
                  <a:lnTo>
                    <a:pt x="202" y="215"/>
                  </a:lnTo>
                  <a:lnTo>
                    <a:pt x="196" y="218"/>
                  </a:lnTo>
                  <a:lnTo>
                    <a:pt x="196" y="218"/>
                  </a:lnTo>
                  <a:lnTo>
                    <a:pt x="192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2" y="218"/>
                  </a:lnTo>
                  <a:lnTo>
                    <a:pt x="182" y="219"/>
                  </a:lnTo>
                  <a:lnTo>
                    <a:pt x="182" y="219"/>
                  </a:lnTo>
                  <a:lnTo>
                    <a:pt x="182" y="222"/>
                  </a:lnTo>
                  <a:lnTo>
                    <a:pt x="184" y="226"/>
                  </a:lnTo>
                  <a:lnTo>
                    <a:pt x="190" y="229"/>
                  </a:lnTo>
                  <a:lnTo>
                    <a:pt x="190" y="229"/>
                  </a:lnTo>
                  <a:lnTo>
                    <a:pt x="194" y="230"/>
                  </a:lnTo>
                  <a:lnTo>
                    <a:pt x="194" y="230"/>
                  </a:lnTo>
                  <a:lnTo>
                    <a:pt x="190" y="230"/>
                  </a:lnTo>
                  <a:lnTo>
                    <a:pt x="190" y="230"/>
                  </a:lnTo>
                  <a:lnTo>
                    <a:pt x="187" y="232"/>
                  </a:lnTo>
                  <a:lnTo>
                    <a:pt x="186" y="233"/>
                  </a:lnTo>
                  <a:lnTo>
                    <a:pt x="184" y="240"/>
                  </a:lnTo>
                  <a:lnTo>
                    <a:pt x="184" y="240"/>
                  </a:lnTo>
                  <a:lnTo>
                    <a:pt x="183" y="242"/>
                  </a:lnTo>
                  <a:lnTo>
                    <a:pt x="183" y="242"/>
                  </a:lnTo>
                  <a:lnTo>
                    <a:pt x="180" y="242"/>
                  </a:lnTo>
                  <a:lnTo>
                    <a:pt x="180" y="242"/>
                  </a:lnTo>
                  <a:lnTo>
                    <a:pt x="177" y="243"/>
                  </a:lnTo>
                  <a:lnTo>
                    <a:pt x="177" y="243"/>
                  </a:lnTo>
                  <a:lnTo>
                    <a:pt x="176" y="245"/>
                  </a:lnTo>
                  <a:lnTo>
                    <a:pt x="174" y="246"/>
                  </a:lnTo>
                  <a:lnTo>
                    <a:pt x="174" y="246"/>
                  </a:lnTo>
                  <a:lnTo>
                    <a:pt x="174" y="246"/>
                  </a:lnTo>
                  <a:lnTo>
                    <a:pt x="174" y="246"/>
                  </a:lnTo>
                  <a:lnTo>
                    <a:pt x="174" y="246"/>
                  </a:lnTo>
                  <a:lnTo>
                    <a:pt x="174" y="246"/>
                  </a:lnTo>
                  <a:lnTo>
                    <a:pt x="177" y="248"/>
                  </a:lnTo>
                  <a:lnTo>
                    <a:pt x="180" y="249"/>
                  </a:lnTo>
                  <a:lnTo>
                    <a:pt x="190" y="252"/>
                  </a:lnTo>
                  <a:lnTo>
                    <a:pt x="204" y="253"/>
                  </a:lnTo>
                  <a:lnTo>
                    <a:pt x="204" y="253"/>
                  </a:lnTo>
                  <a:lnTo>
                    <a:pt x="204" y="253"/>
                  </a:lnTo>
                  <a:lnTo>
                    <a:pt x="204" y="253"/>
                  </a:lnTo>
                  <a:lnTo>
                    <a:pt x="213" y="252"/>
                  </a:lnTo>
                  <a:lnTo>
                    <a:pt x="213" y="252"/>
                  </a:lnTo>
                  <a:lnTo>
                    <a:pt x="216" y="250"/>
                  </a:lnTo>
                  <a:lnTo>
                    <a:pt x="217" y="250"/>
                  </a:lnTo>
                  <a:lnTo>
                    <a:pt x="217" y="250"/>
                  </a:lnTo>
                  <a:lnTo>
                    <a:pt x="229" y="252"/>
                  </a:lnTo>
                  <a:lnTo>
                    <a:pt x="232" y="252"/>
                  </a:lnTo>
                  <a:lnTo>
                    <a:pt x="232" y="252"/>
                  </a:lnTo>
                  <a:lnTo>
                    <a:pt x="237" y="256"/>
                  </a:lnTo>
                  <a:lnTo>
                    <a:pt x="243" y="258"/>
                  </a:lnTo>
                  <a:lnTo>
                    <a:pt x="243" y="258"/>
                  </a:lnTo>
                  <a:lnTo>
                    <a:pt x="253" y="255"/>
                  </a:lnTo>
                  <a:lnTo>
                    <a:pt x="262" y="249"/>
                  </a:lnTo>
                  <a:lnTo>
                    <a:pt x="262" y="249"/>
                  </a:lnTo>
                  <a:lnTo>
                    <a:pt x="264" y="249"/>
                  </a:lnTo>
                  <a:lnTo>
                    <a:pt x="267" y="248"/>
                  </a:lnTo>
                  <a:lnTo>
                    <a:pt x="267" y="248"/>
                  </a:lnTo>
                  <a:lnTo>
                    <a:pt x="276" y="248"/>
                  </a:lnTo>
                  <a:lnTo>
                    <a:pt x="276" y="248"/>
                  </a:lnTo>
                  <a:lnTo>
                    <a:pt x="284" y="245"/>
                  </a:lnTo>
                  <a:lnTo>
                    <a:pt x="289" y="245"/>
                  </a:lnTo>
                  <a:lnTo>
                    <a:pt x="289" y="245"/>
                  </a:lnTo>
                  <a:lnTo>
                    <a:pt x="290" y="246"/>
                  </a:lnTo>
                  <a:lnTo>
                    <a:pt x="290" y="246"/>
                  </a:lnTo>
                  <a:lnTo>
                    <a:pt x="286" y="248"/>
                  </a:lnTo>
                  <a:lnTo>
                    <a:pt x="280" y="248"/>
                  </a:lnTo>
                  <a:lnTo>
                    <a:pt x="280" y="248"/>
                  </a:lnTo>
                  <a:lnTo>
                    <a:pt x="277" y="249"/>
                  </a:lnTo>
                  <a:lnTo>
                    <a:pt x="276" y="249"/>
                  </a:lnTo>
                  <a:lnTo>
                    <a:pt x="276" y="249"/>
                  </a:lnTo>
                  <a:lnTo>
                    <a:pt x="273" y="249"/>
                  </a:lnTo>
                  <a:lnTo>
                    <a:pt x="270" y="250"/>
                  </a:lnTo>
                  <a:lnTo>
                    <a:pt x="267" y="253"/>
                  </a:lnTo>
                  <a:lnTo>
                    <a:pt x="266" y="258"/>
                  </a:lnTo>
                  <a:lnTo>
                    <a:pt x="266" y="258"/>
                  </a:lnTo>
                  <a:lnTo>
                    <a:pt x="266" y="260"/>
                  </a:lnTo>
                  <a:lnTo>
                    <a:pt x="264" y="262"/>
                  </a:lnTo>
                  <a:lnTo>
                    <a:pt x="260" y="265"/>
                  </a:lnTo>
                  <a:lnTo>
                    <a:pt x="260" y="265"/>
                  </a:lnTo>
                  <a:lnTo>
                    <a:pt x="256" y="269"/>
                  </a:lnTo>
                  <a:lnTo>
                    <a:pt x="256" y="269"/>
                  </a:lnTo>
                  <a:lnTo>
                    <a:pt x="252" y="272"/>
                  </a:lnTo>
                  <a:lnTo>
                    <a:pt x="252" y="272"/>
                  </a:lnTo>
                  <a:lnTo>
                    <a:pt x="247" y="273"/>
                  </a:lnTo>
                  <a:lnTo>
                    <a:pt x="244" y="276"/>
                  </a:lnTo>
                  <a:lnTo>
                    <a:pt x="244" y="276"/>
                  </a:lnTo>
                  <a:lnTo>
                    <a:pt x="240" y="278"/>
                  </a:lnTo>
                  <a:lnTo>
                    <a:pt x="234" y="279"/>
                  </a:lnTo>
                  <a:lnTo>
                    <a:pt x="234" y="279"/>
                  </a:lnTo>
                  <a:lnTo>
                    <a:pt x="232" y="278"/>
                  </a:lnTo>
                  <a:lnTo>
                    <a:pt x="232" y="278"/>
                  </a:lnTo>
                  <a:lnTo>
                    <a:pt x="226" y="278"/>
                  </a:lnTo>
                  <a:lnTo>
                    <a:pt x="226" y="278"/>
                  </a:lnTo>
                  <a:lnTo>
                    <a:pt x="220" y="278"/>
                  </a:lnTo>
                  <a:lnTo>
                    <a:pt x="220" y="278"/>
                  </a:lnTo>
                  <a:lnTo>
                    <a:pt x="214" y="279"/>
                  </a:lnTo>
                  <a:lnTo>
                    <a:pt x="206" y="280"/>
                  </a:lnTo>
                  <a:lnTo>
                    <a:pt x="206" y="280"/>
                  </a:lnTo>
                  <a:lnTo>
                    <a:pt x="199" y="285"/>
                  </a:lnTo>
                  <a:lnTo>
                    <a:pt x="199" y="285"/>
                  </a:lnTo>
                  <a:lnTo>
                    <a:pt x="190" y="288"/>
                  </a:lnTo>
                  <a:lnTo>
                    <a:pt x="190" y="288"/>
                  </a:lnTo>
                  <a:lnTo>
                    <a:pt x="184" y="289"/>
                  </a:lnTo>
                  <a:lnTo>
                    <a:pt x="184" y="289"/>
                  </a:lnTo>
                  <a:lnTo>
                    <a:pt x="182" y="289"/>
                  </a:lnTo>
                  <a:lnTo>
                    <a:pt x="182" y="289"/>
                  </a:lnTo>
                  <a:lnTo>
                    <a:pt x="180" y="288"/>
                  </a:lnTo>
                  <a:lnTo>
                    <a:pt x="180" y="288"/>
                  </a:lnTo>
                  <a:lnTo>
                    <a:pt x="182" y="286"/>
                  </a:lnTo>
                  <a:lnTo>
                    <a:pt x="182" y="286"/>
                  </a:lnTo>
                  <a:lnTo>
                    <a:pt x="180" y="283"/>
                  </a:lnTo>
                  <a:lnTo>
                    <a:pt x="180" y="283"/>
                  </a:lnTo>
                  <a:lnTo>
                    <a:pt x="177" y="282"/>
                  </a:lnTo>
                  <a:lnTo>
                    <a:pt x="173" y="280"/>
                  </a:lnTo>
                  <a:lnTo>
                    <a:pt x="173" y="280"/>
                  </a:lnTo>
                  <a:lnTo>
                    <a:pt x="162" y="282"/>
                  </a:lnTo>
                  <a:lnTo>
                    <a:pt x="162" y="282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4" y="288"/>
                  </a:lnTo>
                  <a:lnTo>
                    <a:pt x="150" y="289"/>
                  </a:lnTo>
                  <a:lnTo>
                    <a:pt x="150" y="289"/>
                  </a:lnTo>
                  <a:lnTo>
                    <a:pt x="144" y="290"/>
                  </a:lnTo>
                  <a:lnTo>
                    <a:pt x="142" y="295"/>
                  </a:lnTo>
                  <a:lnTo>
                    <a:pt x="142" y="295"/>
                  </a:lnTo>
                  <a:lnTo>
                    <a:pt x="140" y="298"/>
                  </a:lnTo>
                  <a:lnTo>
                    <a:pt x="140" y="298"/>
                  </a:lnTo>
                  <a:lnTo>
                    <a:pt x="137" y="299"/>
                  </a:lnTo>
                  <a:lnTo>
                    <a:pt x="134" y="300"/>
                  </a:lnTo>
                  <a:lnTo>
                    <a:pt x="127" y="300"/>
                  </a:lnTo>
                  <a:lnTo>
                    <a:pt x="126" y="300"/>
                  </a:lnTo>
                  <a:lnTo>
                    <a:pt x="126" y="300"/>
                  </a:lnTo>
                  <a:lnTo>
                    <a:pt x="119" y="303"/>
                  </a:lnTo>
                  <a:lnTo>
                    <a:pt x="109" y="308"/>
                  </a:lnTo>
                  <a:lnTo>
                    <a:pt x="97" y="316"/>
                  </a:lnTo>
                  <a:lnTo>
                    <a:pt x="97" y="316"/>
                  </a:lnTo>
                  <a:lnTo>
                    <a:pt x="94" y="319"/>
                  </a:lnTo>
                  <a:lnTo>
                    <a:pt x="90" y="320"/>
                  </a:lnTo>
                  <a:lnTo>
                    <a:pt x="90" y="320"/>
                  </a:lnTo>
                  <a:lnTo>
                    <a:pt x="83" y="323"/>
                  </a:lnTo>
                  <a:lnTo>
                    <a:pt x="83" y="323"/>
                  </a:lnTo>
                  <a:lnTo>
                    <a:pt x="82" y="323"/>
                  </a:lnTo>
                  <a:lnTo>
                    <a:pt x="82" y="323"/>
                  </a:lnTo>
                  <a:lnTo>
                    <a:pt x="80" y="323"/>
                  </a:lnTo>
                  <a:lnTo>
                    <a:pt x="80" y="323"/>
                  </a:lnTo>
                  <a:lnTo>
                    <a:pt x="79" y="322"/>
                  </a:lnTo>
                  <a:lnTo>
                    <a:pt x="76" y="322"/>
                  </a:lnTo>
                  <a:lnTo>
                    <a:pt x="76" y="322"/>
                  </a:lnTo>
                  <a:lnTo>
                    <a:pt x="72" y="325"/>
                  </a:lnTo>
                  <a:lnTo>
                    <a:pt x="70" y="328"/>
                  </a:lnTo>
                  <a:lnTo>
                    <a:pt x="67" y="338"/>
                  </a:lnTo>
                  <a:lnTo>
                    <a:pt x="67" y="339"/>
                  </a:lnTo>
                  <a:lnTo>
                    <a:pt x="67" y="339"/>
                  </a:lnTo>
                  <a:lnTo>
                    <a:pt x="67" y="342"/>
                  </a:lnTo>
                  <a:lnTo>
                    <a:pt x="69" y="345"/>
                  </a:lnTo>
                  <a:lnTo>
                    <a:pt x="69" y="345"/>
                  </a:lnTo>
                  <a:lnTo>
                    <a:pt x="69" y="348"/>
                  </a:lnTo>
                  <a:lnTo>
                    <a:pt x="69" y="348"/>
                  </a:lnTo>
                  <a:lnTo>
                    <a:pt x="66" y="349"/>
                  </a:lnTo>
                  <a:lnTo>
                    <a:pt x="63" y="349"/>
                  </a:lnTo>
                  <a:lnTo>
                    <a:pt x="63" y="349"/>
                  </a:lnTo>
                  <a:lnTo>
                    <a:pt x="59" y="349"/>
                  </a:lnTo>
                  <a:lnTo>
                    <a:pt x="56" y="350"/>
                  </a:lnTo>
                  <a:lnTo>
                    <a:pt x="56" y="350"/>
                  </a:lnTo>
                  <a:lnTo>
                    <a:pt x="53" y="353"/>
                  </a:lnTo>
                  <a:lnTo>
                    <a:pt x="53" y="353"/>
                  </a:lnTo>
                  <a:lnTo>
                    <a:pt x="53" y="356"/>
                  </a:lnTo>
                  <a:lnTo>
                    <a:pt x="54" y="360"/>
                  </a:lnTo>
                  <a:lnTo>
                    <a:pt x="54" y="360"/>
                  </a:lnTo>
                  <a:lnTo>
                    <a:pt x="56" y="363"/>
                  </a:lnTo>
                  <a:lnTo>
                    <a:pt x="56" y="363"/>
                  </a:lnTo>
                  <a:lnTo>
                    <a:pt x="54" y="369"/>
                  </a:lnTo>
                  <a:lnTo>
                    <a:pt x="54" y="369"/>
                  </a:lnTo>
                  <a:lnTo>
                    <a:pt x="54" y="373"/>
                  </a:lnTo>
                  <a:lnTo>
                    <a:pt x="54" y="373"/>
                  </a:lnTo>
                  <a:lnTo>
                    <a:pt x="54" y="375"/>
                  </a:lnTo>
                  <a:lnTo>
                    <a:pt x="56" y="376"/>
                  </a:lnTo>
                  <a:lnTo>
                    <a:pt x="56" y="376"/>
                  </a:lnTo>
                  <a:lnTo>
                    <a:pt x="60" y="379"/>
                  </a:lnTo>
                  <a:lnTo>
                    <a:pt x="66" y="379"/>
                  </a:lnTo>
                  <a:lnTo>
                    <a:pt x="66" y="379"/>
                  </a:lnTo>
                  <a:lnTo>
                    <a:pt x="74" y="378"/>
                  </a:lnTo>
                  <a:lnTo>
                    <a:pt x="74" y="378"/>
                  </a:lnTo>
                  <a:lnTo>
                    <a:pt x="89" y="370"/>
                  </a:lnTo>
                  <a:lnTo>
                    <a:pt x="89" y="370"/>
                  </a:lnTo>
                  <a:lnTo>
                    <a:pt x="99" y="366"/>
                  </a:lnTo>
                  <a:lnTo>
                    <a:pt x="99" y="366"/>
                  </a:lnTo>
                  <a:lnTo>
                    <a:pt x="107" y="362"/>
                  </a:lnTo>
                  <a:lnTo>
                    <a:pt x="107" y="362"/>
                  </a:lnTo>
                  <a:lnTo>
                    <a:pt x="103" y="366"/>
                  </a:lnTo>
                  <a:lnTo>
                    <a:pt x="103" y="366"/>
                  </a:lnTo>
                  <a:lnTo>
                    <a:pt x="100" y="370"/>
                  </a:lnTo>
                  <a:lnTo>
                    <a:pt x="97" y="373"/>
                  </a:lnTo>
                  <a:lnTo>
                    <a:pt x="97" y="373"/>
                  </a:lnTo>
                  <a:lnTo>
                    <a:pt x="94" y="379"/>
                  </a:lnTo>
                  <a:lnTo>
                    <a:pt x="94" y="379"/>
                  </a:lnTo>
                  <a:lnTo>
                    <a:pt x="87" y="383"/>
                  </a:lnTo>
                  <a:lnTo>
                    <a:pt x="87" y="383"/>
                  </a:lnTo>
                  <a:lnTo>
                    <a:pt x="84" y="386"/>
                  </a:lnTo>
                  <a:lnTo>
                    <a:pt x="79" y="390"/>
                  </a:lnTo>
                  <a:lnTo>
                    <a:pt x="79" y="390"/>
                  </a:lnTo>
                  <a:lnTo>
                    <a:pt x="73" y="396"/>
                  </a:lnTo>
                  <a:lnTo>
                    <a:pt x="67" y="399"/>
                  </a:lnTo>
                  <a:lnTo>
                    <a:pt x="67" y="399"/>
                  </a:lnTo>
                  <a:lnTo>
                    <a:pt x="63" y="402"/>
                  </a:lnTo>
                  <a:lnTo>
                    <a:pt x="62" y="403"/>
                  </a:lnTo>
                  <a:lnTo>
                    <a:pt x="62" y="405"/>
                  </a:lnTo>
                  <a:lnTo>
                    <a:pt x="59" y="406"/>
                  </a:lnTo>
                  <a:lnTo>
                    <a:pt x="62" y="406"/>
                  </a:lnTo>
                  <a:lnTo>
                    <a:pt x="62" y="406"/>
                  </a:lnTo>
                  <a:lnTo>
                    <a:pt x="63" y="406"/>
                  </a:lnTo>
                  <a:lnTo>
                    <a:pt x="64" y="407"/>
                  </a:lnTo>
                  <a:lnTo>
                    <a:pt x="64" y="407"/>
                  </a:lnTo>
                  <a:lnTo>
                    <a:pt x="70" y="406"/>
                  </a:lnTo>
                  <a:lnTo>
                    <a:pt x="70" y="406"/>
                  </a:lnTo>
                  <a:lnTo>
                    <a:pt x="73" y="406"/>
                  </a:lnTo>
                  <a:lnTo>
                    <a:pt x="73" y="406"/>
                  </a:lnTo>
                  <a:lnTo>
                    <a:pt x="74" y="407"/>
                  </a:lnTo>
                  <a:lnTo>
                    <a:pt x="76" y="410"/>
                  </a:lnTo>
                  <a:lnTo>
                    <a:pt x="76" y="410"/>
                  </a:lnTo>
                  <a:lnTo>
                    <a:pt x="80" y="410"/>
                  </a:lnTo>
                  <a:lnTo>
                    <a:pt x="83" y="410"/>
                  </a:lnTo>
                  <a:lnTo>
                    <a:pt x="84" y="409"/>
                  </a:lnTo>
                  <a:lnTo>
                    <a:pt x="84" y="409"/>
                  </a:lnTo>
                  <a:lnTo>
                    <a:pt x="92" y="403"/>
                  </a:lnTo>
                  <a:lnTo>
                    <a:pt x="92" y="403"/>
                  </a:lnTo>
                  <a:lnTo>
                    <a:pt x="96" y="400"/>
                  </a:lnTo>
                  <a:lnTo>
                    <a:pt x="96" y="400"/>
                  </a:lnTo>
                  <a:lnTo>
                    <a:pt x="102" y="399"/>
                  </a:lnTo>
                  <a:lnTo>
                    <a:pt x="102" y="399"/>
                  </a:lnTo>
                  <a:lnTo>
                    <a:pt x="102" y="399"/>
                  </a:lnTo>
                  <a:lnTo>
                    <a:pt x="102" y="399"/>
                  </a:lnTo>
                  <a:lnTo>
                    <a:pt x="102" y="399"/>
                  </a:lnTo>
                  <a:lnTo>
                    <a:pt x="102" y="399"/>
                  </a:lnTo>
                  <a:lnTo>
                    <a:pt x="103" y="402"/>
                  </a:lnTo>
                  <a:lnTo>
                    <a:pt x="103" y="402"/>
                  </a:lnTo>
                  <a:lnTo>
                    <a:pt x="104" y="403"/>
                  </a:lnTo>
                  <a:lnTo>
                    <a:pt x="107" y="403"/>
                  </a:lnTo>
                  <a:lnTo>
                    <a:pt x="107" y="403"/>
                  </a:lnTo>
                  <a:lnTo>
                    <a:pt x="110" y="403"/>
                  </a:lnTo>
                  <a:lnTo>
                    <a:pt x="110" y="403"/>
                  </a:lnTo>
                  <a:lnTo>
                    <a:pt x="113" y="403"/>
                  </a:lnTo>
                  <a:lnTo>
                    <a:pt x="113" y="403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13"/>
                  </a:lnTo>
                  <a:lnTo>
                    <a:pt x="113" y="413"/>
                  </a:lnTo>
                  <a:lnTo>
                    <a:pt x="113" y="416"/>
                  </a:lnTo>
                  <a:lnTo>
                    <a:pt x="114" y="417"/>
                  </a:lnTo>
                  <a:lnTo>
                    <a:pt x="114" y="417"/>
                  </a:lnTo>
                  <a:lnTo>
                    <a:pt x="117" y="417"/>
                  </a:lnTo>
                  <a:lnTo>
                    <a:pt x="120" y="415"/>
                  </a:lnTo>
                  <a:lnTo>
                    <a:pt x="120" y="415"/>
                  </a:lnTo>
                  <a:lnTo>
                    <a:pt x="122" y="412"/>
                  </a:lnTo>
                  <a:lnTo>
                    <a:pt x="122" y="412"/>
                  </a:lnTo>
                  <a:lnTo>
                    <a:pt x="124" y="410"/>
                  </a:lnTo>
                  <a:lnTo>
                    <a:pt x="124" y="410"/>
                  </a:lnTo>
                  <a:lnTo>
                    <a:pt x="129" y="406"/>
                  </a:lnTo>
                  <a:lnTo>
                    <a:pt x="134" y="403"/>
                  </a:lnTo>
                  <a:lnTo>
                    <a:pt x="134" y="403"/>
                  </a:lnTo>
                  <a:lnTo>
                    <a:pt x="142" y="402"/>
                  </a:lnTo>
                  <a:lnTo>
                    <a:pt x="146" y="399"/>
                  </a:lnTo>
                  <a:lnTo>
                    <a:pt x="146" y="399"/>
                  </a:lnTo>
                  <a:lnTo>
                    <a:pt x="154" y="403"/>
                  </a:lnTo>
                  <a:lnTo>
                    <a:pt x="154" y="403"/>
                  </a:lnTo>
                  <a:lnTo>
                    <a:pt x="157" y="405"/>
                  </a:lnTo>
                  <a:lnTo>
                    <a:pt x="157" y="405"/>
                  </a:lnTo>
                  <a:lnTo>
                    <a:pt x="156" y="406"/>
                  </a:lnTo>
                  <a:lnTo>
                    <a:pt x="156" y="406"/>
                  </a:lnTo>
                  <a:lnTo>
                    <a:pt x="153" y="406"/>
                  </a:lnTo>
                  <a:lnTo>
                    <a:pt x="152" y="406"/>
                  </a:lnTo>
                  <a:lnTo>
                    <a:pt x="152" y="406"/>
                  </a:lnTo>
                  <a:lnTo>
                    <a:pt x="150" y="406"/>
                  </a:lnTo>
                  <a:lnTo>
                    <a:pt x="150" y="406"/>
                  </a:lnTo>
                  <a:lnTo>
                    <a:pt x="147" y="407"/>
                  </a:lnTo>
                  <a:lnTo>
                    <a:pt x="144" y="409"/>
                  </a:lnTo>
                  <a:lnTo>
                    <a:pt x="142" y="415"/>
                  </a:lnTo>
                  <a:lnTo>
                    <a:pt x="142" y="415"/>
                  </a:lnTo>
                  <a:lnTo>
                    <a:pt x="140" y="416"/>
                  </a:lnTo>
                  <a:lnTo>
                    <a:pt x="140" y="416"/>
                  </a:lnTo>
                  <a:lnTo>
                    <a:pt x="139" y="416"/>
                  </a:lnTo>
                  <a:lnTo>
                    <a:pt x="137" y="417"/>
                  </a:lnTo>
                  <a:lnTo>
                    <a:pt x="137" y="417"/>
                  </a:lnTo>
                  <a:lnTo>
                    <a:pt x="130" y="420"/>
                  </a:lnTo>
                  <a:lnTo>
                    <a:pt x="130" y="420"/>
                  </a:lnTo>
                  <a:lnTo>
                    <a:pt x="120" y="426"/>
                  </a:lnTo>
                  <a:lnTo>
                    <a:pt x="120" y="426"/>
                  </a:lnTo>
                  <a:lnTo>
                    <a:pt x="119" y="429"/>
                  </a:lnTo>
                  <a:lnTo>
                    <a:pt x="119" y="429"/>
                  </a:lnTo>
                  <a:lnTo>
                    <a:pt x="117" y="432"/>
                  </a:lnTo>
                  <a:lnTo>
                    <a:pt x="113" y="435"/>
                  </a:lnTo>
                  <a:lnTo>
                    <a:pt x="113" y="435"/>
                  </a:lnTo>
                  <a:lnTo>
                    <a:pt x="110" y="436"/>
                  </a:lnTo>
                  <a:lnTo>
                    <a:pt x="110" y="436"/>
                  </a:lnTo>
                  <a:lnTo>
                    <a:pt x="109" y="436"/>
                  </a:lnTo>
                  <a:lnTo>
                    <a:pt x="106" y="437"/>
                  </a:lnTo>
                  <a:lnTo>
                    <a:pt x="106" y="437"/>
                  </a:lnTo>
                  <a:lnTo>
                    <a:pt x="100" y="439"/>
                  </a:lnTo>
                  <a:lnTo>
                    <a:pt x="100" y="439"/>
                  </a:lnTo>
                  <a:lnTo>
                    <a:pt x="92" y="442"/>
                  </a:lnTo>
                  <a:lnTo>
                    <a:pt x="82" y="447"/>
                  </a:lnTo>
                  <a:lnTo>
                    <a:pt x="82" y="447"/>
                  </a:lnTo>
                  <a:lnTo>
                    <a:pt x="70" y="453"/>
                  </a:lnTo>
                  <a:lnTo>
                    <a:pt x="70" y="453"/>
                  </a:lnTo>
                  <a:lnTo>
                    <a:pt x="66" y="455"/>
                  </a:lnTo>
                  <a:lnTo>
                    <a:pt x="66" y="455"/>
                  </a:lnTo>
                  <a:lnTo>
                    <a:pt x="64" y="456"/>
                  </a:lnTo>
                  <a:lnTo>
                    <a:pt x="62" y="456"/>
                  </a:lnTo>
                  <a:lnTo>
                    <a:pt x="62" y="456"/>
                  </a:lnTo>
                  <a:lnTo>
                    <a:pt x="59" y="456"/>
                  </a:lnTo>
                  <a:lnTo>
                    <a:pt x="56" y="457"/>
                  </a:lnTo>
                  <a:lnTo>
                    <a:pt x="56" y="457"/>
                  </a:lnTo>
                  <a:lnTo>
                    <a:pt x="43" y="462"/>
                  </a:lnTo>
                  <a:lnTo>
                    <a:pt x="43" y="462"/>
                  </a:lnTo>
                  <a:lnTo>
                    <a:pt x="32" y="465"/>
                  </a:lnTo>
                  <a:lnTo>
                    <a:pt x="23" y="467"/>
                  </a:lnTo>
                  <a:lnTo>
                    <a:pt x="23" y="467"/>
                  </a:lnTo>
                  <a:lnTo>
                    <a:pt x="14" y="472"/>
                  </a:lnTo>
                  <a:lnTo>
                    <a:pt x="14" y="472"/>
                  </a:lnTo>
                  <a:lnTo>
                    <a:pt x="7" y="475"/>
                  </a:lnTo>
                  <a:lnTo>
                    <a:pt x="4" y="476"/>
                  </a:lnTo>
                  <a:lnTo>
                    <a:pt x="2" y="479"/>
                  </a:lnTo>
                  <a:lnTo>
                    <a:pt x="2" y="479"/>
                  </a:lnTo>
                  <a:lnTo>
                    <a:pt x="0" y="482"/>
                  </a:lnTo>
                  <a:lnTo>
                    <a:pt x="0" y="483"/>
                  </a:lnTo>
                  <a:lnTo>
                    <a:pt x="0" y="483"/>
                  </a:lnTo>
                  <a:lnTo>
                    <a:pt x="2" y="485"/>
                  </a:lnTo>
                  <a:lnTo>
                    <a:pt x="4" y="486"/>
                  </a:lnTo>
                  <a:lnTo>
                    <a:pt x="12" y="487"/>
                  </a:lnTo>
                  <a:lnTo>
                    <a:pt x="12" y="487"/>
                  </a:lnTo>
                  <a:lnTo>
                    <a:pt x="23" y="486"/>
                  </a:lnTo>
                  <a:lnTo>
                    <a:pt x="36" y="483"/>
                  </a:lnTo>
                  <a:lnTo>
                    <a:pt x="36" y="483"/>
                  </a:lnTo>
                  <a:lnTo>
                    <a:pt x="50" y="479"/>
                  </a:lnTo>
                  <a:lnTo>
                    <a:pt x="57" y="475"/>
                  </a:lnTo>
                  <a:lnTo>
                    <a:pt x="57" y="475"/>
                  </a:lnTo>
                  <a:lnTo>
                    <a:pt x="63" y="472"/>
                  </a:lnTo>
                  <a:lnTo>
                    <a:pt x="63" y="472"/>
                  </a:lnTo>
                  <a:lnTo>
                    <a:pt x="69" y="469"/>
                  </a:lnTo>
                  <a:lnTo>
                    <a:pt x="76" y="466"/>
                  </a:lnTo>
                  <a:lnTo>
                    <a:pt x="76" y="466"/>
                  </a:lnTo>
                  <a:lnTo>
                    <a:pt x="86" y="463"/>
                  </a:lnTo>
                  <a:lnTo>
                    <a:pt x="92" y="462"/>
                  </a:lnTo>
                  <a:lnTo>
                    <a:pt x="96" y="459"/>
                  </a:lnTo>
                  <a:lnTo>
                    <a:pt x="96" y="459"/>
                  </a:lnTo>
                  <a:lnTo>
                    <a:pt x="99" y="457"/>
                  </a:lnTo>
                  <a:lnTo>
                    <a:pt x="103" y="456"/>
                  </a:lnTo>
                  <a:lnTo>
                    <a:pt x="114" y="455"/>
                  </a:lnTo>
                  <a:lnTo>
                    <a:pt x="114" y="455"/>
                  </a:lnTo>
                  <a:lnTo>
                    <a:pt x="124" y="455"/>
                  </a:lnTo>
                  <a:lnTo>
                    <a:pt x="129" y="453"/>
                  </a:lnTo>
                  <a:lnTo>
                    <a:pt x="132" y="450"/>
                  </a:lnTo>
                  <a:lnTo>
                    <a:pt x="132" y="450"/>
                  </a:lnTo>
                  <a:lnTo>
                    <a:pt x="140" y="446"/>
                  </a:lnTo>
                  <a:lnTo>
                    <a:pt x="140" y="446"/>
                  </a:lnTo>
                  <a:lnTo>
                    <a:pt x="146" y="442"/>
                  </a:lnTo>
                  <a:lnTo>
                    <a:pt x="149" y="439"/>
                  </a:lnTo>
                  <a:lnTo>
                    <a:pt x="149" y="439"/>
                  </a:lnTo>
                  <a:lnTo>
                    <a:pt x="156" y="437"/>
                  </a:lnTo>
                  <a:lnTo>
                    <a:pt x="156" y="437"/>
                  </a:lnTo>
                  <a:lnTo>
                    <a:pt x="163" y="436"/>
                  </a:lnTo>
                  <a:lnTo>
                    <a:pt x="163" y="436"/>
                  </a:lnTo>
                  <a:lnTo>
                    <a:pt x="167" y="435"/>
                  </a:lnTo>
                  <a:lnTo>
                    <a:pt x="167" y="435"/>
                  </a:lnTo>
                  <a:lnTo>
                    <a:pt x="172" y="432"/>
                  </a:lnTo>
                  <a:lnTo>
                    <a:pt x="179" y="430"/>
                  </a:lnTo>
                  <a:lnTo>
                    <a:pt x="179" y="430"/>
                  </a:lnTo>
                  <a:lnTo>
                    <a:pt x="183" y="430"/>
                  </a:lnTo>
                  <a:lnTo>
                    <a:pt x="183" y="430"/>
                  </a:lnTo>
                  <a:lnTo>
                    <a:pt x="192" y="429"/>
                  </a:lnTo>
                  <a:lnTo>
                    <a:pt x="196" y="426"/>
                  </a:lnTo>
                  <a:lnTo>
                    <a:pt x="202" y="423"/>
                  </a:lnTo>
                  <a:lnTo>
                    <a:pt x="202" y="423"/>
                  </a:lnTo>
                  <a:lnTo>
                    <a:pt x="213" y="417"/>
                  </a:lnTo>
                  <a:lnTo>
                    <a:pt x="229" y="412"/>
                  </a:lnTo>
                  <a:lnTo>
                    <a:pt x="229" y="412"/>
                  </a:lnTo>
                  <a:lnTo>
                    <a:pt x="240" y="407"/>
                  </a:lnTo>
                  <a:lnTo>
                    <a:pt x="246" y="403"/>
                  </a:lnTo>
                  <a:lnTo>
                    <a:pt x="246" y="403"/>
                  </a:lnTo>
                  <a:lnTo>
                    <a:pt x="247" y="402"/>
                  </a:lnTo>
                  <a:lnTo>
                    <a:pt x="249" y="400"/>
                  </a:lnTo>
                  <a:lnTo>
                    <a:pt x="249" y="399"/>
                  </a:lnTo>
                  <a:lnTo>
                    <a:pt x="249" y="399"/>
                  </a:lnTo>
                  <a:lnTo>
                    <a:pt x="247" y="398"/>
                  </a:lnTo>
                  <a:lnTo>
                    <a:pt x="246" y="396"/>
                  </a:lnTo>
                  <a:lnTo>
                    <a:pt x="240" y="395"/>
                  </a:lnTo>
                  <a:lnTo>
                    <a:pt x="240" y="395"/>
                  </a:lnTo>
                  <a:lnTo>
                    <a:pt x="242" y="395"/>
                  </a:lnTo>
                  <a:lnTo>
                    <a:pt x="242" y="395"/>
                  </a:lnTo>
                  <a:lnTo>
                    <a:pt x="246" y="390"/>
                  </a:lnTo>
                  <a:lnTo>
                    <a:pt x="246" y="390"/>
                  </a:lnTo>
                  <a:lnTo>
                    <a:pt x="249" y="389"/>
                  </a:lnTo>
                  <a:lnTo>
                    <a:pt x="253" y="388"/>
                  </a:lnTo>
                  <a:lnTo>
                    <a:pt x="253" y="388"/>
                  </a:lnTo>
                  <a:lnTo>
                    <a:pt x="260" y="386"/>
                  </a:lnTo>
                  <a:lnTo>
                    <a:pt x="263" y="385"/>
                  </a:lnTo>
                  <a:lnTo>
                    <a:pt x="266" y="383"/>
                  </a:lnTo>
                  <a:lnTo>
                    <a:pt x="266" y="383"/>
                  </a:lnTo>
                  <a:lnTo>
                    <a:pt x="269" y="382"/>
                  </a:lnTo>
                  <a:lnTo>
                    <a:pt x="274" y="380"/>
                  </a:lnTo>
                  <a:lnTo>
                    <a:pt x="274" y="380"/>
                  </a:lnTo>
                  <a:lnTo>
                    <a:pt x="277" y="380"/>
                  </a:lnTo>
                  <a:lnTo>
                    <a:pt x="277" y="380"/>
                  </a:lnTo>
                  <a:lnTo>
                    <a:pt x="279" y="380"/>
                  </a:lnTo>
                  <a:lnTo>
                    <a:pt x="279" y="380"/>
                  </a:lnTo>
                  <a:lnTo>
                    <a:pt x="284" y="380"/>
                  </a:lnTo>
                  <a:lnTo>
                    <a:pt x="290" y="376"/>
                  </a:lnTo>
                  <a:lnTo>
                    <a:pt x="296" y="372"/>
                  </a:lnTo>
                  <a:lnTo>
                    <a:pt x="299" y="368"/>
                  </a:lnTo>
                  <a:lnTo>
                    <a:pt x="299" y="368"/>
                  </a:lnTo>
                  <a:lnTo>
                    <a:pt x="300" y="366"/>
                  </a:lnTo>
                  <a:lnTo>
                    <a:pt x="303" y="365"/>
                  </a:lnTo>
                  <a:lnTo>
                    <a:pt x="312" y="363"/>
                  </a:lnTo>
                  <a:lnTo>
                    <a:pt x="312" y="363"/>
                  </a:lnTo>
                  <a:lnTo>
                    <a:pt x="319" y="360"/>
                  </a:lnTo>
                  <a:lnTo>
                    <a:pt x="319" y="360"/>
                  </a:lnTo>
                  <a:lnTo>
                    <a:pt x="326" y="359"/>
                  </a:lnTo>
                  <a:lnTo>
                    <a:pt x="334" y="355"/>
                  </a:lnTo>
                  <a:lnTo>
                    <a:pt x="334" y="355"/>
                  </a:lnTo>
                  <a:lnTo>
                    <a:pt x="344" y="349"/>
                  </a:lnTo>
                  <a:lnTo>
                    <a:pt x="353" y="346"/>
                  </a:lnTo>
                  <a:lnTo>
                    <a:pt x="353" y="346"/>
                  </a:lnTo>
                  <a:lnTo>
                    <a:pt x="357" y="345"/>
                  </a:lnTo>
                  <a:lnTo>
                    <a:pt x="357" y="345"/>
                  </a:lnTo>
                  <a:lnTo>
                    <a:pt x="356" y="346"/>
                  </a:lnTo>
                  <a:lnTo>
                    <a:pt x="356" y="346"/>
                  </a:lnTo>
                  <a:lnTo>
                    <a:pt x="356" y="346"/>
                  </a:lnTo>
                  <a:lnTo>
                    <a:pt x="352" y="348"/>
                  </a:lnTo>
                  <a:lnTo>
                    <a:pt x="352" y="348"/>
                  </a:lnTo>
                  <a:lnTo>
                    <a:pt x="344" y="350"/>
                  </a:lnTo>
                  <a:lnTo>
                    <a:pt x="340" y="355"/>
                  </a:lnTo>
                  <a:lnTo>
                    <a:pt x="340" y="355"/>
                  </a:lnTo>
                  <a:lnTo>
                    <a:pt x="337" y="356"/>
                  </a:lnTo>
                  <a:lnTo>
                    <a:pt x="332" y="359"/>
                  </a:lnTo>
                  <a:lnTo>
                    <a:pt x="332" y="359"/>
                  </a:lnTo>
                  <a:lnTo>
                    <a:pt x="323" y="366"/>
                  </a:lnTo>
                  <a:lnTo>
                    <a:pt x="323" y="366"/>
                  </a:lnTo>
                  <a:lnTo>
                    <a:pt x="319" y="368"/>
                  </a:lnTo>
                  <a:lnTo>
                    <a:pt x="314" y="369"/>
                  </a:lnTo>
                  <a:lnTo>
                    <a:pt x="314" y="369"/>
                  </a:lnTo>
                  <a:lnTo>
                    <a:pt x="307" y="373"/>
                  </a:lnTo>
                  <a:lnTo>
                    <a:pt x="307" y="373"/>
                  </a:lnTo>
                  <a:lnTo>
                    <a:pt x="304" y="376"/>
                  </a:lnTo>
                  <a:lnTo>
                    <a:pt x="304" y="379"/>
                  </a:lnTo>
                  <a:lnTo>
                    <a:pt x="304" y="379"/>
                  </a:lnTo>
                  <a:lnTo>
                    <a:pt x="304" y="379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4" y="380"/>
                  </a:lnTo>
                  <a:lnTo>
                    <a:pt x="297" y="383"/>
                  </a:lnTo>
                  <a:lnTo>
                    <a:pt x="297" y="383"/>
                  </a:lnTo>
                  <a:lnTo>
                    <a:pt x="292" y="386"/>
                  </a:lnTo>
                  <a:lnTo>
                    <a:pt x="290" y="388"/>
                  </a:lnTo>
                  <a:lnTo>
                    <a:pt x="290" y="389"/>
                  </a:lnTo>
                  <a:lnTo>
                    <a:pt x="290" y="389"/>
                  </a:lnTo>
                  <a:lnTo>
                    <a:pt x="290" y="389"/>
                  </a:lnTo>
                  <a:lnTo>
                    <a:pt x="289" y="389"/>
                  </a:lnTo>
                  <a:lnTo>
                    <a:pt x="290" y="389"/>
                  </a:lnTo>
                  <a:lnTo>
                    <a:pt x="290" y="389"/>
                  </a:lnTo>
                  <a:lnTo>
                    <a:pt x="292" y="390"/>
                  </a:lnTo>
                  <a:lnTo>
                    <a:pt x="292" y="390"/>
                  </a:lnTo>
                  <a:lnTo>
                    <a:pt x="302" y="390"/>
                  </a:lnTo>
                  <a:lnTo>
                    <a:pt x="309" y="390"/>
                  </a:lnTo>
                  <a:lnTo>
                    <a:pt x="314" y="389"/>
                  </a:lnTo>
                  <a:lnTo>
                    <a:pt x="314" y="389"/>
                  </a:lnTo>
                  <a:lnTo>
                    <a:pt x="322" y="386"/>
                  </a:lnTo>
                  <a:lnTo>
                    <a:pt x="322" y="386"/>
                  </a:lnTo>
                  <a:lnTo>
                    <a:pt x="330" y="383"/>
                  </a:lnTo>
                  <a:lnTo>
                    <a:pt x="340" y="379"/>
                  </a:lnTo>
                  <a:lnTo>
                    <a:pt x="340" y="379"/>
                  </a:lnTo>
                  <a:lnTo>
                    <a:pt x="347" y="376"/>
                  </a:lnTo>
                  <a:lnTo>
                    <a:pt x="353" y="375"/>
                  </a:lnTo>
                  <a:lnTo>
                    <a:pt x="353" y="375"/>
                  </a:lnTo>
                  <a:lnTo>
                    <a:pt x="366" y="372"/>
                  </a:lnTo>
                  <a:lnTo>
                    <a:pt x="366" y="372"/>
                  </a:lnTo>
                  <a:lnTo>
                    <a:pt x="370" y="370"/>
                  </a:lnTo>
                  <a:lnTo>
                    <a:pt x="374" y="370"/>
                  </a:lnTo>
                  <a:lnTo>
                    <a:pt x="374" y="370"/>
                  </a:lnTo>
                  <a:lnTo>
                    <a:pt x="379" y="370"/>
                  </a:lnTo>
                  <a:lnTo>
                    <a:pt x="379" y="370"/>
                  </a:lnTo>
                  <a:lnTo>
                    <a:pt x="383" y="370"/>
                  </a:lnTo>
                  <a:lnTo>
                    <a:pt x="383" y="370"/>
                  </a:lnTo>
                  <a:lnTo>
                    <a:pt x="389" y="369"/>
                  </a:lnTo>
                  <a:lnTo>
                    <a:pt x="396" y="368"/>
                  </a:lnTo>
                  <a:lnTo>
                    <a:pt x="396" y="368"/>
                  </a:lnTo>
                  <a:lnTo>
                    <a:pt x="402" y="363"/>
                  </a:lnTo>
                  <a:lnTo>
                    <a:pt x="404" y="360"/>
                  </a:lnTo>
                  <a:lnTo>
                    <a:pt x="404" y="356"/>
                  </a:lnTo>
                  <a:lnTo>
                    <a:pt x="403" y="353"/>
                  </a:lnTo>
                  <a:lnTo>
                    <a:pt x="403" y="353"/>
                  </a:lnTo>
                  <a:lnTo>
                    <a:pt x="403" y="353"/>
                  </a:lnTo>
                  <a:lnTo>
                    <a:pt x="403" y="353"/>
                  </a:lnTo>
                  <a:lnTo>
                    <a:pt x="410" y="349"/>
                  </a:lnTo>
                  <a:lnTo>
                    <a:pt x="410" y="349"/>
                  </a:lnTo>
                  <a:lnTo>
                    <a:pt x="417" y="343"/>
                  </a:lnTo>
                  <a:lnTo>
                    <a:pt x="417" y="343"/>
                  </a:lnTo>
                  <a:lnTo>
                    <a:pt x="423" y="342"/>
                  </a:lnTo>
                  <a:lnTo>
                    <a:pt x="429" y="340"/>
                  </a:lnTo>
                  <a:lnTo>
                    <a:pt x="429" y="340"/>
                  </a:lnTo>
                  <a:lnTo>
                    <a:pt x="434" y="339"/>
                  </a:lnTo>
                  <a:lnTo>
                    <a:pt x="434" y="339"/>
                  </a:lnTo>
                  <a:lnTo>
                    <a:pt x="436" y="339"/>
                  </a:lnTo>
                  <a:lnTo>
                    <a:pt x="436" y="339"/>
                  </a:lnTo>
                  <a:lnTo>
                    <a:pt x="439" y="340"/>
                  </a:lnTo>
                  <a:lnTo>
                    <a:pt x="441" y="343"/>
                  </a:lnTo>
                  <a:lnTo>
                    <a:pt x="441" y="343"/>
                  </a:lnTo>
                  <a:lnTo>
                    <a:pt x="443" y="345"/>
                  </a:lnTo>
                  <a:lnTo>
                    <a:pt x="444" y="346"/>
                  </a:lnTo>
                  <a:lnTo>
                    <a:pt x="447" y="346"/>
                  </a:lnTo>
                  <a:lnTo>
                    <a:pt x="447" y="346"/>
                  </a:lnTo>
                  <a:lnTo>
                    <a:pt x="451" y="346"/>
                  </a:lnTo>
                  <a:lnTo>
                    <a:pt x="451" y="346"/>
                  </a:lnTo>
                  <a:lnTo>
                    <a:pt x="454" y="346"/>
                  </a:lnTo>
                  <a:lnTo>
                    <a:pt x="454" y="346"/>
                  </a:lnTo>
                  <a:lnTo>
                    <a:pt x="454" y="346"/>
                  </a:lnTo>
                  <a:lnTo>
                    <a:pt x="454" y="346"/>
                  </a:lnTo>
                  <a:lnTo>
                    <a:pt x="454" y="349"/>
                  </a:lnTo>
                  <a:lnTo>
                    <a:pt x="454" y="349"/>
                  </a:lnTo>
                  <a:lnTo>
                    <a:pt x="454" y="353"/>
                  </a:lnTo>
                  <a:lnTo>
                    <a:pt x="454" y="358"/>
                  </a:lnTo>
                  <a:lnTo>
                    <a:pt x="454" y="358"/>
                  </a:lnTo>
                  <a:lnTo>
                    <a:pt x="456" y="359"/>
                  </a:lnTo>
                  <a:lnTo>
                    <a:pt x="457" y="360"/>
                  </a:lnTo>
                  <a:lnTo>
                    <a:pt x="457" y="360"/>
                  </a:lnTo>
                  <a:lnTo>
                    <a:pt x="463" y="362"/>
                  </a:lnTo>
                  <a:lnTo>
                    <a:pt x="469" y="359"/>
                  </a:lnTo>
                  <a:lnTo>
                    <a:pt x="469" y="359"/>
                  </a:lnTo>
                  <a:lnTo>
                    <a:pt x="466" y="365"/>
                  </a:lnTo>
                  <a:lnTo>
                    <a:pt x="466" y="365"/>
                  </a:lnTo>
                  <a:lnTo>
                    <a:pt x="466" y="368"/>
                  </a:lnTo>
                  <a:lnTo>
                    <a:pt x="467" y="369"/>
                  </a:lnTo>
                  <a:lnTo>
                    <a:pt x="467" y="369"/>
                  </a:lnTo>
                  <a:lnTo>
                    <a:pt x="470" y="372"/>
                  </a:lnTo>
                  <a:lnTo>
                    <a:pt x="476" y="372"/>
                  </a:lnTo>
                  <a:lnTo>
                    <a:pt x="476" y="372"/>
                  </a:lnTo>
                  <a:lnTo>
                    <a:pt x="486" y="370"/>
                  </a:lnTo>
                  <a:lnTo>
                    <a:pt x="500" y="369"/>
                  </a:lnTo>
                  <a:lnTo>
                    <a:pt x="500" y="369"/>
                  </a:lnTo>
                  <a:lnTo>
                    <a:pt x="500" y="369"/>
                  </a:lnTo>
                  <a:lnTo>
                    <a:pt x="507" y="368"/>
                  </a:lnTo>
                  <a:lnTo>
                    <a:pt x="507" y="368"/>
                  </a:lnTo>
                  <a:lnTo>
                    <a:pt x="511" y="369"/>
                  </a:lnTo>
                  <a:lnTo>
                    <a:pt x="514" y="369"/>
                  </a:lnTo>
                  <a:lnTo>
                    <a:pt x="514" y="369"/>
                  </a:lnTo>
                  <a:lnTo>
                    <a:pt x="519" y="370"/>
                  </a:lnTo>
                  <a:lnTo>
                    <a:pt x="523" y="372"/>
                  </a:lnTo>
                  <a:lnTo>
                    <a:pt x="523" y="372"/>
                  </a:lnTo>
                  <a:lnTo>
                    <a:pt x="526" y="372"/>
                  </a:lnTo>
                  <a:lnTo>
                    <a:pt x="527" y="373"/>
                  </a:lnTo>
                  <a:lnTo>
                    <a:pt x="527" y="373"/>
                  </a:lnTo>
                  <a:lnTo>
                    <a:pt x="529" y="375"/>
                  </a:lnTo>
                  <a:lnTo>
                    <a:pt x="530" y="378"/>
                  </a:lnTo>
                  <a:lnTo>
                    <a:pt x="530" y="378"/>
                  </a:lnTo>
                  <a:lnTo>
                    <a:pt x="534" y="380"/>
                  </a:lnTo>
                  <a:lnTo>
                    <a:pt x="539" y="382"/>
                  </a:lnTo>
                  <a:lnTo>
                    <a:pt x="539" y="382"/>
                  </a:lnTo>
                  <a:lnTo>
                    <a:pt x="543" y="382"/>
                  </a:lnTo>
                  <a:lnTo>
                    <a:pt x="543" y="382"/>
                  </a:lnTo>
                  <a:lnTo>
                    <a:pt x="550" y="380"/>
                  </a:lnTo>
                  <a:lnTo>
                    <a:pt x="550" y="380"/>
                  </a:lnTo>
                  <a:lnTo>
                    <a:pt x="553" y="380"/>
                  </a:lnTo>
                  <a:lnTo>
                    <a:pt x="553" y="380"/>
                  </a:lnTo>
                  <a:lnTo>
                    <a:pt x="551" y="383"/>
                  </a:lnTo>
                  <a:lnTo>
                    <a:pt x="551" y="383"/>
                  </a:lnTo>
                  <a:lnTo>
                    <a:pt x="551" y="385"/>
                  </a:lnTo>
                  <a:lnTo>
                    <a:pt x="553" y="388"/>
                  </a:lnTo>
                  <a:lnTo>
                    <a:pt x="557" y="390"/>
                  </a:lnTo>
                  <a:lnTo>
                    <a:pt x="557" y="390"/>
                  </a:lnTo>
                  <a:lnTo>
                    <a:pt x="561" y="395"/>
                  </a:lnTo>
                  <a:lnTo>
                    <a:pt x="563" y="399"/>
                  </a:lnTo>
                  <a:lnTo>
                    <a:pt x="563" y="399"/>
                  </a:lnTo>
                  <a:lnTo>
                    <a:pt x="564" y="406"/>
                  </a:lnTo>
                  <a:lnTo>
                    <a:pt x="567" y="410"/>
                  </a:lnTo>
                  <a:lnTo>
                    <a:pt x="571" y="415"/>
                  </a:lnTo>
                  <a:lnTo>
                    <a:pt x="579" y="417"/>
                  </a:lnTo>
                  <a:lnTo>
                    <a:pt x="579" y="417"/>
                  </a:lnTo>
                  <a:lnTo>
                    <a:pt x="581" y="417"/>
                  </a:lnTo>
                  <a:lnTo>
                    <a:pt x="581" y="417"/>
                  </a:lnTo>
                  <a:lnTo>
                    <a:pt x="586" y="417"/>
                  </a:lnTo>
                  <a:lnTo>
                    <a:pt x="590" y="416"/>
                  </a:lnTo>
                  <a:lnTo>
                    <a:pt x="593" y="415"/>
                  </a:lnTo>
                  <a:lnTo>
                    <a:pt x="596" y="412"/>
                  </a:lnTo>
                  <a:lnTo>
                    <a:pt x="596" y="412"/>
                  </a:lnTo>
                  <a:lnTo>
                    <a:pt x="596" y="407"/>
                  </a:lnTo>
                  <a:lnTo>
                    <a:pt x="594" y="405"/>
                  </a:lnTo>
                  <a:lnTo>
                    <a:pt x="591" y="402"/>
                  </a:lnTo>
                  <a:lnTo>
                    <a:pt x="591" y="402"/>
                  </a:lnTo>
                  <a:lnTo>
                    <a:pt x="589" y="400"/>
                  </a:lnTo>
                  <a:lnTo>
                    <a:pt x="589" y="400"/>
                  </a:lnTo>
                  <a:lnTo>
                    <a:pt x="586" y="399"/>
                  </a:lnTo>
                  <a:lnTo>
                    <a:pt x="586" y="398"/>
                  </a:lnTo>
                  <a:lnTo>
                    <a:pt x="586" y="398"/>
                  </a:lnTo>
                  <a:lnTo>
                    <a:pt x="587" y="396"/>
                  </a:lnTo>
                  <a:lnTo>
                    <a:pt x="590" y="395"/>
                  </a:lnTo>
                  <a:lnTo>
                    <a:pt x="590" y="395"/>
                  </a:lnTo>
                  <a:lnTo>
                    <a:pt x="590" y="395"/>
                  </a:lnTo>
                  <a:lnTo>
                    <a:pt x="590" y="396"/>
                  </a:lnTo>
                  <a:lnTo>
                    <a:pt x="590" y="396"/>
                  </a:lnTo>
                  <a:lnTo>
                    <a:pt x="593" y="398"/>
                  </a:lnTo>
                  <a:lnTo>
                    <a:pt x="596" y="398"/>
                  </a:lnTo>
                  <a:lnTo>
                    <a:pt x="596" y="398"/>
                  </a:lnTo>
                  <a:lnTo>
                    <a:pt x="599" y="398"/>
                  </a:lnTo>
                  <a:lnTo>
                    <a:pt x="599" y="398"/>
                  </a:lnTo>
                  <a:lnTo>
                    <a:pt x="600" y="400"/>
                  </a:lnTo>
                  <a:lnTo>
                    <a:pt x="600" y="400"/>
                  </a:lnTo>
                  <a:lnTo>
                    <a:pt x="603" y="402"/>
                  </a:lnTo>
                  <a:lnTo>
                    <a:pt x="604" y="403"/>
                  </a:lnTo>
                  <a:lnTo>
                    <a:pt x="604" y="403"/>
                  </a:lnTo>
                  <a:lnTo>
                    <a:pt x="604" y="405"/>
                  </a:lnTo>
                  <a:lnTo>
                    <a:pt x="604" y="405"/>
                  </a:lnTo>
                  <a:lnTo>
                    <a:pt x="603" y="409"/>
                  </a:lnTo>
                  <a:lnTo>
                    <a:pt x="603" y="413"/>
                  </a:lnTo>
                  <a:lnTo>
                    <a:pt x="603" y="413"/>
                  </a:lnTo>
                  <a:lnTo>
                    <a:pt x="606" y="415"/>
                  </a:lnTo>
                  <a:lnTo>
                    <a:pt x="607" y="416"/>
                  </a:lnTo>
                  <a:lnTo>
                    <a:pt x="610" y="416"/>
                  </a:lnTo>
                  <a:lnTo>
                    <a:pt x="610" y="416"/>
                  </a:lnTo>
                  <a:lnTo>
                    <a:pt x="613" y="416"/>
                  </a:lnTo>
                  <a:lnTo>
                    <a:pt x="613" y="416"/>
                  </a:lnTo>
                  <a:lnTo>
                    <a:pt x="617" y="413"/>
                  </a:lnTo>
                  <a:lnTo>
                    <a:pt x="619" y="410"/>
                  </a:lnTo>
                  <a:lnTo>
                    <a:pt x="619" y="409"/>
                  </a:lnTo>
                  <a:lnTo>
                    <a:pt x="619" y="409"/>
                  </a:lnTo>
                  <a:lnTo>
                    <a:pt x="621" y="405"/>
                  </a:lnTo>
                  <a:lnTo>
                    <a:pt x="624" y="399"/>
                  </a:lnTo>
                  <a:lnTo>
                    <a:pt x="629" y="393"/>
                  </a:lnTo>
                  <a:lnTo>
                    <a:pt x="634" y="390"/>
                  </a:lnTo>
                  <a:lnTo>
                    <a:pt x="634" y="390"/>
                  </a:lnTo>
                  <a:lnTo>
                    <a:pt x="633" y="395"/>
                  </a:lnTo>
                  <a:lnTo>
                    <a:pt x="630" y="399"/>
                  </a:lnTo>
                  <a:lnTo>
                    <a:pt x="630" y="399"/>
                  </a:lnTo>
                  <a:lnTo>
                    <a:pt x="627" y="403"/>
                  </a:lnTo>
                  <a:lnTo>
                    <a:pt x="624" y="407"/>
                  </a:lnTo>
                  <a:lnTo>
                    <a:pt x="624" y="407"/>
                  </a:lnTo>
                  <a:lnTo>
                    <a:pt x="624" y="412"/>
                  </a:lnTo>
                  <a:lnTo>
                    <a:pt x="626" y="415"/>
                  </a:lnTo>
                  <a:lnTo>
                    <a:pt x="626" y="415"/>
                  </a:lnTo>
                  <a:lnTo>
                    <a:pt x="629" y="416"/>
                  </a:lnTo>
                  <a:lnTo>
                    <a:pt x="630" y="416"/>
                  </a:lnTo>
                  <a:lnTo>
                    <a:pt x="636" y="415"/>
                  </a:lnTo>
                  <a:lnTo>
                    <a:pt x="636" y="415"/>
                  </a:lnTo>
                  <a:lnTo>
                    <a:pt x="637" y="415"/>
                  </a:lnTo>
                  <a:lnTo>
                    <a:pt x="637" y="415"/>
                  </a:lnTo>
                  <a:lnTo>
                    <a:pt x="637" y="415"/>
                  </a:lnTo>
                  <a:lnTo>
                    <a:pt x="637" y="415"/>
                  </a:lnTo>
                  <a:lnTo>
                    <a:pt x="636" y="417"/>
                  </a:lnTo>
                  <a:lnTo>
                    <a:pt x="634" y="420"/>
                  </a:lnTo>
                  <a:lnTo>
                    <a:pt x="634" y="420"/>
                  </a:lnTo>
                  <a:lnTo>
                    <a:pt x="636" y="423"/>
                  </a:lnTo>
                  <a:lnTo>
                    <a:pt x="636" y="423"/>
                  </a:lnTo>
                  <a:lnTo>
                    <a:pt x="636" y="426"/>
                  </a:lnTo>
                  <a:lnTo>
                    <a:pt x="636" y="426"/>
                  </a:lnTo>
                  <a:lnTo>
                    <a:pt x="634" y="427"/>
                  </a:lnTo>
                  <a:lnTo>
                    <a:pt x="634" y="427"/>
                  </a:lnTo>
                  <a:lnTo>
                    <a:pt x="631" y="429"/>
                  </a:lnTo>
                  <a:lnTo>
                    <a:pt x="631" y="429"/>
                  </a:lnTo>
                  <a:lnTo>
                    <a:pt x="630" y="433"/>
                  </a:lnTo>
                  <a:lnTo>
                    <a:pt x="630" y="433"/>
                  </a:lnTo>
                  <a:lnTo>
                    <a:pt x="630" y="435"/>
                  </a:lnTo>
                  <a:lnTo>
                    <a:pt x="630" y="435"/>
                  </a:lnTo>
                  <a:lnTo>
                    <a:pt x="627" y="435"/>
                  </a:lnTo>
                  <a:lnTo>
                    <a:pt x="627" y="435"/>
                  </a:lnTo>
                  <a:lnTo>
                    <a:pt x="624" y="436"/>
                  </a:lnTo>
                  <a:lnTo>
                    <a:pt x="624" y="436"/>
                  </a:lnTo>
                  <a:lnTo>
                    <a:pt x="621" y="439"/>
                  </a:lnTo>
                  <a:lnTo>
                    <a:pt x="619" y="442"/>
                  </a:lnTo>
                  <a:lnTo>
                    <a:pt x="619" y="446"/>
                  </a:lnTo>
                  <a:lnTo>
                    <a:pt x="619" y="450"/>
                  </a:lnTo>
                  <a:lnTo>
                    <a:pt x="619" y="450"/>
                  </a:lnTo>
                  <a:lnTo>
                    <a:pt x="620" y="453"/>
                  </a:lnTo>
                  <a:lnTo>
                    <a:pt x="621" y="456"/>
                  </a:lnTo>
                  <a:lnTo>
                    <a:pt x="621" y="456"/>
                  </a:lnTo>
                  <a:lnTo>
                    <a:pt x="624" y="457"/>
                  </a:lnTo>
                  <a:lnTo>
                    <a:pt x="624" y="460"/>
                  </a:lnTo>
                  <a:lnTo>
                    <a:pt x="624" y="460"/>
                  </a:lnTo>
                  <a:lnTo>
                    <a:pt x="624" y="463"/>
                  </a:lnTo>
                  <a:lnTo>
                    <a:pt x="624" y="463"/>
                  </a:lnTo>
                  <a:lnTo>
                    <a:pt x="623" y="467"/>
                  </a:lnTo>
                  <a:lnTo>
                    <a:pt x="624" y="470"/>
                  </a:lnTo>
                  <a:lnTo>
                    <a:pt x="627" y="473"/>
                  </a:lnTo>
                  <a:lnTo>
                    <a:pt x="627" y="473"/>
                  </a:lnTo>
                  <a:lnTo>
                    <a:pt x="630" y="475"/>
                  </a:lnTo>
                  <a:lnTo>
                    <a:pt x="630" y="475"/>
                  </a:lnTo>
                  <a:lnTo>
                    <a:pt x="633" y="477"/>
                  </a:lnTo>
                  <a:lnTo>
                    <a:pt x="634" y="479"/>
                  </a:lnTo>
                  <a:lnTo>
                    <a:pt x="634" y="479"/>
                  </a:lnTo>
                  <a:lnTo>
                    <a:pt x="634" y="483"/>
                  </a:lnTo>
                  <a:lnTo>
                    <a:pt x="631" y="487"/>
                  </a:lnTo>
                  <a:lnTo>
                    <a:pt x="631" y="487"/>
                  </a:lnTo>
                  <a:lnTo>
                    <a:pt x="629" y="490"/>
                  </a:lnTo>
                  <a:lnTo>
                    <a:pt x="629" y="495"/>
                  </a:lnTo>
                  <a:lnTo>
                    <a:pt x="629" y="495"/>
                  </a:lnTo>
                  <a:lnTo>
                    <a:pt x="631" y="499"/>
                  </a:lnTo>
                  <a:lnTo>
                    <a:pt x="636" y="502"/>
                  </a:lnTo>
                  <a:lnTo>
                    <a:pt x="636" y="502"/>
                  </a:lnTo>
                  <a:lnTo>
                    <a:pt x="633" y="507"/>
                  </a:lnTo>
                  <a:lnTo>
                    <a:pt x="633" y="507"/>
                  </a:lnTo>
                  <a:lnTo>
                    <a:pt x="631" y="509"/>
                  </a:lnTo>
                  <a:lnTo>
                    <a:pt x="629" y="510"/>
                  </a:lnTo>
                  <a:lnTo>
                    <a:pt x="629" y="510"/>
                  </a:lnTo>
                  <a:lnTo>
                    <a:pt x="626" y="512"/>
                  </a:lnTo>
                  <a:lnTo>
                    <a:pt x="621" y="515"/>
                  </a:lnTo>
                  <a:lnTo>
                    <a:pt x="621" y="516"/>
                  </a:lnTo>
                  <a:lnTo>
                    <a:pt x="621" y="516"/>
                  </a:lnTo>
                  <a:lnTo>
                    <a:pt x="617" y="522"/>
                  </a:lnTo>
                  <a:lnTo>
                    <a:pt x="616" y="525"/>
                  </a:lnTo>
                  <a:lnTo>
                    <a:pt x="616" y="527"/>
                  </a:lnTo>
                  <a:lnTo>
                    <a:pt x="616" y="527"/>
                  </a:lnTo>
                  <a:lnTo>
                    <a:pt x="617" y="530"/>
                  </a:lnTo>
                  <a:lnTo>
                    <a:pt x="617" y="530"/>
                  </a:lnTo>
                  <a:lnTo>
                    <a:pt x="616" y="530"/>
                  </a:lnTo>
                  <a:lnTo>
                    <a:pt x="616" y="530"/>
                  </a:lnTo>
                  <a:lnTo>
                    <a:pt x="611" y="535"/>
                  </a:lnTo>
                  <a:lnTo>
                    <a:pt x="609" y="537"/>
                  </a:lnTo>
                  <a:lnTo>
                    <a:pt x="607" y="540"/>
                  </a:lnTo>
                  <a:lnTo>
                    <a:pt x="607" y="540"/>
                  </a:lnTo>
                  <a:lnTo>
                    <a:pt x="607" y="542"/>
                  </a:lnTo>
                  <a:lnTo>
                    <a:pt x="609" y="545"/>
                  </a:lnTo>
                  <a:lnTo>
                    <a:pt x="609" y="545"/>
                  </a:lnTo>
                  <a:lnTo>
                    <a:pt x="611" y="546"/>
                  </a:lnTo>
                  <a:lnTo>
                    <a:pt x="619" y="547"/>
                  </a:lnTo>
                  <a:lnTo>
                    <a:pt x="619" y="547"/>
                  </a:lnTo>
                  <a:lnTo>
                    <a:pt x="616" y="549"/>
                  </a:lnTo>
                  <a:lnTo>
                    <a:pt x="616" y="549"/>
                  </a:lnTo>
                  <a:lnTo>
                    <a:pt x="614" y="552"/>
                  </a:lnTo>
                  <a:lnTo>
                    <a:pt x="614" y="556"/>
                  </a:lnTo>
                  <a:lnTo>
                    <a:pt x="614" y="556"/>
                  </a:lnTo>
                  <a:lnTo>
                    <a:pt x="614" y="567"/>
                  </a:lnTo>
                  <a:lnTo>
                    <a:pt x="614" y="567"/>
                  </a:lnTo>
                  <a:lnTo>
                    <a:pt x="616" y="573"/>
                  </a:lnTo>
                  <a:lnTo>
                    <a:pt x="616" y="576"/>
                  </a:lnTo>
                  <a:lnTo>
                    <a:pt x="617" y="579"/>
                  </a:lnTo>
                  <a:lnTo>
                    <a:pt x="617" y="579"/>
                  </a:lnTo>
                  <a:lnTo>
                    <a:pt x="620" y="580"/>
                  </a:lnTo>
                  <a:lnTo>
                    <a:pt x="623" y="580"/>
                  </a:lnTo>
                  <a:lnTo>
                    <a:pt x="623" y="580"/>
                  </a:lnTo>
                  <a:lnTo>
                    <a:pt x="627" y="579"/>
                  </a:lnTo>
                  <a:lnTo>
                    <a:pt x="630" y="577"/>
                  </a:lnTo>
                  <a:lnTo>
                    <a:pt x="637" y="573"/>
                  </a:lnTo>
                  <a:lnTo>
                    <a:pt x="637" y="573"/>
                  </a:lnTo>
                  <a:lnTo>
                    <a:pt x="643" y="570"/>
                  </a:lnTo>
                  <a:lnTo>
                    <a:pt x="646" y="569"/>
                  </a:lnTo>
                  <a:lnTo>
                    <a:pt x="646" y="569"/>
                  </a:lnTo>
                  <a:lnTo>
                    <a:pt x="646" y="572"/>
                  </a:lnTo>
                  <a:lnTo>
                    <a:pt x="646" y="572"/>
                  </a:lnTo>
                  <a:lnTo>
                    <a:pt x="643" y="579"/>
                  </a:lnTo>
                  <a:lnTo>
                    <a:pt x="641" y="582"/>
                  </a:lnTo>
                  <a:lnTo>
                    <a:pt x="639" y="583"/>
                  </a:lnTo>
                  <a:lnTo>
                    <a:pt x="639" y="583"/>
                  </a:lnTo>
                  <a:lnTo>
                    <a:pt x="630" y="586"/>
                  </a:lnTo>
                  <a:lnTo>
                    <a:pt x="620" y="590"/>
                  </a:lnTo>
                  <a:lnTo>
                    <a:pt x="620" y="590"/>
                  </a:lnTo>
                  <a:lnTo>
                    <a:pt x="614" y="593"/>
                  </a:lnTo>
                  <a:lnTo>
                    <a:pt x="614" y="593"/>
                  </a:lnTo>
                  <a:lnTo>
                    <a:pt x="604" y="595"/>
                  </a:lnTo>
                  <a:lnTo>
                    <a:pt x="604" y="595"/>
                  </a:lnTo>
                  <a:lnTo>
                    <a:pt x="596" y="597"/>
                  </a:lnTo>
                  <a:lnTo>
                    <a:pt x="594" y="597"/>
                  </a:lnTo>
                  <a:lnTo>
                    <a:pt x="593" y="599"/>
                  </a:lnTo>
                  <a:lnTo>
                    <a:pt x="590" y="600"/>
                  </a:lnTo>
                  <a:lnTo>
                    <a:pt x="593" y="600"/>
                  </a:lnTo>
                  <a:lnTo>
                    <a:pt x="593" y="600"/>
                  </a:lnTo>
                  <a:lnTo>
                    <a:pt x="596" y="602"/>
                  </a:lnTo>
                  <a:lnTo>
                    <a:pt x="597" y="603"/>
                  </a:lnTo>
                  <a:lnTo>
                    <a:pt x="597" y="603"/>
                  </a:lnTo>
                  <a:lnTo>
                    <a:pt x="609" y="603"/>
                  </a:lnTo>
                  <a:lnTo>
                    <a:pt x="609" y="603"/>
                  </a:lnTo>
                  <a:lnTo>
                    <a:pt x="603" y="606"/>
                  </a:lnTo>
                  <a:lnTo>
                    <a:pt x="599" y="609"/>
                  </a:lnTo>
                  <a:lnTo>
                    <a:pt x="597" y="610"/>
                  </a:lnTo>
                  <a:lnTo>
                    <a:pt x="597" y="612"/>
                  </a:lnTo>
                  <a:lnTo>
                    <a:pt x="597" y="612"/>
                  </a:lnTo>
                  <a:lnTo>
                    <a:pt x="599" y="613"/>
                  </a:lnTo>
                  <a:lnTo>
                    <a:pt x="600" y="616"/>
                  </a:lnTo>
                  <a:lnTo>
                    <a:pt x="606" y="619"/>
                  </a:lnTo>
                  <a:lnTo>
                    <a:pt x="614" y="622"/>
                  </a:lnTo>
                  <a:lnTo>
                    <a:pt x="614" y="622"/>
                  </a:lnTo>
                  <a:lnTo>
                    <a:pt x="617" y="625"/>
                  </a:lnTo>
                  <a:lnTo>
                    <a:pt x="617" y="625"/>
                  </a:lnTo>
                  <a:lnTo>
                    <a:pt x="619" y="627"/>
                  </a:lnTo>
                  <a:lnTo>
                    <a:pt x="621" y="630"/>
                  </a:lnTo>
                  <a:lnTo>
                    <a:pt x="621" y="630"/>
                  </a:lnTo>
                  <a:lnTo>
                    <a:pt x="624" y="630"/>
                  </a:lnTo>
                  <a:lnTo>
                    <a:pt x="629" y="629"/>
                  </a:lnTo>
                  <a:lnTo>
                    <a:pt x="629" y="629"/>
                  </a:lnTo>
                  <a:lnTo>
                    <a:pt x="627" y="632"/>
                  </a:lnTo>
                  <a:lnTo>
                    <a:pt x="629" y="635"/>
                  </a:lnTo>
                  <a:lnTo>
                    <a:pt x="629" y="635"/>
                  </a:lnTo>
                  <a:lnTo>
                    <a:pt x="630" y="636"/>
                  </a:lnTo>
                  <a:lnTo>
                    <a:pt x="633" y="636"/>
                  </a:lnTo>
                  <a:lnTo>
                    <a:pt x="633" y="636"/>
                  </a:lnTo>
                  <a:lnTo>
                    <a:pt x="637" y="636"/>
                  </a:lnTo>
                  <a:lnTo>
                    <a:pt x="637" y="636"/>
                  </a:lnTo>
                  <a:lnTo>
                    <a:pt x="643" y="632"/>
                  </a:lnTo>
                  <a:lnTo>
                    <a:pt x="643" y="632"/>
                  </a:lnTo>
                  <a:lnTo>
                    <a:pt x="641" y="637"/>
                  </a:lnTo>
                  <a:lnTo>
                    <a:pt x="641" y="637"/>
                  </a:lnTo>
                  <a:lnTo>
                    <a:pt x="639" y="645"/>
                  </a:lnTo>
                  <a:lnTo>
                    <a:pt x="639" y="645"/>
                  </a:lnTo>
                  <a:lnTo>
                    <a:pt x="637" y="647"/>
                  </a:lnTo>
                  <a:lnTo>
                    <a:pt x="637" y="650"/>
                  </a:lnTo>
                  <a:lnTo>
                    <a:pt x="637" y="650"/>
                  </a:lnTo>
                  <a:lnTo>
                    <a:pt x="640" y="652"/>
                  </a:lnTo>
                  <a:lnTo>
                    <a:pt x="643" y="653"/>
                  </a:lnTo>
                  <a:lnTo>
                    <a:pt x="643" y="653"/>
                  </a:lnTo>
                  <a:lnTo>
                    <a:pt x="649" y="652"/>
                  </a:lnTo>
                  <a:lnTo>
                    <a:pt x="654" y="647"/>
                  </a:lnTo>
                  <a:lnTo>
                    <a:pt x="654" y="647"/>
                  </a:lnTo>
                  <a:lnTo>
                    <a:pt x="656" y="656"/>
                  </a:lnTo>
                  <a:lnTo>
                    <a:pt x="657" y="659"/>
                  </a:lnTo>
                  <a:lnTo>
                    <a:pt x="660" y="662"/>
                  </a:lnTo>
                  <a:lnTo>
                    <a:pt x="660" y="662"/>
                  </a:lnTo>
                  <a:lnTo>
                    <a:pt x="659" y="666"/>
                  </a:lnTo>
                  <a:lnTo>
                    <a:pt x="656" y="675"/>
                  </a:lnTo>
                  <a:lnTo>
                    <a:pt x="654" y="675"/>
                  </a:lnTo>
                  <a:lnTo>
                    <a:pt x="653" y="676"/>
                  </a:lnTo>
                  <a:lnTo>
                    <a:pt x="653" y="676"/>
                  </a:lnTo>
                  <a:lnTo>
                    <a:pt x="653" y="677"/>
                  </a:lnTo>
                  <a:lnTo>
                    <a:pt x="653" y="677"/>
                  </a:lnTo>
                  <a:lnTo>
                    <a:pt x="650" y="679"/>
                  </a:lnTo>
                  <a:lnTo>
                    <a:pt x="650" y="679"/>
                  </a:lnTo>
                  <a:lnTo>
                    <a:pt x="649" y="680"/>
                  </a:lnTo>
                  <a:lnTo>
                    <a:pt x="649" y="683"/>
                  </a:lnTo>
                  <a:lnTo>
                    <a:pt x="649" y="683"/>
                  </a:lnTo>
                  <a:lnTo>
                    <a:pt x="649" y="683"/>
                  </a:lnTo>
                  <a:lnTo>
                    <a:pt x="649" y="683"/>
                  </a:lnTo>
                  <a:lnTo>
                    <a:pt x="649" y="683"/>
                  </a:lnTo>
                  <a:lnTo>
                    <a:pt x="649" y="683"/>
                  </a:lnTo>
                  <a:lnTo>
                    <a:pt x="646" y="683"/>
                  </a:lnTo>
                  <a:lnTo>
                    <a:pt x="646" y="683"/>
                  </a:lnTo>
                  <a:lnTo>
                    <a:pt x="643" y="682"/>
                  </a:lnTo>
                  <a:lnTo>
                    <a:pt x="643" y="682"/>
                  </a:lnTo>
                  <a:lnTo>
                    <a:pt x="641" y="676"/>
                  </a:lnTo>
                  <a:lnTo>
                    <a:pt x="639" y="672"/>
                  </a:lnTo>
                  <a:lnTo>
                    <a:pt x="639" y="672"/>
                  </a:lnTo>
                  <a:lnTo>
                    <a:pt x="636" y="669"/>
                  </a:lnTo>
                  <a:lnTo>
                    <a:pt x="631" y="666"/>
                  </a:lnTo>
                  <a:lnTo>
                    <a:pt x="631" y="666"/>
                  </a:lnTo>
                  <a:lnTo>
                    <a:pt x="629" y="665"/>
                  </a:lnTo>
                  <a:lnTo>
                    <a:pt x="627" y="663"/>
                  </a:lnTo>
                  <a:lnTo>
                    <a:pt x="627" y="663"/>
                  </a:lnTo>
                  <a:lnTo>
                    <a:pt x="627" y="660"/>
                  </a:lnTo>
                  <a:lnTo>
                    <a:pt x="627" y="660"/>
                  </a:lnTo>
                  <a:lnTo>
                    <a:pt x="627" y="656"/>
                  </a:lnTo>
                  <a:lnTo>
                    <a:pt x="627" y="656"/>
                  </a:lnTo>
                  <a:lnTo>
                    <a:pt x="627" y="652"/>
                  </a:lnTo>
                  <a:lnTo>
                    <a:pt x="624" y="647"/>
                  </a:lnTo>
                  <a:lnTo>
                    <a:pt x="624" y="647"/>
                  </a:lnTo>
                  <a:lnTo>
                    <a:pt x="624" y="647"/>
                  </a:lnTo>
                  <a:lnTo>
                    <a:pt x="620" y="640"/>
                  </a:lnTo>
                  <a:lnTo>
                    <a:pt x="617" y="637"/>
                  </a:lnTo>
                  <a:lnTo>
                    <a:pt x="614" y="636"/>
                  </a:lnTo>
                  <a:lnTo>
                    <a:pt x="614" y="636"/>
                  </a:lnTo>
                  <a:lnTo>
                    <a:pt x="604" y="632"/>
                  </a:lnTo>
                  <a:lnTo>
                    <a:pt x="604" y="632"/>
                  </a:lnTo>
                  <a:lnTo>
                    <a:pt x="599" y="629"/>
                  </a:lnTo>
                  <a:lnTo>
                    <a:pt x="599" y="629"/>
                  </a:lnTo>
                  <a:lnTo>
                    <a:pt x="594" y="626"/>
                  </a:lnTo>
                  <a:lnTo>
                    <a:pt x="594" y="626"/>
                  </a:lnTo>
                  <a:lnTo>
                    <a:pt x="590" y="625"/>
                  </a:lnTo>
                  <a:lnTo>
                    <a:pt x="584" y="623"/>
                  </a:lnTo>
                  <a:lnTo>
                    <a:pt x="584" y="622"/>
                  </a:lnTo>
                  <a:lnTo>
                    <a:pt x="584" y="622"/>
                  </a:lnTo>
                  <a:lnTo>
                    <a:pt x="580" y="622"/>
                  </a:lnTo>
                  <a:lnTo>
                    <a:pt x="574" y="620"/>
                  </a:lnTo>
                  <a:lnTo>
                    <a:pt x="574" y="620"/>
                  </a:lnTo>
                  <a:lnTo>
                    <a:pt x="570" y="622"/>
                  </a:lnTo>
                  <a:lnTo>
                    <a:pt x="570" y="622"/>
                  </a:lnTo>
                  <a:lnTo>
                    <a:pt x="567" y="623"/>
                  </a:lnTo>
                  <a:lnTo>
                    <a:pt x="566" y="625"/>
                  </a:lnTo>
                  <a:lnTo>
                    <a:pt x="566" y="629"/>
                  </a:lnTo>
                  <a:lnTo>
                    <a:pt x="566" y="633"/>
                  </a:lnTo>
                  <a:lnTo>
                    <a:pt x="567" y="637"/>
                  </a:lnTo>
                  <a:lnTo>
                    <a:pt x="567" y="637"/>
                  </a:lnTo>
                  <a:lnTo>
                    <a:pt x="570" y="642"/>
                  </a:lnTo>
                  <a:lnTo>
                    <a:pt x="570" y="642"/>
                  </a:lnTo>
                  <a:lnTo>
                    <a:pt x="569" y="645"/>
                  </a:lnTo>
                  <a:lnTo>
                    <a:pt x="569" y="645"/>
                  </a:lnTo>
                  <a:lnTo>
                    <a:pt x="569" y="647"/>
                  </a:lnTo>
                  <a:lnTo>
                    <a:pt x="569" y="649"/>
                  </a:lnTo>
                  <a:lnTo>
                    <a:pt x="573" y="653"/>
                  </a:lnTo>
                  <a:lnTo>
                    <a:pt x="573" y="653"/>
                  </a:lnTo>
                  <a:lnTo>
                    <a:pt x="576" y="656"/>
                  </a:lnTo>
                  <a:lnTo>
                    <a:pt x="576" y="660"/>
                  </a:lnTo>
                  <a:lnTo>
                    <a:pt x="576" y="660"/>
                  </a:lnTo>
                  <a:lnTo>
                    <a:pt x="577" y="666"/>
                  </a:lnTo>
                  <a:lnTo>
                    <a:pt x="580" y="669"/>
                  </a:lnTo>
                  <a:lnTo>
                    <a:pt x="583" y="672"/>
                  </a:lnTo>
                  <a:lnTo>
                    <a:pt x="587" y="675"/>
                  </a:lnTo>
                  <a:lnTo>
                    <a:pt x="587" y="675"/>
                  </a:lnTo>
                  <a:lnTo>
                    <a:pt x="591" y="676"/>
                  </a:lnTo>
                  <a:lnTo>
                    <a:pt x="594" y="680"/>
                  </a:lnTo>
                  <a:lnTo>
                    <a:pt x="594" y="680"/>
                  </a:lnTo>
                  <a:lnTo>
                    <a:pt x="596" y="683"/>
                  </a:lnTo>
                  <a:lnTo>
                    <a:pt x="596" y="683"/>
                  </a:lnTo>
                  <a:lnTo>
                    <a:pt x="597" y="686"/>
                  </a:lnTo>
                  <a:lnTo>
                    <a:pt x="599" y="690"/>
                  </a:lnTo>
                  <a:lnTo>
                    <a:pt x="599" y="690"/>
                  </a:lnTo>
                  <a:lnTo>
                    <a:pt x="600" y="690"/>
                  </a:lnTo>
                  <a:lnTo>
                    <a:pt x="600" y="690"/>
                  </a:lnTo>
                  <a:lnTo>
                    <a:pt x="597" y="695"/>
                  </a:lnTo>
                  <a:lnTo>
                    <a:pt x="596" y="697"/>
                  </a:lnTo>
                  <a:lnTo>
                    <a:pt x="594" y="702"/>
                  </a:lnTo>
                  <a:lnTo>
                    <a:pt x="596" y="705"/>
                  </a:lnTo>
                  <a:lnTo>
                    <a:pt x="596" y="705"/>
                  </a:lnTo>
                  <a:lnTo>
                    <a:pt x="596" y="709"/>
                  </a:lnTo>
                  <a:lnTo>
                    <a:pt x="594" y="713"/>
                  </a:lnTo>
                  <a:lnTo>
                    <a:pt x="594" y="713"/>
                  </a:lnTo>
                  <a:lnTo>
                    <a:pt x="594" y="719"/>
                  </a:lnTo>
                  <a:lnTo>
                    <a:pt x="594" y="719"/>
                  </a:lnTo>
                  <a:lnTo>
                    <a:pt x="594" y="729"/>
                  </a:lnTo>
                  <a:lnTo>
                    <a:pt x="591" y="733"/>
                  </a:lnTo>
                  <a:lnTo>
                    <a:pt x="589" y="739"/>
                  </a:lnTo>
                  <a:lnTo>
                    <a:pt x="589" y="739"/>
                  </a:lnTo>
                  <a:lnTo>
                    <a:pt x="584" y="743"/>
                  </a:lnTo>
                  <a:lnTo>
                    <a:pt x="583" y="745"/>
                  </a:lnTo>
                  <a:lnTo>
                    <a:pt x="583" y="745"/>
                  </a:lnTo>
                  <a:lnTo>
                    <a:pt x="581" y="746"/>
                  </a:lnTo>
                  <a:lnTo>
                    <a:pt x="580" y="750"/>
                  </a:lnTo>
                  <a:lnTo>
                    <a:pt x="580" y="750"/>
                  </a:lnTo>
                  <a:lnTo>
                    <a:pt x="577" y="755"/>
                  </a:lnTo>
                  <a:lnTo>
                    <a:pt x="573" y="759"/>
                  </a:lnTo>
                  <a:lnTo>
                    <a:pt x="573" y="759"/>
                  </a:lnTo>
                  <a:lnTo>
                    <a:pt x="566" y="765"/>
                  </a:lnTo>
                  <a:lnTo>
                    <a:pt x="559" y="775"/>
                  </a:lnTo>
                  <a:lnTo>
                    <a:pt x="559" y="775"/>
                  </a:lnTo>
                  <a:lnTo>
                    <a:pt x="541" y="799"/>
                  </a:lnTo>
                  <a:lnTo>
                    <a:pt x="541" y="799"/>
                  </a:lnTo>
                  <a:lnTo>
                    <a:pt x="527" y="819"/>
                  </a:lnTo>
                  <a:lnTo>
                    <a:pt x="527" y="819"/>
                  </a:lnTo>
                  <a:lnTo>
                    <a:pt x="523" y="826"/>
                  </a:lnTo>
                  <a:lnTo>
                    <a:pt x="517" y="832"/>
                  </a:lnTo>
                  <a:lnTo>
                    <a:pt x="509" y="840"/>
                  </a:lnTo>
                  <a:lnTo>
                    <a:pt x="509" y="840"/>
                  </a:lnTo>
                  <a:lnTo>
                    <a:pt x="504" y="843"/>
                  </a:lnTo>
                  <a:lnTo>
                    <a:pt x="504" y="843"/>
                  </a:lnTo>
                  <a:lnTo>
                    <a:pt x="501" y="846"/>
                  </a:lnTo>
                  <a:lnTo>
                    <a:pt x="501" y="846"/>
                  </a:lnTo>
                  <a:lnTo>
                    <a:pt x="497" y="850"/>
                  </a:lnTo>
                  <a:lnTo>
                    <a:pt x="496" y="853"/>
                  </a:lnTo>
                  <a:lnTo>
                    <a:pt x="494" y="857"/>
                  </a:lnTo>
                  <a:lnTo>
                    <a:pt x="494" y="857"/>
                  </a:lnTo>
                  <a:lnTo>
                    <a:pt x="494" y="862"/>
                  </a:lnTo>
                  <a:lnTo>
                    <a:pt x="496" y="863"/>
                  </a:lnTo>
                  <a:lnTo>
                    <a:pt x="496" y="863"/>
                  </a:lnTo>
                  <a:lnTo>
                    <a:pt x="496" y="866"/>
                  </a:lnTo>
                  <a:lnTo>
                    <a:pt x="496" y="867"/>
                  </a:lnTo>
                  <a:lnTo>
                    <a:pt x="491" y="879"/>
                  </a:lnTo>
                  <a:lnTo>
                    <a:pt x="491" y="879"/>
                  </a:lnTo>
                  <a:lnTo>
                    <a:pt x="486" y="887"/>
                  </a:lnTo>
                  <a:lnTo>
                    <a:pt x="486" y="887"/>
                  </a:lnTo>
                  <a:lnTo>
                    <a:pt x="479" y="900"/>
                  </a:lnTo>
                  <a:lnTo>
                    <a:pt x="470" y="913"/>
                  </a:lnTo>
                  <a:lnTo>
                    <a:pt x="470" y="913"/>
                  </a:lnTo>
                  <a:lnTo>
                    <a:pt x="464" y="922"/>
                  </a:lnTo>
                  <a:lnTo>
                    <a:pt x="461" y="927"/>
                  </a:lnTo>
                  <a:lnTo>
                    <a:pt x="460" y="933"/>
                  </a:lnTo>
                  <a:lnTo>
                    <a:pt x="460" y="940"/>
                  </a:lnTo>
                  <a:lnTo>
                    <a:pt x="460" y="940"/>
                  </a:lnTo>
                  <a:lnTo>
                    <a:pt x="460" y="943"/>
                  </a:lnTo>
                  <a:lnTo>
                    <a:pt x="460" y="946"/>
                  </a:lnTo>
                  <a:lnTo>
                    <a:pt x="456" y="950"/>
                  </a:lnTo>
                  <a:lnTo>
                    <a:pt x="456" y="950"/>
                  </a:lnTo>
                  <a:lnTo>
                    <a:pt x="453" y="956"/>
                  </a:lnTo>
                  <a:lnTo>
                    <a:pt x="451" y="960"/>
                  </a:lnTo>
                  <a:lnTo>
                    <a:pt x="453" y="964"/>
                  </a:lnTo>
                  <a:lnTo>
                    <a:pt x="453" y="964"/>
                  </a:lnTo>
                  <a:lnTo>
                    <a:pt x="454" y="974"/>
                  </a:lnTo>
                  <a:lnTo>
                    <a:pt x="454" y="974"/>
                  </a:lnTo>
                  <a:lnTo>
                    <a:pt x="456" y="984"/>
                  </a:lnTo>
                  <a:lnTo>
                    <a:pt x="459" y="990"/>
                  </a:lnTo>
                  <a:lnTo>
                    <a:pt x="461" y="993"/>
                  </a:lnTo>
                  <a:lnTo>
                    <a:pt x="461" y="993"/>
                  </a:lnTo>
                  <a:lnTo>
                    <a:pt x="464" y="996"/>
                  </a:lnTo>
                  <a:lnTo>
                    <a:pt x="464" y="996"/>
                  </a:lnTo>
                  <a:lnTo>
                    <a:pt x="469" y="1000"/>
                  </a:lnTo>
                  <a:lnTo>
                    <a:pt x="471" y="1003"/>
                  </a:lnTo>
                  <a:lnTo>
                    <a:pt x="471" y="1003"/>
                  </a:lnTo>
                  <a:lnTo>
                    <a:pt x="470" y="1004"/>
                  </a:lnTo>
                  <a:lnTo>
                    <a:pt x="470" y="1004"/>
                  </a:lnTo>
                  <a:lnTo>
                    <a:pt x="469" y="1004"/>
                  </a:lnTo>
                  <a:lnTo>
                    <a:pt x="469" y="1004"/>
                  </a:lnTo>
                  <a:lnTo>
                    <a:pt x="469" y="1004"/>
                  </a:lnTo>
                  <a:lnTo>
                    <a:pt x="466" y="1004"/>
                  </a:lnTo>
                  <a:lnTo>
                    <a:pt x="463" y="1006"/>
                  </a:lnTo>
                  <a:lnTo>
                    <a:pt x="461" y="1012"/>
                  </a:lnTo>
                  <a:lnTo>
                    <a:pt x="461" y="1012"/>
                  </a:lnTo>
                  <a:lnTo>
                    <a:pt x="461" y="1019"/>
                  </a:lnTo>
                  <a:lnTo>
                    <a:pt x="463" y="1023"/>
                  </a:lnTo>
                  <a:lnTo>
                    <a:pt x="463" y="1023"/>
                  </a:lnTo>
                  <a:lnTo>
                    <a:pt x="464" y="1026"/>
                  </a:lnTo>
                  <a:lnTo>
                    <a:pt x="464" y="1026"/>
                  </a:lnTo>
                  <a:lnTo>
                    <a:pt x="464" y="1027"/>
                  </a:lnTo>
                  <a:lnTo>
                    <a:pt x="464" y="1027"/>
                  </a:lnTo>
                  <a:lnTo>
                    <a:pt x="464" y="1027"/>
                  </a:lnTo>
                  <a:lnTo>
                    <a:pt x="464" y="1027"/>
                  </a:lnTo>
                  <a:lnTo>
                    <a:pt x="461" y="1030"/>
                  </a:lnTo>
                  <a:lnTo>
                    <a:pt x="460" y="1037"/>
                  </a:lnTo>
                  <a:lnTo>
                    <a:pt x="460" y="1037"/>
                  </a:lnTo>
                  <a:lnTo>
                    <a:pt x="460" y="1043"/>
                  </a:lnTo>
                  <a:lnTo>
                    <a:pt x="461" y="1047"/>
                  </a:lnTo>
                  <a:lnTo>
                    <a:pt x="466" y="1057"/>
                  </a:lnTo>
                  <a:lnTo>
                    <a:pt x="466" y="1057"/>
                  </a:lnTo>
                  <a:lnTo>
                    <a:pt x="469" y="1064"/>
                  </a:lnTo>
                  <a:lnTo>
                    <a:pt x="470" y="1072"/>
                  </a:lnTo>
                  <a:lnTo>
                    <a:pt x="470" y="1072"/>
                  </a:lnTo>
                  <a:lnTo>
                    <a:pt x="469" y="1082"/>
                  </a:lnTo>
                  <a:lnTo>
                    <a:pt x="469" y="1082"/>
                  </a:lnTo>
                  <a:lnTo>
                    <a:pt x="467" y="1087"/>
                  </a:lnTo>
                  <a:lnTo>
                    <a:pt x="469" y="1092"/>
                  </a:lnTo>
                  <a:lnTo>
                    <a:pt x="469" y="1092"/>
                  </a:lnTo>
                  <a:lnTo>
                    <a:pt x="470" y="1096"/>
                  </a:lnTo>
                  <a:lnTo>
                    <a:pt x="474" y="1097"/>
                  </a:lnTo>
                  <a:lnTo>
                    <a:pt x="474" y="1097"/>
                  </a:lnTo>
                  <a:lnTo>
                    <a:pt x="483" y="1100"/>
                  </a:lnTo>
                  <a:lnTo>
                    <a:pt x="483" y="1100"/>
                  </a:lnTo>
                  <a:lnTo>
                    <a:pt x="489" y="1103"/>
                  </a:lnTo>
                  <a:lnTo>
                    <a:pt x="490" y="1104"/>
                  </a:lnTo>
                  <a:lnTo>
                    <a:pt x="490" y="1104"/>
                  </a:lnTo>
                  <a:lnTo>
                    <a:pt x="496" y="1109"/>
                  </a:lnTo>
                  <a:lnTo>
                    <a:pt x="496" y="1109"/>
                  </a:lnTo>
                  <a:lnTo>
                    <a:pt x="500" y="1109"/>
                  </a:lnTo>
                  <a:lnTo>
                    <a:pt x="500" y="1109"/>
                  </a:lnTo>
                  <a:lnTo>
                    <a:pt x="504" y="1107"/>
                  </a:lnTo>
                  <a:lnTo>
                    <a:pt x="504" y="1107"/>
                  </a:lnTo>
                  <a:lnTo>
                    <a:pt x="507" y="1107"/>
                  </a:lnTo>
                  <a:lnTo>
                    <a:pt x="507" y="1107"/>
                  </a:lnTo>
                  <a:lnTo>
                    <a:pt x="509" y="1107"/>
                  </a:lnTo>
                  <a:lnTo>
                    <a:pt x="510" y="1112"/>
                  </a:lnTo>
                  <a:lnTo>
                    <a:pt x="510" y="1112"/>
                  </a:lnTo>
                  <a:lnTo>
                    <a:pt x="514" y="1119"/>
                  </a:lnTo>
                  <a:lnTo>
                    <a:pt x="519" y="1122"/>
                  </a:lnTo>
                  <a:lnTo>
                    <a:pt x="519" y="1122"/>
                  </a:lnTo>
                  <a:lnTo>
                    <a:pt x="521" y="1124"/>
                  </a:lnTo>
                  <a:lnTo>
                    <a:pt x="521" y="1124"/>
                  </a:lnTo>
                  <a:lnTo>
                    <a:pt x="524" y="1127"/>
                  </a:lnTo>
                  <a:lnTo>
                    <a:pt x="527" y="1132"/>
                  </a:lnTo>
                  <a:lnTo>
                    <a:pt x="529" y="1139"/>
                  </a:lnTo>
                  <a:lnTo>
                    <a:pt x="529" y="1139"/>
                  </a:lnTo>
                  <a:lnTo>
                    <a:pt x="529" y="1142"/>
                  </a:lnTo>
                  <a:lnTo>
                    <a:pt x="529" y="1142"/>
                  </a:lnTo>
                  <a:lnTo>
                    <a:pt x="529" y="1143"/>
                  </a:lnTo>
                  <a:lnTo>
                    <a:pt x="529" y="1143"/>
                  </a:lnTo>
                  <a:lnTo>
                    <a:pt x="527" y="1152"/>
                  </a:lnTo>
                  <a:lnTo>
                    <a:pt x="527" y="1157"/>
                  </a:lnTo>
                  <a:lnTo>
                    <a:pt x="529" y="1164"/>
                  </a:lnTo>
                  <a:lnTo>
                    <a:pt x="529" y="1164"/>
                  </a:lnTo>
                  <a:lnTo>
                    <a:pt x="530" y="1169"/>
                  </a:lnTo>
                  <a:lnTo>
                    <a:pt x="529" y="1173"/>
                  </a:lnTo>
                  <a:lnTo>
                    <a:pt x="529" y="1173"/>
                  </a:lnTo>
                  <a:lnTo>
                    <a:pt x="527" y="1179"/>
                  </a:lnTo>
                  <a:lnTo>
                    <a:pt x="527" y="1182"/>
                  </a:lnTo>
                  <a:lnTo>
                    <a:pt x="529" y="1186"/>
                  </a:lnTo>
                  <a:lnTo>
                    <a:pt x="529" y="1186"/>
                  </a:lnTo>
                  <a:lnTo>
                    <a:pt x="531" y="1194"/>
                  </a:lnTo>
                  <a:lnTo>
                    <a:pt x="531" y="1194"/>
                  </a:lnTo>
                  <a:lnTo>
                    <a:pt x="536" y="1203"/>
                  </a:lnTo>
                  <a:lnTo>
                    <a:pt x="536" y="1210"/>
                  </a:lnTo>
                  <a:lnTo>
                    <a:pt x="536" y="1210"/>
                  </a:lnTo>
                  <a:lnTo>
                    <a:pt x="536" y="1213"/>
                  </a:lnTo>
                  <a:lnTo>
                    <a:pt x="534" y="1216"/>
                  </a:lnTo>
                  <a:lnTo>
                    <a:pt x="534" y="1216"/>
                  </a:lnTo>
                  <a:lnTo>
                    <a:pt x="531" y="1220"/>
                  </a:lnTo>
                  <a:lnTo>
                    <a:pt x="531" y="1226"/>
                  </a:lnTo>
                  <a:lnTo>
                    <a:pt x="531" y="1226"/>
                  </a:lnTo>
                  <a:lnTo>
                    <a:pt x="533" y="1230"/>
                  </a:lnTo>
                  <a:lnTo>
                    <a:pt x="534" y="1233"/>
                  </a:lnTo>
                  <a:lnTo>
                    <a:pt x="539" y="1239"/>
                  </a:lnTo>
                  <a:lnTo>
                    <a:pt x="539" y="1239"/>
                  </a:lnTo>
                  <a:lnTo>
                    <a:pt x="543" y="1240"/>
                  </a:lnTo>
                  <a:lnTo>
                    <a:pt x="543" y="1240"/>
                  </a:lnTo>
                  <a:lnTo>
                    <a:pt x="547" y="1246"/>
                  </a:lnTo>
                  <a:lnTo>
                    <a:pt x="551" y="1252"/>
                  </a:lnTo>
                  <a:lnTo>
                    <a:pt x="556" y="1262"/>
                  </a:lnTo>
                  <a:lnTo>
                    <a:pt x="556" y="1280"/>
                  </a:lnTo>
                  <a:lnTo>
                    <a:pt x="556" y="1280"/>
                  </a:lnTo>
                  <a:lnTo>
                    <a:pt x="557" y="1284"/>
                  </a:lnTo>
                  <a:lnTo>
                    <a:pt x="559" y="1287"/>
                  </a:lnTo>
                  <a:lnTo>
                    <a:pt x="559" y="1287"/>
                  </a:lnTo>
                  <a:lnTo>
                    <a:pt x="559" y="1290"/>
                  </a:lnTo>
                  <a:lnTo>
                    <a:pt x="559" y="1290"/>
                  </a:lnTo>
                  <a:lnTo>
                    <a:pt x="557" y="1290"/>
                  </a:lnTo>
                  <a:lnTo>
                    <a:pt x="557" y="1290"/>
                  </a:lnTo>
                  <a:lnTo>
                    <a:pt x="550" y="1292"/>
                  </a:lnTo>
                  <a:lnTo>
                    <a:pt x="550" y="1292"/>
                  </a:lnTo>
                  <a:lnTo>
                    <a:pt x="539" y="1290"/>
                  </a:lnTo>
                  <a:lnTo>
                    <a:pt x="537" y="1290"/>
                  </a:lnTo>
                  <a:lnTo>
                    <a:pt x="536" y="1292"/>
                  </a:lnTo>
                  <a:lnTo>
                    <a:pt x="536" y="1292"/>
                  </a:lnTo>
                  <a:lnTo>
                    <a:pt x="533" y="1294"/>
                  </a:lnTo>
                  <a:lnTo>
                    <a:pt x="533" y="1299"/>
                  </a:lnTo>
                  <a:lnTo>
                    <a:pt x="533" y="1301"/>
                  </a:lnTo>
                  <a:lnTo>
                    <a:pt x="533" y="1301"/>
                  </a:lnTo>
                  <a:lnTo>
                    <a:pt x="534" y="1303"/>
                  </a:lnTo>
                  <a:lnTo>
                    <a:pt x="536" y="1304"/>
                  </a:lnTo>
                  <a:lnTo>
                    <a:pt x="536" y="1304"/>
                  </a:lnTo>
                  <a:lnTo>
                    <a:pt x="543" y="1309"/>
                  </a:lnTo>
                  <a:lnTo>
                    <a:pt x="546" y="1311"/>
                  </a:lnTo>
                  <a:lnTo>
                    <a:pt x="549" y="1316"/>
                  </a:lnTo>
                  <a:lnTo>
                    <a:pt x="549" y="1316"/>
                  </a:lnTo>
                  <a:lnTo>
                    <a:pt x="553" y="1320"/>
                  </a:lnTo>
                  <a:lnTo>
                    <a:pt x="559" y="1324"/>
                  </a:lnTo>
                  <a:lnTo>
                    <a:pt x="564" y="1326"/>
                  </a:lnTo>
                  <a:lnTo>
                    <a:pt x="570" y="1327"/>
                  </a:lnTo>
                  <a:lnTo>
                    <a:pt x="570" y="1327"/>
                  </a:lnTo>
                  <a:lnTo>
                    <a:pt x="573" y="1327"/>
                  </a:lnTo>
                  <a:lnTo>
                    <a:pt x="573" y="1327"/>
                  </a:lnTo>
                  <a:lnTo>
                    <a:pt x="576" y="1329"/>
                  </a:lnTo>
                  <a:lnTo>
                    <a:pt x="581" y="1331"/>
                  </a:lnTo>
                  <a:lnTo>
                    <a:pt x="581" y="1331"/>
                  </a:lnTo>
                  <a:lnTo>
                    <a:pt x="587" y="1339"/>
                  </a:lnTo>
                  <a:lnTo>
                    <a:pt x="590" y="1343"/>
                  </a:lnTo>
                  <a:lnTo>
                    <a:pt x="590" y="1343"/>
                  </a:lnTo>
                  <a:lnTo>
                    <a:pt x="589" y="1353"/>
                  </a:lnTo>
                  <a:lnTo>
                    <a:pt x="589" y="1353"/>
                  </a:lnTo>
                  <a:lnTo>
                    <a:pt x="586" y="1364"/>
                  </a:lnTo>
                  <a:lnTo>
                    <a:pt x="586" y="1364"/>
                  </a:lnTo>
                  <a:lnTo>
                    <a:pt x="584" y="1367"/>
                  </a:lnTo>
                  <a:lnTo>
                    <a:pt x="581" y="1370"/>
                  </a:lnTo>
                  <a:lnTo>
                    <a:pt x="581" y="1370"/>
                  </a:lnTo>
                  <a:lnTo>
                    <a:pt x="580" y="1373"/>
                  </a:lnTo>
                  <a:lnTo>
                    <a:pt x="579" y="1376"/>
                  </a:lnTo>
                  <a:lnTo>
                    <a:pt x="580" y="1380"/>
                  </a:lnTo>
                  <a:lnTo>
                    <a:pt x="583" y="1384"/>
                  </a:lnTo>
                  <a:lnTo>
                    <a:pt x="583" y="1384"/>
                  </a:lnTo>
                  <a:lnTo>
                    <a:pt x="601" y="1400"/>
                  </a:lnTo>
                  <a:lnTo>
                    <a:pt x="601" y="1400"/>
                  </a:lnTo>
                  <a:lnTo>
                    <a:pt x="601" y="1400"/>
                  </a:lnTo>
                  <a:lnTo>
                    <a:pt x="604" y="1401"/>
                  </a:lnTo>
                  <a:lnTo>
                    <a:pt x="611" y="1406"/>
                  </a:lnTo>
                  <a:lnTo>
                    <a:pt x="617" y="1411"/>
                  </a:lnTo>
                  <a:lnTo>
                    <a:pt x="620" y="1416"/>
                  </a:lnTo>
                  <a:lnTo>
                    <a:pt x="621" y="1420"/>
                  </a:lnTo>
                  <a:lnTo>
                    <a:pt x="621" y="1420"/>
                  </a:lnTo>
                  <a:lnTo>
                    <a:pt x="624" y="1430"/>
                  </a:lnTo>
                  <a:lnTo>
                    <a:pt x="626" y="1437"/>
                  </a:lnTo>
                  <a:lnTo>
                    <a:pt x="629" y="1440"/>
                  </a:lnTo>
                  <a:lnTo>
                    <a:pt x="630" y="1441"/>
                  </a:lnTo>
                  <a:lnTo>
                    <a:pt x="630" y="1441"/>
                  </a:lnTo>
                  <a:lnTo>
                    <a:pt x="633" y="1441"/>
                  </a:lnTo>
                  <a:lnTo>
                    <a:pt x="634" y="1439"/>
                  </a:lnTo>
                  <a:lnTo>
                    <a:pt x="634" y="1439"/>
                  </a:lnTo>
                  <a:lnTo>
                    <a:pt x="637" y="1437"/>
                  </a:lnTo>
                  <a:lnTo>
                    <a:pt x="637" y="1437"/>
                  </a:lnTo>
                  <a:lnTo>
                    <a:pt x="641" y="1434"/>
                  </a:lnTo>
                  <a:lnTo>
                    <a:pt x="643" y="1429"/>
                  </a:lnTo>
                  <a:lnTo>
                    <a:pt x="643" y="1429"/>
                  </a:lnTo>
                  <a:lnTo>
                    <a:pt x="643" y="1423"/>
                  </a:lnTo>
                  <a:lnTo>
                    <a:pt x="643" y="1413"/>
                  </a:lnTo>
                  <a:lnTo>
                    <a:pt x="641" y="1409"/>
                  </a:lnTo>
                  <a:lnTo>
                    <a:pt x="640" y="1404"/>
                  </a:lnTo>
                  <a:lnTo>
                    <a:pt x="637" y="1400"/>
                  </a:lnTo>
                  <a:lnTo>
                    <a:pt x="633" y="1399"/>
                  </a:lnTo>
                  <a:lnTo>
                    <a:pt x="633" y="1399"/>
                  </a:lnTo>
                  <a:lnTo>
                    <a:pt x="624" y="1396"/>
                  </a:lnTo>
                  <a:lnTo>
                    <a:pt x="624" y="1396"/>
                  </a:lnTo>
                  <a:lnTo>
                    <a:pt x="621" y="1396"/>
                  </a:lnTo>
                  <a:lnTo>
                    <a:pt x="621" y="1394"/>
                  </a:lnTo>
                  <a:lnTo>
                    <a:pt x="621" y="1394"/>
                  </a:lnTo>
                  <a:lnTo>
                    <a:pt x="621" y="1389"/>
                  </a:lnTo>
                  <a:lnTo>
                    <a:pt x="621" y="1389"/>
                  </a:lnTo>
                  <a:lnTo>
                    <a:pt x="623" y="1383"/>
                  </a:lnTo>
                  <a:lnTo>
                    <a:pt x="621" y="1376"/>
                  </a:lnTo>
                  <a:lnTo>
                    <a:pt x="621" y="1376"/>
                  </a:lnTo>
                  <a:lnTo>
                    <a:pt x="617" y="1364"/>
                  </a:lnTo>
                  <a:lnTo>
                    <a:pt x="617" y="1364"/>
                  </a:lnTo>
                  <a:lnTo>
                    <a:pt x="616" y="1357"/>
                  </a:lnTo>
                  <a:lnTo>
                    <a:pt x="616" y="1357"/>
                  </a:lnTo>
                  <a:lnTo>
                    <a:pt x="614" y="1344"/>
                  </a:lnTo>
                  <a:lnTo>
                    <a:pt x="614" y="1344"/>
                  </a:lnTo>
                  <a:lnTo>
                    <a:pt x="613" y="1334"/>
                  </a:lnTo>
                  <a:lnTo>
                    <a:pt x="613" y="1334"/>
                  </a:lnTo>
                  <a:lnTo>
                    <a:pt x="611" y="1330"/>
                  </a:lnTo>
                  <a:lnTo>
                    <a:pt x="610" y="1327"/>
                  </a:lnTo>
                  <a:lnTo>
                    <a:pt x="607" y="1324"/>
                  </a:lnTo>
                  <a:lnTo>
                    <a:pt x="607" y="1324"/>
                  </a:lnTo>
                  <a:lnTo>
                    <a:pt x="606" y="1323"/>
                  </a:lnTo>
                  <a:lnTo>
                    <a:pt x="606" y="1323"/>
                  </a:lnTo>
                  <a:lnTo>
                    <a:pt x="606" y="1319"/>
                  </a:lnTo>
                  <a:lnTo>
                    <a:pt x="606" y="1319"/>
                  </a:lnTo>
                  <a:lnTo>
                    <a:pt x="607" y="1311"/>
                  </a:lnTo>
                  <a:lnTo>
                    <a:pt x="607" y="1307"/>
                  </a:lnTo>
                  <a:lnTo>
                    <a:pt x="604" y="1303"/>
                  </a:lnTo>
                  <a:lnTo>
                    <a:pt x="604" y="1303"/>
                  </a:lnTo>
                  <a:lnTo>
                    <a:pt x="600" y="1299"/>
                  </a:lnTo>
                  <a:lnTo>
                    <a:pt x="596" y="1296"/>
                  </a:lnTo>
                  <a:lnTo>
                    <a:pt x="596" y="1296"/>
                  </a:lnTo>
                  <a:lnTo>
                    <a:pt x="594" y="1294"/>
                  </a:lnTo>
                  <a:lnTo>
                    <a:pt x="594" y="1292"/>
                  </a:lnTo>
                  <a:lnTo>
                    <a:pt x="594" y="1292"/>
                  </a:lnTo>
                  <a:lnTo>
                    <a:pt x="594" y="1286"/>
                  </a:lnTo>
                  <a:lnTo>
                    <a:pt x="593" y="1282"/>
                  </a:lnTo>
                  <a:lnTo>
                    <a:pt x="589" y="1274"/>
                  </a:lnTo>
                  <a:lnTo>
                    <a:pt x="589" y="1274"/>
                  </a:lnTo>
                  <a:lnTo>
                    <a:pt x="587" y="1270"/>
                  </a:lnTo>
                  <a:lnTo>
                    <a:pt x="587" y="1270"/>
                  </a:lnTo>
                  <a:lnTo>
                    <a:pt x="587" y="1269"/>
                  </a:lnTo>
                  <a:lnTo>
                    <a:pt x="587" y="1266"/>
                  </a:lnTo>
                  <a:lnTo>
                    <a:pt x="584" y="1263"/>
                  </a:lnTo>
                  <a:lnTo>
                    <a:pt x="584" y="1263"/>
                  </a:lnTo>
                  <a:lnTo>
                    <a:pt x="583" y="1260"/>
                  </a:lnTo>
                  <a:lnTo>
                    <a:pt x="581" y="1257"/>
                  </a:lnTo>
                  <a:lnTo>
                    <a:pt x="581" y="1257"/>
                  </a:lnTo>
                  <a:lnTo>
                    <a:pt x="581" y="1253"/>
                  </a:lnTo>
                  <a:lnTo>
                    <a:pt x="580" y="1249"/>
                  </a:lnTo>
                  <a:lnTo>
                    <a:pt x="574" y="1239"/>
                  </a:lnTo>
                  <a:lnTo>
                    <a:pt x="574" y="1239"/>
                  </a:lnTo>
                  <a:lnTo>
                    <a:pt x="570" y="1232"/>
                  </a:lnTo>
                  <a:lnTo>
                    <a:pt x="570" y="1232"/>
                  </a:lnTo>
                  <a:lnTo>
                    <a:pt x="569" y="1229"/>
                  </a:lnTo>
                  <a:lnTo>
                    <a:pt x="569" y="1224"/>
                  </a:lnTo>
                  <a:lnTo>
                    <a:pt x="571" y="1214"/>
                  </a:lnTo>
                  <a:lnTo>
                    <a:pt x="571" y="1214"/>
                  </a:lnTo>
                  <a:lnTo>
                    <a:pt x="573" y="1207"/>
                  </a:lnTo>
                  <a:lnTo>
                    <a:pt x="573" y="1207"/>
                  </a:lnTo>
                  <a:lnTo>
                    <a:pt x="573" y="1199"/>
                  </a:lnTo>
                  <a:lnTo>
                    <a:pt x="573" y="1199"/>
                  </a:lnTo>
                  <a:lnTo>
                    <a:pt x="573" y="1187"/>
                  </a:lnTo>
                  <a:lnTo>
                    <a:pt x="573" y="1177"/>
                  </a:lnTo>
                  <a:lnTo>
                    <a:pt x="573" y="1177"/>
                  </a:lnTo>
                  <a:lnTo>
                    <a:pt x="574" y="1177"/>
                  </a:lnTo>
                  <a:lnTo>
                    <a:pt x="574" y="1177"/>
                  </a:lnTo>
                  <a:lnTo>
                    <a:pt x="574" y="1179"/>
                  </a:lnTo>
                  <a:lnTo>
                    <a:pt x="574" y="1179"/>
                  </a:lnTo>
                  <a:lnTo>
                    <a:pt x="579" y="1180"/>
                  </a:lnTo>
                  <a:lnTo>
                    <a:pt x="584" y="1182"/>
                  </a:lnTo>
                  <a:lnTo>
                    <a:pt x="584" y="1182"/>
                  </a:lnTo>
                  <a:lnTo>
                    <a:pt x="591" y="1183"/>
                  </a:lnTo>
                  <a:lnTo>
                    <a:pt x="596" y="1183"/>
                  </a:lnTo>
                  <a:lnTo>
                    <a:pt x="596" y="1183"/>
                  </a:lnTo>
                  <a:lnTo>
                    <a:pt x="600" y="1184"/>
                  </a:lnTo>
                  <a:lnTo>
                    <a:pt x="603" y="1184"/>
                  </a:lnTo>
                  <a:lnTo>
                    <a:pt x="603" y="1184"/>
                  </a:lnTo>
                  <a:lnTo>
                    <a:pt x="609" y="1189"/>
                  </a:lnTo>
                  <a:lnTo>
                    <a:pt x="609" y="1189"/>
                  </a:lnTo>
                  <a:lnTo>
                    <a:pt x="611" y="1192"/>
                  </a:lnTo>
                  <a:lnTo>
                    <a:pt x="611" y="1193"/>
                  </a:lnTo>
                  <a:lnTo>
                    <a:pt x="611" y="1193"/>
                  </a:lnTo>
                  <a:lnTo>
                    <a:pt x="611" y="1196"/>
                  </a:lnTo>
                  <a:lnTo>
                    <a:pt x="611" y="1196"/>
                  </a:lnTo>
                  <a:lnTo>
                    <a:pt x="609" y="1200"/>
                  </a:lnTo>
                  <a:lnTo>
                    <a:pt x="610" y="1206"/>
                  </a:lnTo>
                  <a:lnTo>
                    <a:pt x="610" y="1206"/>
                  </a:lnTo>
                  <a:lnTo>
                    <a:pt x="610" y="1212"/>
                  </a:lnTo>
                  <a:lnTo>
                    <a:pt x="610" y="1216"/>
                  </a:lnTo>
                  <a:lnTo>
                    <a:pt x="610" y="1216"/>
                  </a:lnTo>
                  <a:lnTo>
                    <a:pt x="610" y="1223"/>
                  </a:lnTo>
                  <a:lnTo>
                    <a:pt x="610" y="1230"/>
                  </a:lnTo>
                  <a:lnTo>
                    <a:pt x="610" y="1230"/>
                  </a:lnTo>
                  <a:lnTo>
                    <a:pt x="610" y="1240"/>
                  </a:lnTo>
                  <a:lnTo>
                    <a:pt x="610" y="1240"/>
                  </a:lnTo>
                  <a:lnTo>
                    <a:pt x="611" y="1246"/>
                  </a:lnTo>
                  <a:lnTo>
                    <a:pt x="611" y="1249"/>
                  </a:lnTo>
                  <a:lnTo>
                    <a:pt x="613" y="1253"/>
                  </a:lnTo>
                  <a:lnTo>
                    <a:pt x="613" y="1253"/>
                  </a:lnTo>
                  <a:lnTo>
                    <a:pt x="616" y="1257"/>
                  </a:lnTo>
                  <a:lnTo>
                    <a:pt x="616" y="1263"/>
                  </a:lnTo>
                  <a:lnTo>
                    <a:pt x="616" y="1263"/>
                  </a:lnTo>
                  <a:lnTo>
                    <a:pt x="617" y="1269"/>
                  </a:lnTo>
                  <a:lnTo>
                    <a:pt x="619" y="1276"/>
                  </a:lnTo>
                  <a:lnTo>
                    <a:pt x="619" y="1276"/>
                  </a:lnTo>
                  <a:lnTo>
                    <a:pt x="626" y="1284"/>
                  </a:lnTo>
                  <a:lnTo>
                    <a:pt x="630" y="1289"/>
                  </a:lnTo>
                  <a:lnTo>
                    <a:pt x="636" y="1290"/>
                  </a:lnTo>
                  <a:lnTo>
                    <a:pt x="636" y="1290"/>
                  </a:lnTo>
                  <a:lnTo>
                    <a:pt x="640" y="1290"/>
                  </a:lnTo>
                  <a:lnTo>
                    <a:pt x="640" y="1290"/>
                  </a:lnTo>
                  <a:lnTo>
                    <a:pt x="641" y="1290"/>
                  </a:lnTo>
                  <a:lnTo>
                    <a:pt x="641" y="1290"/>
                  </a:lnTo>
                  <a:lnTo>
                    <a:pt x="641" y="1290"/>
                  </a:lnTo>
                  <a:lnTo>
                    <a:pt x="641" y="1290"/>
                  </a:lnTo>
                  <a:lnTo>
                    <a:pt x="640" y="1299"/>
                  </a:lnTo>
                  <a:lnTo>
                    <a:pt x="640" y="1301"/>
                  </a:lnTo>
                  <a:lnTo>
                    <a:pt x="641" y="1306"/>
                  </a:lnTo>
                  <a:lnTo>
                    <a:pt x="641" y="1306"/>
                  </a:lnTo>
                  <a:lnTo>
                    <a:pt x="646" y="1310"/>
                  </a:lnTo>
                  <a:lnTo>
                    <a:pt x="650" y="1313"/>
                  </a:lnTo>
                  <a:lnTo>
                    <a:pt x="650" y="1313"/>
                  </a:lnTo>
                  <a:lnTo>
                    <a:pt x="650" y="1314"/>
                  </a:lnTo>
                  <a:lnTo>
                    <a:pt x="650" y="1314"/>
                  </a:lnTo>
                  <a:lnTo>
                    <a:pt x="651" y="1319"/>
                  </a:lnTo>
                  <a:lnTo>
                    <a:pt x="656" y="1323"/>
                  </a:lnTo>
                  <a:lnTo>
                    <a:pt x="656" y="1323"/>
                  </a:lnTo>
                  <a:lnTo>
                    <a:pt x="661" y="1326"/>
                  </a:lnTo>
                  <a:lnTo>
                    <a:pt x="667" y="1327"/>
                  </a:lnTo>
                  <a:lnTo>
                    <a:pt x="667" y="1327"/>
                  </a:lnTo>
                  <a:lnTo>
                    <a:pt x="669" y="1327"/>
                  </a:lnTo>
                  <a:lnTo>
                    <a:pt x="669" y="1327"/>
                  </a:lnTo>
                  <a:lnTo>
                    <a:pt x="667" y="1330"/>
                  </a:lnTo>
                  <a:lnTo>
                    <a:pt x="666" y="1333"/>
                  </a:lnTo>
                  <a:lnTo>
                    <a:pt x="666" y="1333"/>
                  </a:lnTo>
                  <a:lnTo>
                    <a:pt x="660" y="1340"/>
                  </a:lnTo>
                  <a:lnTo>
                    <a:pt x="659" y="1344"/>
                  </a:lnTo>
                  <a:lnTo>
                    <a:pt x="659" y="1349"/>
                  </a:lnTo>
                  <a:lnTo>
                    <a:pt x="659" y="1349"/>
                  </a:lnTo>
                  <a:lnTo>
                    <a:pt x="661" y="1353"/>
                  </a:lnTo>
                  <a:lnTo>
                    <a:pt x="667" y="1357"/>
                  </a:lnTo>
                  <a:lnTo>
                    <a:pt x="667" y="1357"/>
                  </a:lnTo>
                  <a:lnTo>
                    <a:pt x="674" y="1363"/>
                  </a:lnTo>
                  <a:lnTo>
                    <a:pt x="677" y="1367"/>
                  </a:lnTo>
                  <a:lnTo>
                    <a:pt x="677" y="1367"/>
                  </a:lnTo>
                  <a:lnTo>
                    <a:pt x="679" y="1373"/>
                  </a:lnTo>
                  <a:lnTo>
                    <a:pt x="679" y="1373"/>
                  </a:lnTo>
                  <a:lnTo>
                    <a:pt x="681" y="1380"/>
                  </a:lnTo>
                  <a:lnTo>
                    <a:pt x="681" y="1380"/>
                  </a:lnTo>
                  <a:lnTo>
                    <a:pt x="684" y="1386"/>
                  </a:lnTo>
                  <a:lnTo>
                    <a:pt x="690" y="1391"/>
                  </a:lnTo>
                  <a:lnTo>
                    <a:pt x="690" y="1391"/>
                  </a:lnTo>
                  <a:lnTo>
                    <a:pt x="699" y="1397"/>
                  </a:lnTo>
                  <a:lnTo>
                    <a:pt x="699" y="1397"/>
                  </a:lnTo>
                  <a:lnTo>
                    <a:pt x="704" y="1401"/>
                  </a:lnTo>
                  <a:lnTo>
                    <a:pt x="704" y="1401"/>
                  </a:lnTo>
                  <a:lnTo>
                    <a:pt x="706" y="1403"/>
                  </a:lnTo>
                  <a:lnTo>
                    <a:pt x="706" y="1403"/>
                  </a:lnTo>
                  <a:lnTo>
                    <a:pt x="709" y="1406"/>
                  </a:lnTo>
                  <a:lnTo>
                    <a:pt x="713" y="1416"/>
                  </a:lnTo>
                  <a:lnTo>
                    <a:pt x="713" y="1416"/>
                  </a:lnTo>
                  <a:lnTo>
                    <a:pt x="717" y="1426"/>
                  </a:lnTo>
                  <a:lnTo>
                    <a:pt x="723" y="1434"/>
                  </a:lnTo>
                  <a:lnTo>
                    <a:pt x="723" y="1434"/>
                  </a:lnTo>
                  <a:lnTo>
                    <a:pt x="729" y="1443"/>
                  </a:lnTo>
                  <a:lnTo>
                    <a:pt x="731" y="1447"/>
                  </a:lnTo>
                  <a:lnTo>
                    <a:pt x="731" y="1450"/>
                  </a:lnTo>
                  <a:lnTo>
                    <a:pt x="731" y="1450"/>
                  </a:lnTo>
                  <a:lnTo>
                    <a:pt x="729" y="1454"/>
                  </a:lnTo>
                  <a:lnTo>
                    <a:pt x="729" y="1459"/>
                  </a:lnTo>
                  <a:lnTo>
                    <a:pt x="729" y="1463"/>
                  </a:lnTo>
                  <a:lnTo>
                    <a:pt x="731" y="1469"/>
                  </a:lnTo>
                  <a:lnTo>
                    <a:pt x="731" y="1469"/>
                  </a:lnTo>
                  <a:lnTo>
                    <a:pt x="734" y="1471"/>
                  </a:lnTo>
                  <a:lnTo>
                    <a:pt x="734" y="1471"/>
                  </a:lnTo>
                  <a:lnTo>
                    <a:pt x="737" y="1477"/>
                  </a:lnTo>
                  <a:lnTo>
                    <a:pt x="737" y="1479"/>
                  </a:lnTo>
                  <a:lnTo>
                    <a:pt x="737" y="1481"/>
                  </a:lnTo>
                  <a:lnTo>
                    <a:pt x="737" y="1481"/>
                  </a:lnTo>
                  <a:lnTo>
                    <a:pt x="734" y="1484"/>
                  </a:lnTo>
                  <a:lnTo>
                    <a:pt x="731" y="1487"/>
                  </a:lnTo>
                  <a:lnTo>
                    <a:pt x="731" y="1487"/>
                  </a:lnTo>
                  <a:lnTo>
                    <a:pt x="729" y="1490"/>
                  </a:lnTo>
                  <a:lnTo>
                    <a:pt x="727" y="1494"/>
                  </a:lnTo>
                  <a:lnTo>
                    <a:pt x="726" y="1497"/>
                  </a:lnTo>
                  <a:lnTo>
                    <a:pt x="729" y="1501"/>
                  </a:lnTo>
                  <a:lnTo>
                    <a:pt x="729" y="1501"/>
                  </a:lnTo>
                  <a:lnTo>
                    <a:pt x="730" y="1503"/>
                  </a:lnTo>
                  <a:lnTo>
                    <a:pt x="730" y="1503"/>
                  </a:lnTo>
                  <a:lnTo>
                    <a:pt x="727" y="1504"/>
                  </a:lnTo>
                  <a:lnTo>
                    <a:pt x="727" y="1504"/>
                  </a:lnTo>
                  <a:lnTo>
                    <a:pt x="723" y="1509"/>
                  </a:lnTo>
                  <a:lnTo>
                    <a:pt x="723" y="1509"/>
                  </a:lnTo>
                  <a:lnTo>
                    <a:pt x="721" y="1513"/>
                  </a:lnTo>
                  <a:lnTo>
                    <a:pt x="720" y="1520"/>
                  </a:lnTo>
                  <a:lnTo>
                    <a:pt x="723" y="1527"/>
                  </a:lnTo>
                  <a:lnTo>
                    <a:pt x="726" y="1531"/>
                  </a:lnTo>
                  <a:lnTo>
                    <a:pt x="729" y="1534"/>
                  </a:lnTo>
                  <a:lnTo>
                    <a:pt x="729" y="1534"/>
                  </a:lnTo>
                  <a:lnTo>
                    <a:pt x="730" y="1537"/>
                  </a:lnTo>
                  <a:lnTo>
                    <a:pt x="731" y="1540"/>
                  </a:lnTo>
                  <a:lnTo>
                    <a:pt x="731" y="1540"/>
                  </a:lnTo>
                  <a:lnTo>
                    <a:pt x="731" y="1543"/>
                  </a:lnTo>
                  <a:lnTo>
                    <a:pt x="731" y="1546"/>
                  </a:lnTo>
                  <a:lnTo>
                    <a:pt x="734" y="1547"/>
                  </a:lnTo>
                  <a:lnTo>
                    <a:pt x="739" y="1550"/>
                  </a:lnTo>
                  <a:lnTo>
                    <a:pt x="739" y="1550"/>
                  </a:lnTo>
                  <a:lnTo>
                    <a:pt x="746" y="1551"/>
                  </a:lnTo>
                  <a:lnTo>
                    <a:pt x="750" y="1551"/>
                  </a:lnTo>
                  <a:lnTo>
                    <a:pt x="750" y="1551"/>
                  </a:lnTo>
                  <a:lnTo>
                    <a:pt x="754" y="1553"/>
                  </a:lnTo>
                  <a:lnTo>
                    <a:pt x="757" y="1557"/>
                  </a:lnTo>
                  <a:lnTo>
                    <a:pt x="757" y="1557"/>
                  </a:lnTo>
                  <a:lnTo>
                    <a:pt x="759" y="1564"/>
                  </a:lnTo>
                  <a:lnTo>
                    <a:pt x="759" y="1564"/>
                  </a:lnTo>
                  <a:lnTo>
                    <a:pt x="761" y="1570"/>
                  </a:lnTo>
                  <a:lnTo>
                    <a:pt x="769" y="1574"/>
                  </a:lnTo>
                  <a:lnTo>
                    <a:pt x="769" y="1574"/>
                  </a:lnTo>
                  <a:lnTo>
                    <a:pt x="776" y="1579"/>
                  </a:lnTo>
                  <a:lnTo>
                    <a:pt x="781" y="1580"/>
                  </a:lnTo>
                  <a:lnTo>
                    <a:pt x="781" y="1580"/>
                  </a:lnTo>
                  <a:lnTo>
                    <a:pt x="789" y="1581"/>
                  </a:lnTo>
                  <a:lnTo>
                    <a:pt x="789" y="1581"/>
                  </a:lnTo>
                  <a:lnTo>
                    <a:pt x="797" y="1583"/>
                  </a:lnTo>
                  <a:lnTo>
                    <a:pt x="797" y="1583"/>
                  </a:lnTo>
                  <a:lnTo>
                    <a:pt x="800" y="1583"/>
                  </a:lnTo>
                  <a:lnTo>
                    <a:pt x="800" y="1583"/>
                  </a:lnTo>
                  <a:lnTo>
                    <a:pt x="801" y="1583"/>
                  </a:lnTo>
                  <a:lnTo>
                    <a:pt x="801" y="1583"/>
                  </a:lnTo>
                  <a:lnTo>
                    <a:pt x="804" y="1583"/>
                  </a:lnTo>
                  <a:lnTo>
                    <a:pt x="804" y="1583"/>
                  </a:lnTo>
                  <a:lnTo>
                    <a:pt x="810" y="1589"/>
                  </a:lnTo>
                  <a:lnTo>
                    <a:pt x="810" y="1589"/>
                  </a:lnTo>
                  <a:lnTo>
                    <a:pt x="813" y="1593"/>
                  </a:lnTo>
                  <a:lnTo>
                    <a:pt x="813" y="1593"/>
                  </a:lnTo>
                  <a:lnTo>
                    <a:pt x="817" y="1596"/>
                  </a:lnTo>
                  <a:lnTo>
                    <a:pt x="821" y="1599"/>
                  </a:lnTo>
                  <a:lnTo>
                    <a:pt x="824" y="1600"/>
                  </a:lnTo>
                  <a:lnTo>
                    <a:pt x="824" y="1600"/>
                  </a:lnTo>
                  <a:lnTo>
                    <a:pt x="830" y="1604"/>
                  </a:lnTo>
                  <a:lnTo>
                    <a:pt x="830" y="1604"/>
                  </a:lnTo>
                  <a:lnTo>
                    <a:pt x="836" y="1609"/>
                  </a:lnTo>
                  <a:lnTo>
                    <a:pt x="846" y="1613"/>
                  </a:lnTo>
                  <a:lnTo>
                    <a:pt x="846" y="1613"/>
                  </a:lnTo>
                  <a:lnTo>
                    <a:pt x="851" y="1616"/>
                  </a:lnTo>
                  <a:lnTo>
                    <a:pt x="857" y="1620"/>
                  </a:lnTo>
                  <a:lnTo>
                    <a:pt x="857" y="1620"/>
                  </a:lnTo>
                  <a:lnTo>
                    <a:pt x="863" y="1624"/>
                  </a:lnTo>
                  <a:lnTo>
                    <a:pt x="867" y="1626"/>
                  </a:lnTo>
                  <a:lnTo>
                    <a:pt x="871" y="1626"/>
                  </a:lnTo>
                  <a:lnTo>
                    <a:pt x="871" y="1626"/>
                  </a:lnTo>
                  <a:lnTo>
                    <a:pt x="876" y="1626"/>
                  </a:lnTo>
                  <a:lnTo>
                    <a:pt x="876" y="1626"/>
                  </a:lnTo>
                  <a:lnTo>
                    <a:pt x="877" y="1626"/>
                  </a:lnTo>
                  <a:lnTo>
                    <a:pt x="877" y="1626"/>
                  </a:lnTo>
                  <a:lnTo>
                    <a:pt x="879" y="1626"/>
                  </a:lnTo>
                  <a:lnTo>
                    <a:pt x="883" y="1629"/>
                  </a:lnTo>
                  <a:lnTo>
                    <a:pt x="884" y="1630"/>
                  </a:lnTo>
                  <a:lnTo>
                    <a:pt x="884" y="1630"/>
                  </a:lnTo>
                  <a:lnTo>
                    <a:pt x="894" y="1636"/>
                  </a:lnTo>
                  <a:lnTo>
                    <a:pt x="903" y="1640"/>
                  </a:lnTo>
                  <a:lnTo>
                    <a:pt x="903" y="1640"/>
                  </a:lnTo>
                  <a:lnTo>
                    <a:pt x="909" y="1644"/>
                  </a:lnTo>
                  <a:lnTo>
                    <a:pt x="909" y="1644"/>
                  </a:lnTo>
                  <a:lnTo>
                    <a:pt x="911" y="1646"/>
                  </a:lnTo>
                  <a:lnTo>
                    <a:pt x="919" y="1646"/>
                  </a:lnTo>
                  <a:lnTo>
                    <a:pt x="919" y="1646"/>
                  </a:lnTo>
                  <a:lnTo>
                    <a:pt x="923" y="1646"/>
                  </a:lnTo>
                  <a:lnTo>
                    <a:pt x="927" y="1646"/>
                  </a:lnTo>
                  <a:lnTo>
                    <a:pt x="927" y="1646"/>
                  </a:lnTo>
                  <a:lnTo>
                    <a:pt x="933" y="1647"/>
                  </a:lnTo>
                  <a:lnTo>
                    <a:pt x="933" y="1647"/>
                  </a:lnTo>
                  <a:lnTo>
                    <a:pt x="937" y="1647"/>
                  </a:lnTo>
                  <a:lnTo>
                    <a:pt x="943" y="1646"/>
                  </a:lnTo>
                  <a:lnTo>
                    <a:pt x="957" y="1640"/>
                  </a:lnTo>
                  <a:lnTo>
                    <a:pt x="961" y="1639"/>
                  </a:lnTo>
                  <a:lnTo>
                    <a:pt x="961" y="1639"/>
                  </a:lnTo>
                  <a:lnTo>
                    <a:pt x="969" y="1636"/>
                  </a:lnTo>
                  <a:lnTo>
                    <a:pt x="974" y="1634"/>
                  </a:lnTo>
                  <a:lnTo>
                    <a:pt x="977" y="1634"/>
                  </a:lnTo>
                  <a:lnTo>
                    <a:pt x="977" y="1634"/>
                  </a:lnTo>
                  <a:lnTo>
                    <a:pt x="986" y="1633"/>
                  </a:lnTo>
                  <a:lnTo>
                    <a:pt x="990" y="1633"/>
                  </a:lnTo>
                  <a:lnTo>
                    <a:pt x="993" y="1634"/>
                  </a:lnTo>
                  <a:lnTo>
                    <a:pt x="993" y="1634"/>
                  </a:lnTo>
                  <a:lnTo>
                    <a:pt x="1003" y="1639"/>
                  </a:lnTo>
                  <a:lnTo>
                    <a:pt x="1010" y="1644"/>
                  </a:lnTo>
                  <a:lnTo>
                    <a:pt x="1010" y="1644"/>
                  </a:lnTo>
                  <a:lnTo>
                    <a:pt x="1017" y="1653"/>
                  </a:lnTo>
                  <a:lnTo>
                    <a:pt x="1023" y="1660"/>
                  </a:lnTo>
                  <a:lnTo>
                    <a:pt x="1023" y="1660"/>
                  </a:lnTo>
                  <a:lnTo>
                    <a:pt x="1023" y="1663"/>
                  </a:lnTo>
                  <a:lnTo>
                    <a:pt x="1026" y="1663"/>
                  </a:lnTo>
                  <a:lnTo>
                    <a:pt x="1026" y="1663"/>
                  </a:lnTo>
                  <a:lnTo>
                    <a:pt x="1029" y="1669"/>
                  </a:lnTo>
                  <a:lnTo>
                    <a:pt x="1029" y="1669"/>
                  </a:lnTo>
                  <a:lnTo>
                    <a:pt x="1033" y="1674"/>
                  </a:lnTo>
                  <a:lnTo>
                    <a:pt x="1036" y="1677"/>
                  </a:lnTo>
                  <a:lnTo>
                    <a:pt x="1036" y="1677"/>
                  </a:lnTo>
                  <a:lnTo>
                    <a:pt x="1037" y="1681"/>
                  </a:lnTo>
                  <a:lnTo>
                    <a:pt x="1040" y="1686"/>
                  </a:lnTo>
                  <a:lnTo>
                    <a:pt x="1049" y="1694"/>
                  </a:lnTo>
                  <a:lnTo>
                    <a:pt x="1060" y="1703"/>
                  </a:lnTo>
                  <a:lnTo>
                    <a:pt x="1060" y="1703"/>
                  </a:lnTo>
                  <a:lnTo>
                    <a:pt x="1069" y="1707"/>
                  </a:lnTo>
                  <a:lnTo>
                    <a:pt x="1077" y="1707"/>
                  </a:lnTo>
                  <a:lnTo>
                    <a:pt x="1077" y="1707"/>
                  </a:lnTo>
                  <a:lnTo>
                    <a:pt x="1081" y="1707"/>
                  </a:lnTo>
                  <a:lnTo>
                    <a:pt x="1081" y="1707"/>
                  </a:lnTo>
                  <a:lnTo>
                    <a:pt x="1087" y="1706"/>
                  </a:lnTo>
                  <a:lnTo>
                    <a:pt x="1087" y="1706"/>
                  </a:lnTo>
                  <a:lnTo>
                    <a:pt x="1091" y="1707"/>
                  </a:lnTo>
                  <a:lnTo>
                    <a:pt x="1091" y="1707"/>
                  </a:lnTo>
                  <a:lnTo>
                    <a:pt x="1094" y="1710"/>
                  </a:lnTo>
                  <a:lnTo>
                    <a:pt x="1094" y="1710"/>
                  </a:lnTo>
                  <a:lnTo>
                    <a:pt x="1100" y="1714"/>
                  </a:lnTo>
                  <a:lnTo>
                    <a:pt x="1106" y="1717"/>
                  </a:lnTo>
                  <a:lnTo>
                    <a:pt x="1111" y="1717"/>
                  </a:lnTo>
                  <a:lnTo>
                    <a:pt x="1116" y="1717"/>
                  </a:lnTo>
                  <a:lnTo>
                    <a:pt x="1116" y="1717"/>
                  </a:lnTo>
                  <a:lnTo>
                    <a:pt x="1119" y="1719"/>
                  </a:lnTo>
                  <a:lnTo>
                    <a:pt x="1121" y="1721"/>
                  </a:lnTo>
                  <a:lnTo>
                    <a:pt x="1121" y="1721"/>
                  </a:lnTo>
                  <a:lnTo>
                    <a:pt x="1131" y="1724"/>
                  </a:lnTo>
                  <a:lnTo>
                    <a:pt x="1144" y="1726"/>
                  </a:lnTo>
                  <a:lnTo>
                    <a:pt x="1144" y="1726"/>
                  </a:lnTo>
                  <a:lnTo>
                    <a:pt x="1151" y="1724"/>
                  </a:lnTo>
                  <a:lnTo>
                    <a:pt x="1156" y="1723"/>
                  </a:lnTo>
                  <a:lnTo>
                    <a:pt x="1156" y="1723"/>
                  </a:lnTo>
                  <a:lnTo>
                    <a:pt x="1156" y="1723"/>
                  </a:lnTo>
                  <a:lnTo>
                    <a:pt x="1156" y="1723"/>
                  </a:lnTo>
                  <a:lnTo>
                    <a:pt x="1157" y="1723"/>
                  </a:lnTo>
                  <a:lnTo>
                    <a:pt x="1157" y="1723"/>
                  </a:lnTo>
                  <a:lnTo>
                    <a:pt x="1157" y="1726"/>
                  </a:lnTo>
                  <a:lnTo>
                    <a:pt x="1157" y="1726"/>
                  </a:lnTo>
                  <a:lnTo>
                    <a:pt x="1153" y="1726"/>
                  </a:lnTo>
                  <a:lnTo>
                    <a:pt x="1151" y="1727"/>
                  </a:lnTo>
                  <a:lnTo>
                    <a:pt x="1151" y="1727"/>
                  </a:lnTo>
                  <a:lnTo>
                    <a:pt x="1151" y="1731"/>
                  </a:lnTo>
                  <a:lnTo>
                    <a:pt x="1151" y="1731"/>
                  </a:lnTo>
                  <a:lnTo>
                    <a:pt x="1167" y="1751"/>
                  </a:lnTo>
                  <a:lnTo>
                    <a:pt x="1196" y="1784"/>
                  </a:lnTo>
                  <a:lnTo>
                    <a:pt x="1196" y="1784"/>
                  </a:lnTo>
                  <a:lnTo>
                    <a:pt x="1196" y="1788"/>
                  </a:lnTo>
                  <a:lnTo>
                    <a:pt x="1196" y="1788"/>
                  </a:lnTo>
                  <a:lnTo>
                    <a:pt x="1196" y="1790"/>
                  </a:lnTo>
                  <a:lnTo>
                    <a:pt x="1196" y="1790"/>
                  </a:lnTo>
                  <a:lnTo>
                    <a:pt x="1196" y="1793"/>
                  </a:lnTo>
                  <a:lnTo>
                    <a:pt x="1197" y="1794"/>
                  </a:lnTo>
                  <a:lnTo>
                    <a:pt x="1197" y="1794"/>
                  </a:lnTo>
                  <a:lnTo>
                    <a:pt x="1197" y="1796"/>
                  </a:lnTo>
                  <a:lnTo>
                    <a:pt x="1196" y="1797"/>
                  </a:lnTo>
                  <a:lnTo>
                    <a:pt x="1196" y="1797"/>
                  </a:lnTo>
                  <a:lnTo>
                    <a:pt x="1193" y="1800"/>
                  </a:lnTo>
                  <a:lnTo>
                    <a:pt x="1191" y="1803"/>
                  </a:lnTo>
                  <a:lnTo>
                    <a:pt x="1191" y="1807"/>
                  </a:lnTo>
                  <a:lnTo>
                    <a:pt x="1193" y="1810"/>
                  </a:lnTo>
                  <a:lnTo>
                    <a:pt x="1193" y="1810"/>
                  </a:lnTo>
                  <a:lnTo>
                    <a:pt x="1197" y="1817"/>
                  </a:lnTo>
                  <a:lnTo>
                    <a:pt x="1197" y="1817"/>
                  </a:lnTo>
                  <a:lnTo>
                    <a:pt x="1197" y="1817"/>
                  </a:lnTo>
                  <a:lnTo>
                    <a:pt x="1197" y="1817"/>
                  </a:lnTo>
                  <a:lnTo>
                    <a:pt x="1199" y="1821"/>
                  </a:lnTo>
                  <a:lnTo>
                    <a:pt x="1200" y="1824"/>
                  </a:lnTo>
                  <a:lnTo>
                    <a:pt x="1203" y="1826"/>
                  </a:lnTo>
                  <a:lnTo>
                    <a:pt x="1204" y="1827"/>
                  </a:lnTo>
                  <a:lnTo>
                    <a:pt x="1204" y="1827"/>
                  </a:lnTo>
                  <a:lnTo>
                    <a:pt x="1209" y="1830"/>
                  </a:lnTo>
                  <a:lnTo>
                    <a:pt x="1213" y="1831"/>
                  </a:lnTo>
                  <a:lnTo>
                    <a:pt x="1213" y="1831"/>
                  </a:lnTo>
                  <a:lnTo>
                    <a:pt x="1214" y="1830"/>
                  </a:lnTo>
                  <a:lnTo>
                    <a:pt x="1216" y="1830"/>
                  </a:lnTo>
                  <a:lnTo>
                    <a:pt x="1217" y="1827"/>
                  </a:lnTo>
                  <a:lnTo>
                    <a:pt x="1217" y="1827"/>
                  </a:lnTo>
                  <a:lnTo>
                    <a:pt x="1217" y="1826"/>
                  </a:lnTo>
                  <a:lnTo>
                    <a:pt x="1217" y="1826"/>
                  </a:lnTo>
                  <a:lnTo>
                    <a:pt x="1219" y="1823"/>
                  </a:lnTo>
                  <a:lnTo>
                    <a:pt x="1217" y="1820"/>
                  </a:lnTo>
                  <a:lnTo>
                    <a:pt x="1217" y="1820"/>
                  </a:lnTo>
                  <a:lnTo>
                    <a:pt x="1216" y="1817"/>
                  </a:lnTo>
                  <a:lnTo>
                    <a:pt x="1214" y="1817"/>
                  </a:lnTo>
                  <a:lnTo>
                    <a:pt x="1214" y="1817"/>
                  </a:lnTo>
                  <a:lnTo>
                    <a:pt x="1214" y="1816"/>
                  </a:lnTo>
                  <a:lnTo>
                    <a:pt x="1214" y="1816"/>
                  </a:lnTo>
                  <a:lnTo>
                    <a:pt x="1214" y="1814"/>
                  </a:lnTo>
                  <a:lnTo>
                    <a:pt x="1214" y="1814"/>
                  </a:lnTo>
                  <a:lnTo>
                    <a:pt x="1216" y="1816"/>
                  </a:lnTo>
                  <a:lnTo>
                    <a:pt x="1216" y="1816"/>
                  </a:lnTo>
                  <a:lnTo>
                    <a:pt x="1216" y="1816"/>
                  </a:lnTo>
                  <a:lnTo>
                    <a:pt x="1220" y="1823"/>
                  </a:lnTo>
                  <a:lnTo>
                    <a:pt x="1220" y="1823"/>
                  </a:lnTo>
                  <a:lnTo>
                    <a:pt x="1220" y="1824"/>
                  </a:lnTo>
                  <a:lnTo>
                    <a:pt x="1220" y="1824"/>
                  </a:lnTo>
                  <a:lnTo>
                    <a:pt x="1220" y="1826"/>
                  </a:lnTo>
                  <a:lnTo>
                    <a:pt x="1221" y="1828"/>
                  </a:lnTo>
                  <a:lnTo>
                    <a:pt x="1221" y="1828"/>
                  </a:lnTo>
                  <a:lnTo>
                    <a:pt x="1223" y="1828"/>
                  </a:lnTo>
                  <a:lnTo>
                    <a:pt x="1223" y="1828"/>
                  </a:lnTo>
                  <a:lnTo>
                    <a:pt x="1223" y="1828"/>
                  </a:lnTo>
                  <a:lnTo>
                    <a:pt x="1223" y="1828"/>
                  </a:lnTo>
                  <a:lnTo>
                    <a:pt x="1227" y="1831"/>
                  </a:lnTo>
                  <a:lnTo>
                    <a:pt x="1227" y="1831"/>
                  </a:lnTo>
                  <a:lnTo>
                    <a:pt x="1231" y="1833"/>
                  </a:lnTo>
                  <a:lnTo>
                    <a:pt x="1234" y="1834"/>
                  </a:lnTo>
                  <a:lnTo>
                    <a:pt x="1234" y="1834"/>
                  </a:lnTo>
                  <a:lnTo>
                    <a:pt x="1234" y="1834"/>
                  </a:lnTo>
                  <a:lnTo>
                    <a:pt x="1239" y="1837"/>
                  </a:lnTo>
                  <a:lnTo>
                    <a:pt x="1241" y="1841"/>
                  </a:lnTo>
                  <a:lnTo>
                    <a:pt x="1243" y="1844"/>
                  </a:lnTo>
                  <a:lnTo>
                    <a:pt x="1243" y="1844"/>
                  </a:lnTo>
                  <a:lnTo>
                    <a:pt x="1243" y="1847"/>
                  </a:lnTo>
                  <a:lnTo>
                    <a:pt x="1241" y="1848"/>
                  </a:lnTo>
                  <a:lnTo>
                    <a:pt x="1241" y="1848"/>
                  </a:lnTo>
                  <a:lnTo>
                    <a:pt x="1240" y="1853"/>
                  </a:lnTo>
                  <a:lnTo>
                    <a:pt x="1240" y="1856"/>
                  </a:lnTo>
                  <a:lnTo>
                    <a:pt x="1241" y="1858"/>
                  </a:lnTo>
                  <a:lnTo>
                    <a:pt x="1241" y="1858"/>
                  </a:lnTo>
                  <a:lnTo>
                    <a:pt x="1246" y="1861"/>
                  </a:lnTo>
                  <a:lnTo>
                    <a:pt x="1251" y="1863"/>
                  </a:lnTo>
                  <a:lnTo>
                    <a:pt x="1251" y="1863"/>
                  </a:lnTo>
                  <a:lnTo>
                    <a:pt x="1256" y="1864"/>
                  </a:lnTo>
                  <a:lnTo>
                    <a:pt x="1259" y="1867"/>
                  </a:lnTo>
                  <a:lnTo>
                    <a:pt x="1259" y="1867"/>
                  </a:lnTo>
                  <a:lnTo>
                    <a:pt x="1260" y="1871"/>
                  </a:lnTo>
                  <a:lnTo>
                    <a:pt x="1260" y="1871"/>
                  </a:lnTo>
                  <a:lnTo>
                    <a:pt x="1261" y="1877"/>
                  </a:lnTo>
                  <a:lnTo>
                    <a:pt x="1263" y="1880"/>
                  </a:lnTo>
                  <a:lnTo>
                    <a:pt x="1264" y="1880"/>
                  </a:lnTo>
                  <a:lnTo>
                    <a:pt x="1264" y="1880"/>
                  </a:lnTo>
                  <a:lnTo>
                    <a:pt x="1267" y="1878"/>
                  </a:lnTo>
                  <a:lnTo>
                    <a:pt x="1269" y="1877"/>
                  </a:lnTo>
                  <a:lnTo>
                    <a:pt x="1269" y="1877"/>
                  </a:lnTo>
                  <a:lnTo>
                    <a:pt x="1270" y="1874"/>
                  </a:lnTo>
                  <a:lnTo>
                    <a:pt x="1271" y="1868"/>
                  </a:lnTo>
                  <a:lnTo>
                    <a:pt x="1271" y="1868"/>
                  </a:lnTo>
                  <a:lnTo>
                    <a:pt x="1283" y="1871"/>
                  </a:lnTo>
                  <a:lnTo>
                    <a:pt x="1283" y="1871"/>
                  </a:lnTo>
                  <a:lnTo>
                    <a:pt x="1289" y="1871"/>
                  </a:lnTo>
                  <a:lnTo>
                    <a:pt x="1293" y="1873"/>
                  </a:lnTo>
                  <a:lnTo>
                    <a:pt x="1293" y="1873"/>
                  </a:lnTo>
                  <a:lnTo>
                    <a:pt x="1296" y="1876"/>
                  </a:lnTo>
                  <a:lnTo>
                    <a:pt x="1296" y="1876"/>
                  </a:lnTo>
                  <a:lnTo>
                    <a:pt x="1297" y="1877"/>
                  </a:lnTo>
                  <a:lnTo>
                    <a:pt x="1297" y="1880"/>
                  </a:lnTo>
                  <a:lnTo>
                    <a:pt x="1297" y="1880"/>
                  </a:lnTo>
                  <a:lnTo>
                    <a:pt x="1299" y="1884"/>
                  </a:lnTo>
                  <a:lnTo>
                    <a:pt x="1299" y="1884"/>
                  </a:lnTo>
                  <a:lnTo>
                    <a:pt x="1303" y="1886"/>
                  </a:lnTo>
                  <a:lnTo>
                    <a:pt x="1307" y="1887"/>
                  </a:lnTo>
                  <a:lnTo>
                    <a:pt x="1307" y="1887"/>
                  </a:lnTo>
                  <a:lnTo>
                    <a:pt x="1310" y="1887"/>
                  </a:lnTo>
                  <a:lnTo>
                    <a:pt x="1310" y="1887"/>
                  </a:lnTo>
                  <a:lnTo>
                    <a:pt x="1313" y="1890"/>
                  </a:lnTo>
                  <a:lnTo>
                    <a:pt x="1313" y="1897"/>
                  </a:lnTo>
                  <a:lnTo>
                    <a:pt x="1313" y="1897"/>
                  </a:lnTo>
                  <a:lnTo>
                    <a:pt x="1314" y="1900"/>
                  </a:lnTo>
                  <a:lnTo>
                    <a:pt x="1316" y="1901"/>
                  </a:lnTo>
                  <a:lnTo>
                    <a:pt x="1316" y="1901"/>
                  </a:lnTo>
                  <a:lnTo>
                    <a:pt x="1317" y="1901"/>
                  </a:lnTo>
                  <a:lnTo>
                    <a:pt x="1317" y="1901"/>
                  </a:lnTo>
                  <a:lnTo>
                    <a:pt x="1321" y="1900"/>
                  </a:lnTo>
                  <a:lnTo>
                    <a:pt x="1326" y="1897"/>
                  </a:lnTo>
                  <a:lnTo>
                    <a:pt x="1326" y="1897"/>
                  </a:lnTo>
                  <a:lnTo>
                    <a:pt x="1331" y="1893"/>
                  </a:lnTo>
                  <a:lnTo>
                    <a:pt x="1331" y="1893"/>
                  </a:lnTo>
                  <a:lnTo>
                    <a:pt x="1336" y="1891"/>
                  </a:lnTo>
                  <a:lnTo>
                    <a:pt x="1337" y="1888"/>
                  </a:lnTo>
                  <a:lnTo>
                    <a:pt x="1337" y="1884"/>
                  </a:lnTo>
                  <a:lnTo>
                    <a:pt x="1336" y="1878"/>
                  </a:lnTo>
                  <a:lnTo>
                    <a:pt x="1336" y="1877"/>
                  </a:lnTo>
                  <a:lnTo>
                    <a:pt x="1336" y="1877"/>
                  </a:lnTo>
                  <a:lnTo>
                    <a:pt x="1331" y="1870"/>
                  </a:lnTo>
                  <a:lnTo>
                    <a:pt x="1331" y="1870"/>
                  </a:lnTo>
                  <a:lnTo>
                    <a:pt x="1331" y="1866"/>
                  </a:lnTo>
                  <a:lnTo>
                    <a:pt x="1331" y="1866"/>
                  </a:lnTo>
                  <a:lnTo>
                    <a:pt x="1331" y="1863"/>
                  </a:lnTo>
                  <a:lnTo>
                    <a:pt x="1331" y="1863"/>
                  </a:lnTo>
                  <a:lnTo>
                    <a:pt x="1331" y="1863"/>
                  </a:lnTo>
                  <a:lnTo>
                    <a:pt x="1340" y="1857"/>
                  </a:lnTo>
                  <a:lnTo>
                    <a:pt x="1347" y="1850"/>
                  </a:lnTo>
                  <a:lnTo>
                    <a:pt x="1347" y="1850"/>
                  </a:lnTo>
                  <a:lnTo>
                    <a:pt x="1351" y="1847"/>
                  </a:lnTo>
                  <a:lnTo>
                    <a:pt x="1360" y="1847"/>
                  </a:lnTo>
                  <a:lnTo>
                    <a:pt x="1363" y="1846"/>
                  </a:lnTo>
                  <a:lnTo>
                    <a:pt x="1363" y="1846"/>
                  </a:lnTo>
                  <a:lnTo>
                    <a:pt x="1369" y="1847"/>
                  </a:lnTo>
                  <a:lnTo>
                    <a:pt x="1371" y="1851"/>
                  </a:lnTo>
                  <a:lnTo>
                    <a:pt x="1377" y="1860"/>
                  </a:lnTo>
                  <a:lnTo>
                    <a:pt x="1377" y="1860"/>
                  </a:lnTo>
                  <a:lnTo>
                    <a:pt x="1379" y="1861"/>
                  </a:lnTo>
                  <a:lnTo>
                    <a:pt x="1379" y="1861"/>
                  </a:lnTo>
                  <a:lnTo>
                    <a:pt x="1380" y="1864"/>
                  </a:lnTo>
                  <a:lnTo>
                    <a:pt x="1381" y="1866"/>
                  </a:lnTo>
                  <a:lnTo>
                    <a:pt x="1381" y="1866"/>
                  </a:lnTo>
                  <a:lnTo>
                    <a:pt x="1383" y="1866"/>
                  </a:lnTo>
                  <a:lnTo>
                    <a:pt x="1384" y="1864"/>
                  </a:lnTo>
                  <a:lnTo>
                    <a:pt x="1384" y="1864"/>
                  </a:lnTo>
                  <a:lnTo>
                    <a:pt x="1387" y="1863"/>
                  </a:lnTo>
                  <a:lnTo>
                    <a:pt x="1390" y="1863"/>
                  </a:lnTo>
                  <a:lnTo>
                    <a:pt x="1390" y="1863"/>
                  </a:lnTo>
                  <a:lnTo>
                    <a:pt x="1391" y="1863"/>
                  </a:lnTo>
                  <a:lnTo>
                    <a:pt x="1391" y="1863"/>
                  </a:lnTo>
                  <a:lnTo>
                    <a:pt x="1390" y="1867"/>
                  </a:lnTo>
                  <a:lnTo>
                    <a:pt x="1390" y="1868"/>
                  </a:lnTo>
                  <a:lnTo>
                    <a:pt x="1390" y="1868"/>
                  </a:lnTo>
                  <a:lnTo>
                    <a:pt x="1389" y="1867"/>
                  </a:lnTo>
                  <a:lnTo>
                    <a:pt x="1389" y="1867"/>
                  </a:lnTo>
                  <a:lnTo>
                    <a:pt x="1386" y="1866"/>
                  </a:lnTo>
                  <a:lnTo>
                    <a:pt x="1383" y="1866"/>
                  </a:lnTo>
                  <a:lnTo>
                    <a:pt x="1383" y="1866"/>
                  </a:lnTo>
                  <a:lnTo>
                    <a:pt x="1381" y="1867"/>
                  </a:lnTo>
                  <a:lnTo>
                    <a:pt x="1381" y="1868"/>
                  </a:lnTo>
                  <a:lnTo>
                    <a:pt x="1381" y="1868"/>
                  </a:lnTo>
                  <a:lnTo>
                    <a:pt x="1380" y="1871"/>
                  </a:lnTo>
                  <a:lnTo>
                    <a:pt x="1380" y="1876"/>
                  </a:lnTo>
                  <a:lnTo>
                    <a:pt x="1380" y="1884"/>
                  </a:lnTo>
                  <a:lnTo>
                    <a:pt x="1380" y="1884"/>
                  </a:lnTo>
                  <a:lnTo>
                    <a:pt x="1383" y="1887"/>
                  </a:lnTo>
                  <a:lnTo>
                    <a:pt x="1386" y="1891"/>
                  </a:lnTo>
                  <a:lnTo>
                    <a:pt x="1394" y="1898"/>
                  </a:lnTo>
                  <a:lnTo>
                    <a:pt x="1394" y="1898"/>
                  </a:lnTo>
                  <a:lnTo>
                    <a:pt x="1394" y="1901"/>
                  </a:lnTo>
                  <a:lnTo>
                    <a:pt x="1396" y="1908"/>
                  </a:lnTo>
                  <a:lnTo>
                    <a:pt x="1396" y="1908"/>
                  </a:lnTo>
                  <a:lnTo>
                    <a:pt x="1399" y="1911"/>
                  </a:lnTo>
                  <a:lnTo>
                    <a:pt x="1401" y="1913"/>
                  </a:lnTo>
                  <a:lnTo>
                    <a:pt x="1406" y="1916"/>
                  </a:lnTo>
                  <a:lnTo>
                    <a:pt x="1406" y="1916"/>
                  </a:lnTo>
                  <a:lnTo>
                    <a:pt x="1407" y="1917"/>
                  </a:lnTo>
                  <a:lnTo>
                    <a:pt x="1407" y="1917"/>
                  </a:lnTo>
                  <a:lnTo>
                    <a:pt x="1406" y="1918"/>
                  </a:lnTo>
                  <a:lnTo>
                    <a:pt x="1406" y="1918"/>
                  </a:lnTo>
                  <a:lnTo>
                    <a:pt x="1401" y="1927"/>
                  </a:lnTo>
                  <a:lnTo>
                    <a:pt x="1401" y="1930"/>
                  </a:lnTo>
                  <a:lnTo>
                    <a:pt x="1401" y="1933"/>
                  </a:lnTo>
                  <a:lnTo>
                    <a:pt x="1401" y="1933"/>
                  </a:lnTo>
                  <a:lnTo>
                    <a:pt x="1403" y="1934"/>
                  </a:lnTo>
                  <a:lnTo>
                    <a:pt x="1403" y="1934"/>
                  </a:lnTo>
                  <a:lnTo>
                    <a:pt x="1404" y="1937"/>
                  </a:lnTo>
                  <a:lnTo>
                    <a:pt x="1404" y="1938"/>
                  </a:lnTo>
                  <a:lnTo>
                    <a:pt x="1404" y="1938"/>
                  </a:lnTo>
                  <a:lnTo>
                    <a:pt x="1404" y="1940"/>
                  </a:lnTo>
                  <a:lnTo>
                    <a:pt x="1404" y="1940"/>
                  </a:lnTo>
                  <a:lnTo>
                    <a:pt x="1400" y="1941"/>
                  </a:lnTo>
                  <a:lnTo>
                    <a:pt x="1400" y="1941"/>
                  </a:lnTo>
                  <a:lnTo>
                    <a:pt x="1397" y="1943"/>
                  </a:lnTo>
                  <a:lnTo>
                    <a:pt x="1396" y="1944"/>
                  </a:lnTo>
                  <a:lnTo>
                    <a:pt x="1396" y="1944"/>
                  </a:lnTo>
                  <a:lnTo>
                    <a:pt x="1396" y="1947"/>
                  </a:lnTo>
                  <a:lnTo>
                    <a:pt x="1397" y="1950"/>
                  </a:lnTo>
                  <a:lnTo>
                    <a:pt x="1397" y="1950"/>
                  </a:lnTo>
                  <a:lnTo>
                    <a:pt x="1401" y="1958"/>
                  </a:lnTo>
                  <a:lnTo>
                    <a:pt x="1403" y="1963"/>
                  </a:lnTo>
                  <a:lnTo>
                    <a:pt x="1404" y="1968"/>
                  </a:lnTo>
                  <a:lnTo>
                    <a:pt x="1404" y="1968"/>
                  </a:lnTo>
                  <a:lnTo>
                    <a:pt x="1403" y="1973"/>
                  </a:lnTo>
                  <a:lnTo>
                    <a:pt x="1401" y="1976"/>
                  </a:lnTo>
                  <a:lnTo>
                    <a:pt x="1401" y="1976"/>
                  </a:lnTo>
                  <a:lnTo>
                    <a:pt x="1399" y="1981"/>
                  </a:lnTo>
                  <a:lnTo>
                    <a:pt x="1399" y="1981"/>
                  </a:lnTo>
                  <a:lnTo>
                    <a:pt x="1397" y="1984"/>
                  </a:lnTo>
                  <a:lnTo>
                    <a:pt x="1399" y="1988"/>
                  </a:lnTo>
                  <a:lnTo>
                    <a:pt x="1400" y="1993"/>
                  </a:lnTo>
                  <a:lnTo>
                    <a:pt x="1403" y="1998"/>
                  </a:lnTo>
                  <a:lnTo>
                    <a:pt x="1403" y="1998"/>
                  </a:lnTo>
                  <a:lnTo>
                    <a:pt x="1403" y="2000"/>
                  </a:lnTo>
                  <a:lnTo>
                    <a:pt x="1401" y="2007"/>
                  </a:lnTo>
                  <a:lnTo>
                    <a:pt x="1401" y="2007"/>
                  </a:lnTo>
                  <a:lnTo>
                    <a:pt x="1399" y="2016"/>
                  </a:lnTo>
                  <a:lnTo>
                    <a:pt x="1396" y="2021"/>
                  </a:lnTo>
                  <a:lnTo>
                    <a:pt x="1390" y="2030"/>
                  </a:lnTo>
                  <a:lnTo>
                    <a:pt x="1390" y="2030"/>
                  </a:lnTo>
                  <a:lnTo>
                    <a:pt x="1386" y="2031"/>
                  </a:lnTo>
                  <a:lnTo>
                    <a:pt x="1386" y="2031"/>
                  </a:lnTo>
                  <a:lnTo>
                    <a:pt x="1371" y="2036"/>
                  </a:lnTo>
                  <a:lnTo>
                    <a:pt x="1367" y="2038"/>
                  </a:lnTo>
                  <a:lnTo>
                    <a:pt x="1364" y="2041"/>
                  </a:lnTo>
                  <a:lnTo>
                    <a:pt x="1364" y="2041"/>
                  </a:lnTo>
                  <a:lnTo>
                    <a:pt x="1364" y="2043"/>
                  </a:lnTo>
                  <a:lnTo>
                    <a:pt x="1366" y="2046"/>
                  </a:lnTo>
                  <a:lnTo>
                    <a:pt x="1366" y="2046"/>
                  </a:lnTo>
                  <a:lnTo>
                    <a:pt x="1367" y="2048"/>
                  </a:lnTo>
                  <a:lnTo>
                    <a:pt x="1367" y="2051"/>
                  </a:lnTo>
                  <a:lnTo>
                    <a:pt x="1367" y="2053"/>
                  </a:lnTo>
                  <a:lnTo>
                    <a:pt x="1367" y="2053"/>
                  </a:lnTo>
                  <a:lnTo>
                    <a:pt x="1366" y="2053"/>
                  </a:lnTo>
                  <a:lnTo>
                    <a:pt x="1366" y="2053"/>
                  </a:lnTo>
                  <a:lnTo>
                    <a:pt x="1359" y="2056"/>
                  </a:lnTo>
                  <a:lnTo>
                    <a:pt x="1357" y="2057"/>
                  </a:lnTo>
                  <a:lnTo>
                    <a:pt x="1356" y="2060"/>
                  </a:lnTo>
                  <a:lnTo>
                    <a:pt x="1356" y="2060"/>
                  </a:lnTo>
                  <a:lnTo>
                    <a:pt x="1356" y="2063"/>
                  </a:lnTo>
                  <a:lnTo>
                    <a:pt x="1357" y="2067"/>
                  </a:lnTo>
                  <a:lnTo>
                    <a:pt x="1357" y="2067"/>
                  </a:lnTo>
                  <a:lnTo>
                    <a:pt x="1354" y="2074"/>
                  </a:lnTo>
                  <a:lnTo>
                    <a:pt x="1354" y="2074"/>
                  </a:lnTo>
                  <a:lnTo>
                    <a:pt x="1353" y="2076"/>
                  </a:lnTo>
                  <a:lnTo>
                    <a:pt x="1351" y="2076"/>
                  </a:lnTo>
                  <a:lnTo>
                    <a:pt x="1346" y="2077"/>
                  </a:lnTo>
                  <a:lnTo>
                    <a:pt x="1346" y="2077"/>
                  </a:lnTo>
                  <a:lnTo>
                    <a:pt x="1340" y="2078"/>
                  </a:lnTo>
                  <a:lnTo>
                    <a:pt x="1337" y="2078"/>
                  </a:lnTo>
                  <a:lnTo>
                    <a:pt x="1334" y="2081"/>
                  </a:lnTo>
                  <a:lnTo>
                    <a:pt x="1334" y="2081"/>
                  </a:lnTo>
                  <a:lnTo>
                    <a:pt x="1333" y="2083"/>
                  </a:lnTo>
                  <a:lnTo>
                    <a:pt x="1330" y="2083"/>
                  </a:lnTo>
                  <a:lnTo>
                    <a:pt x="1330" y="2083"/>
                  </a:lnTo>
                  <a:lnTo>
                    <a:pt x="1329" y="2084"/>
                  </a:lnTo>
                  <a:lnTo>
                    <a:pt x="1326" y="2086"/>
                  </a:lnTo>
                  <a:lnTo>
                    <a:pt x="1326" y="2088"/>
                  </a:lnTo>
                  <a:lnTo>
                    <a:pt x="1326" y="2093"/>
                  </a:lnTo>
                  <a:lnTo>
                    <a:pt x="1326" y="2093"/>
                  </a:lnTo>
                  <a:lnTo>
                    <a:pt x="1327" y="2100"/>
                  </a:lnTo>
                  <a:lnTo>
                    <a:pt x="1327" y="2100"/>
                  </a:lnTo>
                  <a:lnTo>
                    <a:pt x="1327" y="2104"/>
                  </a:lnTo>
                  <a:lnTo>
                    <a:pt x="1326" y="2110"/>
                  </a:lnTo>
                  <a:lnTo>
                    <a:pt x="1326" y="2110"/>
                  </a:lnTo>
                  <a:lnTo>
                    <a:pt x="1323" y="2114"/>
                  </a:lnTo>
                  <a:lnTo>
                    <a:pt x="1323" y="2114"/>
                  </a:lnTo>
                  <a:lnTo>
                    <a:pt x="1320" y="2120"/>
                  </a:lnTo>
                  <a:lnTo>
                    <a:pt x="1319" y="2126"/>
                  </a:lnTo>
                  <a:lnTo>
                    <a:pt x="1319" y="2126"/>
                  </a:lnTo>
                  <a:lnTo>
                    <a:pt x="1319" y="2131"/>
                  </a:lnTo>
                  <a:lnTo>
                    <a:pt x="1317" y="2134"/>
                  </a:lnTo>
                  <a:lnTo>
                    <a:pt x="1316" y="2136"/>
                  </a:lnTo>
                  <a:lnTo>
                    <a:pt x="1316" y="2136"/>
                  </a:lnTo>
                  <a:lnTo>
                    <a:pt x="1313" y="2136"/>
                  </a:lnTo>
                  <a:lnTo>
                    <a:pt x="1313" y="2136"/>
                  </a:lnTo>
                  <a:lnTo>
                    <a:pt x="1310" y="2137"/>
                  </a:lnTo>
                  <a:lnTo>
                    <a:pt x="1307" y="2138"/>
                  </a:lnTo>
                  <a:lnTo>
                    <a:pt x="1307" y="2138"/>
                  </a:lnTo>
                  <a:lnTo>
                    <a:pt x="1306" y="2141"/>
                  </a:lnTo>
                  <a:lnTo>
                    <a:pt x="1307" y="2144"/>
                  </a:lnTo>
                  <a:lnTo>
                    <a:pt x="1307" y="2144"/>
                  </a:lnTo>
                  <a:lnTo>
                    <a:pt x="1309" y="2151"/>
                  </a:lnTo>
                  <a:lnTo>
                    <a:pt x="1309" y="2160"/>
                  </a:lnTo>
                  <a:lnTo>
                    <a:pt x="1309" y="2160"/>
                  </a:lnTo>
                  <a:lnTo>
                    <a:pt x="1310" y="2164"/>
                  </a:lnTo>
                  <a:lnTo>
                    <a:pt x="1310" y="2164"/>
                  </a:lnTo>
                  <a:lnTo>
                    <a:pt x="1309" y="2167"/>
                  </a:lnTo>
                  <a:lnTo>
                    <a:pt x="1309" y="2167"/>
                  </a:lnTo>
                  <a:lnTo>
                    <a:pt x="1307" y="2170"/>
                  </a:lnTo>
                  <a:lnTo>
                    <a:pt x="1307" y="2171"/>
                  </a:lnTo>
                  <a:lnTo>
                    <a:pt x="1307" y="2171"/>
                  </a:lnTo>
                  <a:lnTo>
                    <a:pt x="1304" y="2173"/>
                  </a:lnTo>
                  <a:lnTo>
                    <a:pt x="1303" y="2177"/>
                  </a:lnTo>
                  <a:lnTo>
                    <a:pt x="1303" y="2177"/>
                  </a:lnTo>
                  <a:lnTo>
                    <a:pt x="1303" y="2180"/>
                  </a:lnTo>
                  <a:lnTo>
                    <a:pt x="1304" y="2181"/>
                  </a:lnTo>
                  <a:lnTo>
                    <a:pt x="1304" y="2181"/>
                  </a:lnTo>
                  <a:lnTo>
                    <a:pt x="1307" y="2183"/>
                  </a:lnTo>
                  <a:lnTo>
                    <a:pt x="1310" y="2183"/>
                  </a:lnTo>
                  <a:lnTo>
                    <a:pt x="1310" y="2183"/>
                  </a:lnTo>
                  <a:lnTo>
                    <a:pt x="1313" y="2183"/>
                  </a:lnTo>
                  <a:lnTo>
                    <a:pt x="1314" y="2184"/>
                  </a:lnTo>
                  <a:lnTo>
                    <a:pt x="1314" y="2184"/>
                  </a:lnTo>
                  <a:lnTo>
                    <a:pt x="1317" y="2187"/>
                  </a:lnTo>
                  <a:lnTo>
                    <a:pt x="1320" y="2188"/>
                  </a:lnTo>
                  <a:lnTo>
                    <a:pt x="1320" y="2188"/>
                  </a:lnTo>
                  <a:lnTo>
                    <a:pt x="1321" y="2188"/>
                  </a:lnTo>
                  <a:lnTo>
                    <a:pt x="1323" y="2193"/>
                  </a:lnTo>
                  <a:lnTo>
                    <a:pt x="1323" y="2195"/>
                  </a:lnTo>
                  <a:lnTo>
                    <a:pt x="1323" y="2195"/>
                  </a:lnTo>
                  <a:lnTo>
                    <a:pt x="1324" y="2198"/>
                  </a:lnTo>
                  <a:lnTo>
                    <a:pt x="1326" y="2200"/>
                  </a:lnTo>
                  <a:lnTo>
                    <a:pt x="1326" y="2200"/>
                  </a:lnTo>
                  <a:lnTo>
                    <a:pt x="1329" y="2200"/>
                  </a:lnTo>
                  <a:lnTo>
                    <a:pt x="1330" y="2198"/>
                  </a:lnTo>
                  <a:lnTo>
                    <a:pt x="1330" y="2198"/>
                  </a:lnTo>
                  <a:lnTo>
                    <a:pt x="1333" y="2195"/>
                  </a:lnTo>
                  <a:lnTo>
                    <a:pt x="1333" y="2195"/>
                  </a:lnTo>
                  <a:lnTo>
                    <a:pt x="1334" y="2195"/>
                  </a:lnTo>
                  <a:lnTo>
                    <a:pt x="1334" y="2195"/>
                  </a:lnTo>
                  <a:lnTo>
                    <a:pt x="1333" y="2203"/>
                  </a:lnTo>
                  <a:lnTo>
                    <a:pt x="1333" y="2203"/>
                  </a:lnTo>
                  <a:lnTo>
                    <a:pt x="1331" y="2207"/>
                  </a:lnTo>
                  <a:lnTo>
                    <a:pt x="1327" y="2208"/>
                  </a:lnTo>
                  <a:lnTo>
                    <a:pt x="1323" y="2211"/>
                  </a:lnTo>
                  <a:lnTo>
                    <a:pt x="1323" y="2211"/>
                  </a:lnTo>
                  <a:lnTo>
                    <a:pt x="1319" y="2211"/>
                  </a:lnTo>
                  <a:lnTo>
                    <a:pt x="1314" y="2214"/>
                  </a:lnTo>
                  <a:lnTo>
                    <a:pt x="1314" y="2214"/>
                  </a:lnTo>
                  <a:lnTo>
                    <a:pt x="1310" y="2221"/>
                  </a:lnTo>
                  <a:lnTo>
                    <a:pt x="1309" y="2224"/>
                  </a:lnTo>
                  <a:lnTo>
                    <a:pt x="1309" y="2228"/>
                  </a:lnTo>
                  <a:lnTo>
                    <a:pt x="1309" y="2228"/>
                  </a:lnTo>
                  <a:lnTo>
                    <a:pt x="1307" y="2231"/>
                  </a:lnTo>
                  <a:lnTo>
                    <a:pt x="1304" y="2234"/>
                  </a:lnTo>
                  <a:lnTo>
                    <a:pt x="1304" y="2234"/>
                  </a:lnTo>
                  <a:lnTo>
                    <a:pt x="1300" y="2238"/>
                  </a:lnTo>
                  <a:lnTo>
                    <a:pt x="1297" y="2243"/>
                  </a:lnTo>
                  <a:lnTo>
                    <a:pt x="1297" y="2243"/>
                  </a:lnTo>
                  <a:lnTo>
                    <a:pt x="1297" y="2247"/>
                  </a:lnTo>
                  <a:lnTo>
                    <a:pt x="1297" y="2250"/>
                  </a:lnTo>
                  <a:lnTo>
                    <a:pt x="1301" y="2253"/>
                  </a:lnTo>
                  <a:lnTo>
                    <a:pt x="1301" y="2253"/>
                  </a:lnTo>
                  <a:lnTo>
                    <a:pt x="1303" y="2255"/>
                  </a:lnTo>
                  <a:lnTo>
                    <a:pt x="1303" y="2255"/>
                  </a:lnTo>
                  <a:lnTo>
                    <a:pt x="1303" y="2258"/>
                  </a:lnTo>
                  <a:lnTo>
                    <a:pt x="1303" y="2258"/>
                  </a:lnTo>
                  <a:lnTo>
                    <a:pt x="1304" y="2263"/>
                  </a:lnTo>
                  <a:lnTo>
                    <a:pt x="1307" y="2267"/>
                  </a:lnTo>
                  <a:lnTo>
                    <a:pt x="1307" y="2267"/>
                  </a:lnTo>
                  <a:lnTo>
                    <a:pt x="1310" y="2270"/>
                  </a:lnTo>
                  <a:lnTo>
                    <a:pt x="1311" y="2274"/>
                  </a:lnTo>
                  <a:lnTo>
                    <a:pt x="1311" y="2278"/>
                  </a:lnTo>
                  <a:lnTo>
                    <a:pt x="1310" y="2281"/>
                  </a:lnTo>
                  <a:lnTo>
                    <a:pt x="1310" y="2281"/>
                  </a:lnTo>
                  <a:lnTo>
                    <a:pt x="1309" y="2281"/>
                  </a:lnTo>
                  <a:lnTo>
                    <a:pt x="1307" y="2281"/>
                  </a:lnTo>
                  <a:lnTo>
                    <a:pt x="1307" y="2281"/>
                  </a:lnTo>
                  <a:lnTo>
                    <a:pt x="1306" y="2283"/>
                  </a:lnTo>
                  <a:lnTo>
                    <a:pt x="1304" y="2283"/>
                  </a:lnTo>
                  <a:lnTo>
                    <a:pt x="1304" y="2283"/>
                  </a:lnTo>
                  <a:lnTo>
                    <a:pt x="1303" y="2284"/>
                  </a:lnTo>
                  <a:lnTo>
                    <a:pt x="1303" y="2287"/>
                  </a:lnTo>
                  <a:lnTo>
                    <a:pt x="1303" y="2287"/>
                  </a:lnTo>
                  <a:lnTo>
                    <a:pt x="1304" y="2291"/>
                  </a:lnTo>
                  <a:lnTo>
                    <a:pt x="1310" y="2295"/>
                  </a:lnTo>
                  <a:lnTo>
                    <a:pt x="1329" y="2304"/>
                  </a:lnTo>
                  <a:lnTo>
                    <a:pt x="1329" y="2304"/>
                  </a:lnTo>
                  <a:lnTo>
                    <a:pt x="1339" y="2310"/>
                  </a:lnTo>
                  <a:lnTo>
                    <a:pt x="1339" y="2310"/>
                  </a:lnTo>
                  <a:lnTo>
                    <a:pt x="1343" y="2314"/>
                  </a:lnTo>
                  <a:lnTo>
                    <a:pt x="1346" y="2320"/>
                  </a:lnTo>
                  <a:lnTo>
                    <a:pt x="1349" y="2333"/>
                  </a:lnTo>
                  <a:lnTo>
                    <a:pt x="1349" y="2333"/>
                  </a:lnTo>
                  <a:lnTo>
                    <a:pt x="1350" y="2335"/>
                  </a:lnTo>
                  <a:lnTo>
                    <a:pt x="1350" y="2335"/>
                  </a:lnTo>
                  <a:lnTo>
                    <a:pt x="1353" y="2343"/>
                  </a:lnTo>
                  <a:lnTo>
                    <a:pt x="1357" y="2347"/>
                  </a:lnTo>
                  <a:lnTo>
                    <a:pt x="1361" y="2350"/>
                  </a:lnTo>
                  <a:lnTo>
                    <a:pt x="1364" y="2351"/>
                  </a:lnTo>
                  <a:lnTo>
                    <a:pt x="1364" y="2351"/>
                  </a:lnTo>
                  <a:lnTo>
                    <a:pt x="1373" y="2363"/>
                  </a:lnTo>
                  <a:lnTo>
                    <a:pt x="1376" y="2370"/>
                  </a:lnTo>
                  <a:lnTo>
                    <a:pt x="1377" y="2377"/>
                  </a:lnTo>
                  <a:lnTo>
                    <a:pt x="1377" y="2377"/>
                  </a:lnTo>
                  <a:lnTo>
                    <a:pt x="1380" y="2387"/>
                  </a:lnTo>
                  <a:lnTo>
                    <a:pt x="1384" y="2395"/>
                  </a:lnTo>
                  <a:lnTo>
                    <a:pt x="1384" y="2395"/>
                  </a:lnTo>
                  <a:lnTo>
                    <a:pt x="1390" y="2410"/>
                  </a:lnTo>
                  <a:lnTo>
                    <a:pt x="1390" y="2410"/>
                  </a:lnTo>
                  <a:lnTo>
                    <a:pt x="1394" y="2418"/>
                  </a:lnTo>
                  <a:lnTo>
                    <a:pt x="1399" y="2424"/>
                  </a:lnTo>
                  <a:lnTo>
                    <a:pt x="1399" y="2424"/>
                  </a:lnTo>
                  <a:lnTo>
                    <a:pt x="1401" y="2430"/>
                  </a:lnTo>
                  <a:lnTo>
                    <a:pt x="1404" y="2434"/>
                  </a:lnTo>
                  <a:lnTo>
                    <a:pt x="1404" y="2434"/>
                  </a:lnTo>
                  <a:lnTo>
                    <a:pt x="1404" y="2438"/>
                  </a:lnTo>
                  <a:lnTo>
                    <a:pt x="1407" y="2443"/>
                  </a:lnTo>
                  <a:lnTo>
                    <a:pt x="1410" y="2445"/>
                  </a:lnTo>
                  <a:lnTo>
                    <a:pt x="1413" y="2448"/>
                  </a:lnTo>
                  <a:lnTo>
                    <a:pt x="1413" y="2448"/>
                  </a:lnTo>
                  <a:lnTo>
                    <a:pt x="1416" y="2450"/>
                  </a:lnTo>
                  <a:lnTo>
                    <a:pt x="1419" y="2454"/>
                  </a:lnTo>
                  <a:lnTo>
                    <a:pt x="1419" y="2454"/>
                  </a:lnTo>
                  <a:lnTo>
                    <a:pt x="1423" y="2465"/>
                  </a:lnTo>
                  <a:lnTo>
                    <a:pt x="1423" y="2465"/>
                  </a:lnTo>
                  <a:lnTo>
                    <a:pt x="1430" y="2478"/>
                  </a:lnTo>
                  <a:lnTo>
                    <a:pt x="1430" y="2478"/>
                  </a:lnTo>
                  <a:lnTo>
                    <a:pt x="1436" y="2491"/>
                  </a:lnTo>
                  <a:lnTo>
                    <a:pt x="1436" y="2491"/>
                  </a:lnTo>
                  <a:lnTo>
                    <a:pt x="1440" y="2500"/>
                  </a:lnTo>
                  <a:lnTo>
                    <a:pt x="1440" y="2500"/>
                  </a:lnTo>
                  <a:lnTo>
                    <a:pt x="1444" y="2505"/>
                  </a:lnTo>
                  <a:lnTo>
                    <a:pt x="1444" y="2513"/>
                  </a:lnTo>
                  <a:lnTo>
                    <a:pt x="1444" y="2513"/>
                  </a:lnTo>
                  <a:lnTo>
                    <a:pt x="1446" y="2521"/>
                  </a:lnTo>
                  <a:lnTo>
                    <a:pt x="1449" y="2527"/>
                  </a:lnTo>
                  <a:lnTo>
                    <a:pt x="1450" y="2531"/>
                  </a:lnTo>
                  <a:lnTo>
                    <a:pt x="1450" y="2531"/>
                  </a:lnTo>
                  <a:lnTo>
                    <a:pt x="1456" y="2538"/>
                  </a:lnTo>
                  <a:lnTo>
                    <a:pt x="1460" y="2544"/>
                  </a:lnTo>
                  <a:lnTo>
                    <a:pt x="1460" y="2544"/>
                  </a:lnTo>
                  <a:lnTo>
                    <a:pt x="1464" y="2547"/>
                  </a:lnTo>
                  <a:lnTo>
                    <a:pt x="1464" y="2547"/>
                  </a:lnTo>
                  <a:lnTo>
                    <a:pt x="1467" y="2550"/>
                  </a:lnTo>
                  <a:lnTo>
                    <a:pt x="1467" y="2550"/>
                  </a:lnTo>
                  <a:lnTo>
                    <a:pt x="1473" y="2555"/>
                  </a:lnTo>
                  <a:lnTo>
                    <a:pt x="1479" y="2561"/>
                  </a:lnTo>
                  <a:lnTo>
                    <a:pt x="1479" y="2561"/>
                  </a:lnTo>
                  <a:lnTo>
                    <a:pt x="1483" y="2564"/>
                  </a:lnTo>
                  <a:lnTo>
                    <a:pt x="1489" y="2565"/>
                  </a:lnTo>
                  <a:lnTo>
                    <a:pt x="1489" y="2565"/>
                  </a:lnTo>
                  <a:lnTo>
                    <a:pt x="1497" y="2570"/>
                  </a:lnTo>
                  <a:lnTo>
                    <a:pt x="1503" y="2573"/>
                  </a:lnTo>
                  <a:lnTo>
                    <a:pt x="1509" y="2577"/>
                  </a:lnTo>
                  <a:lnTo>
                    <a:pt x="1509" y="2577"/>
                  </a:lnTo>
                  <a:lnTo>
                    <a:pt x="1514" y="2583"/>
                  </a:lnTo>
                  <a:lnTo>
                    <a:pt x="1523" y="2588"/>
                  </a:lnTo>
                  <a:lnTo>
                    <a:pt x="1543" y="2600"/>
                  </a:lnTo>
                  <a:lnTo>
                    <a:pt x="1561" y="2608"/>
                  </a:lnTo>
                  <a:lnTo>
                    <a:pt x="1573" y="2614"/>
                  </a:lnTo>
                  <a:lnTo>
                    <a:pt x="1573" y="2614"/>
                  </a:lnTo>
                  <a:lnTo>
                    <a:pt x="1579" y="2617"/>
                  </a:lnTo>
                  <a:lnTo>
                    <a:pt x="1581" y="2621"/>
                  </a:lnTo>
                  <a:lnTo>
                    <a:pt x="1581" y="2623"/>
                  </a:lnTo>
                  <a:lnTo>
                    <a:pt x="1581" y="2623"/>
                  </a:lnTo>
                  <a:lnTo>
                    <a:pt x="1583" y="2625"/>
                  </a:lnTo>
                  <a:lnTo>
                    <a:pt x="1583" y="2625"/>
                  </a:lnTo>
                  <a:lnTo>
                    <a:pt x="1584" y="2630"/>
                  </a:lnTo>
                  <a:lnTo>
                    <a:pt x="1587" y="2632"/>
                  </a:lnTo>
                  <a:lnTo>
                    <a:pt x="1590" y="2634"/>
                  </a:lnTo>
                  <a:lnTo>
                    <a:pt x="1590" y="2634"/>
                  </a:lnTo>
                  <a:lnTo>
                    <a:pt x="1598" y="2640"/>
                  </a:lnTo>
                  <a:lnTo>
                    <a:pt x="1603" y="2642"/>
                  </a:lnTo>
                  <a:lnTo>
                    <a:pt x="1606" y="2647"/>
                  </a:lnTo>
                  <a:lnTo>
                    <a:pt x="1606" y="2647"/>
                  </a:lnTo>
                  <a:lnTo>
                    <a:pt x="1607" y="2650"/>
                  </a:lnTo>
                  <a:lnTo>
                    <a:pt x="1610" y="2651"/>
                  </a:lnTo>
                  <a:lnTo>
                    <a:pt x="1610" y="2651"/>
                  </a:lnTo>
                  <a:lnTo>
                    <a:pt x="1613" y="2651"/>
                  </a:lnTo>
                  <a:lnTo>
                    <a:pt x="1613" y="2651"/>
                  </a:lnTo>
                  <a:lnTo>
                    <a:pt x="1614" y="2651"/>
                  </a:lnTo>
                  <a:lnTo>
                    <a:pt x="1614" y="2651"/>
                  </a:lnTo>
                  <a:lnTo>
                    <a:pt x="1614" y="2657"/>
                  </a:lnTo>
                  <a:lnTo>
                    <a:pt x="1614" y="2657"/>
                  </a:lnTo>
                  <a:lnTo>
                    <a:pt x="1614" y="2662"/>
                  </a:lnTo>
                  <a:lnTo>
                    <a:pt x="1614" y="2662"/>
                  </a:lnTo>
                  <a:lnTo>
                    <a:pt x="1614" y="2667"/>
                  </a:lnTo>
                  <a:lnTo>
                    <a:pt x="1616" y="2671"/>
                  </a:lnTo>
                  <a:lnTo>
                    <a:pt x="1616" y="2671"/>
                  </a:lnTo>
                  <a:lnTo>
                    <a:pt x="1617" y="2674"/>
                  </a:lnTo>
                  <a:lnTo>
                    <a:pt x="1618" y="2678"/>
                  </a:lnTo>
                  <a:lnTo>
                    <a:pt x="1618" y="2678"/>
                  </a:lnTo>
                  <a:lnTo>
                    <a:pt x="1618" y="2684"/>
                  </a:lnTo>
                  <a:lnTo>
                    <a:pt x="1620" y="2687"/>
                  </a:lnTo>
                  <a:lnTo>
                    <a:pt x="1623" y="2691"/>
                  </a:lnTo>
                  <a:lnTo>
                    <a:pt x="1623" y="2691"/>
                  </a:lnTo>
                  <a:lnTo>
                    <a:pt x="1624" y="2692"/>
                  </a:lnTo>
                  <a:lnTo>
                    <a:pt x="1624" y="2692"/>
                  </a:lnTo>
                  <a:lnTo>
                    <a:pt x="1624" y="2697"/>
                  </a:lnTo>
                  <a:lnTo>
                    <a:pt x="1624" y="2704"/>
                  </a:lnTo>
                  <a:lnTo>
                    <a:pt x="1624" y="2704"/>
                  </a:lnTo>
                  <a:lnTo>
                    <a:pt x="1624" y="2714"/>
                  </a:lnTo>
                  <a:lnTo>
                    <a:pt x="1624" y="2714"/>
                  </a:lnTo>
                  <a:lnTo>
                    <a:pt x="1627" y="2722"/>
                  </a:lnTo>
                  <a:lnTo>
                    <a:pt x="1630" y="2730"/>
                  </a:lnTo>
                  <a:lnTo>
                    <a:pt x="1630" y="2730"/>
                  </a:lnTo>
                  <a:lnTo>
                    <a:pt x="1630" y="2747"/>
                  </a:lnTo>
                  <a:lnTo>
                    <a:pt x="1627" y="2781"/>
                  </a:lnTo>
                  <a:lnTo>
                    <a:pt x="1626" y="2788"/>
                  </a:lnTo>
                  <a:lnTo>
                    <a:pt x="1626" y="2788"/>
                  </a:lnTo>
                  <a:lnTo>
                    <a:pt x="1624" y="2792"/>
                  </a:lnTo>
                  <a:lnTo>
                    <a:pt x="1626" y="2795"/>
                  </a:lnTo>
                  <a:lnTo>
                    <a:pt x="1626" y="2795"/>
                  </a:lnTo>
                  <a:lnTo>
                    <a:pt x="1627" y="2797"/>
                  </a:lnTo>
                  <a:lnTo>
                    <a:pt x="1627" y="2797"/>
                  </a:lnTo>
                  <a:lnTo>
                    <a:pt x="1627" y="2820"/>
                  </a:lnTo>
                  <a:lnTo>
                    <a:pt x="1627" y="2832"/>
                  </a:lnTo>
                  <a:lnTo>
                    <a:pt x="1627" y="2832"/>
                  </a:lnTo>
                  <a:lnTo>
                    <a:pt x="1627" y="2835"/>
                  </a:lnTo>
                  <a:lnTo>
                    <a:pt x="1627" y="2838"/>
                  </a:lnTo>
                  <a:lnTo>
                    <a:pt x="1630" y="2844"/>
                  </a:lnTo>
                  <a:lnTo>
                    <a:pt x="1630" y="2844"/>
                  </a:lnTo>
                  <a:lnTo>
                    <a:pt x="1633" y="2848"/>
                  </a:lnTo>
                  <a:lnTo>
                    <a:pt x="1633" y="2852"/>
                  </a:lnTo>
                  <a:lnTo>
                    <a:pt x="1633" y="2852"/>
                  </a:lnTo>
                  <a:lnTo>
                    <a:pt x="1630" y="2857"/>
                  </a:lnTo>
                  <a:lnTo>
                    <a:pt x="1628" y="2861"/>
                  </a:lnTo>
                  <a:lnTo>
                    <a:pt x="1628" y="2861"/>
                  </a:lnTo>
                  <a:lnTo>
                    <a:pt x="1628" y="2862"/>
                  </a:lnTo>
                  <a:lnTo>
                    <a:pt x="1628" y="2862"/>
                  </a:lnTo>
                  <a:lnTo>
                    <a:pt x="1628" y="2865"/>
                  </a:lnTo>
                  <a:lnTo>
                    <a:pt x="1630" y="2868"/>
                  </a:lnTo>
                  <a:lnTo>
                    <a:pt x="1633" y="2871"/>
                  </a:lnTo>
                  <a:lnTo>
                    <a:pt x="1633" y="2871"/>
                  </a:lnTo>
                  <a:lnTo>
                    <a:pt x="1633" y="2872"/>
                  </a:lnTo>
                  <a:lnTo>
                    <a:pt x="1633" y="2872"/>
                  </a:lnTo>
                  <a:lnTo>
                    <a:pt x="1634" y="2904"/>
                  </a:lnTo>
                  <a:lnTo>
                    <a:pt x="1634" y="2904"/>
                  </a:lnTo>
                  <a:lnTo>
                    <a:pt x="1633" y="2950"/>
                  </a:lnTo>
                  <a:lnTo>
                    <a:pt x="1633" y="2950"/>
                  </a:lnTo>
                  <a:lnTo>
                    <a:pt x="1631" y="2951"/>
                  </a:lnTo>
                  <a:lnTo>
                    <a:pt x="1630" y="2952"/>
                  </a:lnTo>
                  <a:lnTo>
                    <a:pt x="1628" y="2952"/>
                  </a:lnTo>
                  <a:lnTo>
                    <a:pt x="1628" y="2952"/>
                  </a:lnTo>
                  <a:lnTo>
                    <a:pt x="1627" y="2955"/>
                  </a:lnTo>
                  <a:lnTo>
                    <a:pt x="1627" y="2955"/>
                  </a:lnTo>
                  <a:lnTo>
                    <a:pt x="1627" y="2958"/>
                  </a:lnTo>
                  <a:lnTo>
                    <a:pt x="1627" y="2961"/>
                  </a:lnTo>
                  <a:lnTo>
                    <a:pt x="1631" y="2968"/>
                  </a:lnTo>
                  <a:lnTo>
                    <a:pt x="1633" y="2970"/>
                  </a:lnTo>
                  <a:lnTo>
                    <a:pt x="1633" y="2970"/>
                  </a:lnTo>
                  <a:lnTo>
                    <a:pt x="1637" y="2978"/>
                  </a:lnTo>
                  <a:lnTo>
                    <a:pt x="1637" y="2978"/>
                  </a:lnTo>
                  <a:lnTo>
                    <a:pt x="1637" y="2994"/>
                  </a:lnTo>
                  <a:lnTo>
                    <a:pt x="1637" y="2994"/>
                  </a:lnTo>
                  <a:lnTo>
                    <a:pt x="1633" y="2998"/>
                  </a:lnTo>
                  <a:lnTo>
                    <a:pt x="1633" y="2998"/>
                  </a:lnTo>
                  <a:lnTo>
                    <a:pt x="1631" y="3001"/>
                  </a:lnTo>
                  <a:lnTo>
                    <a:pt x="1631" y="3002"/>
                  </a:lnTo>
                  <a:lnTo>
                    <a:pt x="1634" y="3007"/>
                  </a:lnTo>
                  <a:lnTo>
                    <a:pt x="1634" y="3007"/>
                  </a:lnTo>
                  <a:lnTo>
                    <a:pt x="1634" y="3010"/>
                  </a:lnTo>
                  <a:lnTo>
                    <a:pt x="1634" y="3010"/>
                  </a:lnTo>
                  <a:lnTo>
                    <a:pt x="1638" y="3021"/>
                  </a:lnTo>
                  <a:lnTo>
                    <a:pt x="1641" y="3030"/>
                  </a:lnTo>
                  <a:lnTo>
                    <a:pt x="1644" y="3034"/>
                  </a:lnTo>
                  <a:lnTo>
                    <a:pt x="1644" y="3034"/>
                  </a:lnTo>
                  <a:lnTo>
                    <a:pt x="1647" y="3041"/>
                  </a:lnTo>
                  <a:lnTo>
                    <a:pt x="1647" y="3045"/>
                  </a:lnTo>
                  <a:lnTo>
                    <a:pt x="1647" y="3048"/>
                  </a:lnTo>
                  <a:lnTo>
                    <a:pt x="1647" y="3048"/>
                  </a:lnTo>
                  <a:lnTo>
                    <a:pt x="1647" y="3052"/>
                  </a:lnTo>
                  <a:lnTo>
                    <a:pt x="1648" y="3054"/>
                  </a:lnTo>
                  <a:lnTo>
                    <a:pt x="1651" y="3057"/>
                  </a:lnTo>
                  <a:lnTo>
                    <a:pt x="1651" y="3057"/>
                  </a:lnTo>
                  <a:lnTo>
                    <a:pt x="1653" y="3058"/>
                  </a:lnTo>
                  <a:lnTo>
                    <a:pt x="1653" y="3058"/>
                  </a:lnTo>
                  <a:lnTo>
                    <a:pt x="1653" y="3062"/>
                  </a:lnTo>
                  <a:lnTo>
                    <a:pt x="1653" y="3062"/>
                  </a:lnTo>
                  <a:lnTo>
                    <a:pt x="1654" y="3071"/>
                  </a:lnTo>
                  <a:lnTo>
                    <a:pt x="1654" y="3071"/>
                  </a:lnTo>
                  <a:lnTo>
                    <a:pt x="1653" y="3078"/>
                  </a:lnTo>
                  <a:lnTo>
                    <a:pt x="1653" y="3079"/>
                  </a:lnTo>
                  <a:lnTo>
                    <a:pt x="1653" y="3079"/>
                  </a:lnTo>
                  <a:lnTo>
                    <a:pt x="1653" y="3084"/>
                  </a:lnTo>
                  <a:lnTo>
                    <a:pt x="1654" y="3088"/>
                  </a:lnTo>
                  <a:lnTo>
                    <a:pt x="1654" y="3088"/>
                  </a:lnTo>
                  <a:lnTo>
                    <a:pt x="1656" y="3089"/>
                  </a:lnTo>
                  <a:lnTo>
                    <a:pt x="1656" y="3089"/>
                  </a:lnTo>
                  <a:lnTo>
                    <a:pt x="1656" y="3091"/>
                  </a:lnTo>
                  <a:lnTo>
                    <a:pt x="1656" y="3094"/>
                  </a:lnTo>
                  <a:lnTo>
                    <a:pt x="1656" y="3094"/>
                  </a:lnTo>
                  <a:lnTo>
                    <a:pt x="1654" y="3099"/>
                  </a:lnTo>
                  <a:lnTo>
                    <a:pt x="1654" y="3099"/>
                  </a:lnTo>
                  <a:lnTo>
                    <a:pt x="1654" y="3105"/>
                  </a:lnTo>
                  <a:lnTo>
                    <a:pt x="1654" y="3105"/>
                  </a:lnTo>
                  <a:lnTo>
                    <a:pt x="1653" y="3111"/>
                  </a:lnTo>
                  <a:lnTo>
                    <a:pt x="1653" y="3115"/>
                  </a:lnTo>
                  <a:lnTo>
                    <a:pt x="1653" y="3115"/>
                  </a:lnTo>
                  <a:lnTo>
                    <a:pt x="1656" y="3129"/>
                  </a:lnTo>
                  <a:lnTo>
                    <a:pt x="1656" y="3138"/>
                  </a:lnTo>
                  <a:lnTo>
                    <a:pt x="1656" y="3142"/>
                  </a:lnTo>
                  <a:lnTo>
                    <a:pt x="1656" y="3142"/>
                  </a:lnTo>
                  <a:lnTo>
                    <a:pt x="1651" y="3148"/>
                  </a:lnTo>
                  <a:lnTo>
                    <a:pt x="1647" y="3152"/>
                  </a:lnTo>
                  <a:lnTo>
                    <a:pt x="1647" y="3152"/>
                  </a:lnTo>
                  <a:lnTo>
                    <a:pt x="1646" y="3155"/>
                  </a:lnTo>
                  <a:lnTo>
                    <a:pt x="1646" y="3158"/>
                  </a:lnTo>
                  <a:lnTo>
                    <a:pt x="1648" y="3164"/>
                  </a:lnTo>
                  <a:lnTo>
                    <a:pt x="1648" y="3164"/>
                  </a:lnTo>
                  <a:lnTo>
                    <a:pt x="1648" y="3167"/>
                  </a:lnTo>
                  <a:lnTo>
                    <a:pt x="1648" y="3171"/>
                  </a:lnTo>
                  <a:lnTo>
                    <a:pt x="1648" y="3177"/>
                  </a:lnTo>
                  <a:lnTo>
                    <a:pt x="1648" y="3178"/>
                  </a:lnTo>
                  <a:lnTo>
                    <a:pt x="1648" y="3178"/>
                  </a:lnTo>
                  <a:lnTo>
                    <a:pt x="1646" y="3181"/>
                  </a:lnTo>
                  <a:lnTo>
                    <a:pt x="1646" y="3181"/>
                  </a:lnTo>
                  <a:lnTo>
                    <a:pt x="1643" y="3185"/>
                  </a:lnTo>
                  <a:lnTo>
                    <a:pt x="1643" y="3185"/>
                  </a:lnTo>
                  <a:lnTo>
                    <a:pt x="1643" y="3189"/>
                  </a:lnTo>
                  <a:lnTo>
                    <a:pt x="1646" y="3194"/>
                  </a:lnTo>
                  <a:lnTo>
                    <a:pt x="1646" y="3194"/>
                  </a:lnTo>
                  <a:lnTo>
                    <a:pt x="1647" y="3197"/>
                  </a:lnTo>
                  <a:lnTo>
                    <a:pt x="1647" y="3197"/>
                  </a:lnTo>
                  <a:lnTo>
                    <a:pt x="1644" y="3197"/>
                  </a:lnTo>
                  <a:lnTo>
                    <a:pt x="1644" y="3197"/>
                  </a:lnTo>
                  <a:lnTo>
                    <a:pt x="1643" y="3197"/>
                  </a:lnTo>
                  <a:lnTo>
                    <a:pt x="1643" y="3197"/>
                  </a:lnTo>
                  <a:lnTo>
                    <a:pt x="1641" y="3198"/>
                  </a:lnTo>
                  <a:lnTo>
                    <a:pt x="1638" y="3199"/>
                  </a:lnTo>
                  <a:lnTo>
                    <a:pt x="1638" y="3199"/>
                  </a:lnTo>
                  <a:lnTo>
                    <a:pt x="1638" y="3204"/>
                  </a:lnTo>
                  <a:lnTo>
                    <a:pt x="1638" y="3208"/>
                  </a:lnTo>
                  <a:lnTo>
                    <a:pt x="1641" y="3215"/>
                  </a:lnTo>
                  <a:lnTo>
                    <a:pt x="1641" y="3215"/>
                  </a:lnTo>
                  <a:lnTo>
                    <a:pt x="1644" y="3219"/>
                  </a:lnTo>
                  <a:lnTo>
                    <a:pt x="1648" y="3225"/>
                  </a:lnTo>
                  <a:lnTo>
                    <a:pt x="1650" y="3225"/>
                  </a:lnTo>
                  <a:lnTo>
                    <a:pt x="1650" y="3225"/>
                  </a:lnTo>
                  <a:lnTo>
                    <a:pt x="1651" y="3228"/>
                  </a:lnTo>
                  <a:lnTo>
                    <a:pt x="1651" y="3228"/>
                  </a:lnTo>
                  <a:lnTo>
                    <a:pt x="1653" y="3229"/>
                  </a:lnTo>
                  <a:lnTo>
                    <a:pt x="1653" y="3232"/>
                  </a:lnTo>
                  <a:lnTo>
                    <a:pt x="1653" y="3232"/>
                  </a:lnTo>
                  <a:lnTo>
                    <a:pt x="1651" y="3237"/>
                  </a:lnTo>
                  <a:lnTo>
                    <a:pt x="1651" y="3237"/>
                  </a:lnTo>
                  <a:lnTo>
                    <a:pt x="1651" y="3239"/>
                  </a:lnTo>
                  <a:lnTo>
                    <a:pt x="1653" y="3244"/>
                  </a:lnTo>
                  <a:lnTo>
                    <a:pt x="1660" y="3254"/>
                  </a:lnTo>
                  <a:lnTo>
                    <a:pt x="1660" y="3254"/>
                  </a:lnTo>
                  <a:lnTo>
                    <a:pt x="1664" y="3259"/>
                  </a:lnTo>
                  <a:lnTo>
                    <a:pt x="1667" y="3264"/>
                  </a:lnTo>
                  <a:lnTo>
                    <a:pt x="1667" y="3264"/>
                  </a:lnTo>
                  <a:lnTo>
                    <a:pt x="1668" y="3269"/>
                  </a:lnTo>
                  <a:lnTo>
                    <a:pt x="1668" y="3269"/>
                  </a:lnTo>
                  <a:lnTo>
                    <a:pt x="1668" y="3274"/>
                  </a:lnTo>
                  <a:lnTo>
                    <a:pt x="1667" y="3279"/>
                  </a:lnTo>
                  <a:lnTo>
                    <a:pt x="1667" y="3279"/>
                  </a:lnTo>
                  <a:lnTo>
                    <a:pt x="1666" y="3282"/>
                  </a:lnTo>
                  <a:lnTo>
                    <a:pt x="1666" y="3285"/>
                  </a:lnTo>
                  <a:lnTo>
                    <a:pt x="1667" y="3288"/>
                  </a:lnTo>
                  <a:lnTo>
                    <a:pt x="1670" y="3291"/>
                  </a:lnTo>
                  <a:lnTo>
                    <a:pt x="1670" y="3291"/>
                  </a:lnTo>
                  <a:lnTo>
                    <a:pt x="1670" y="3299"/>
                  </a:lnTo>
                  <a:lnTo>
                    <a:pt x="1668" y="3304"/>
                  </a:lnTo>
                  <a:lnTo>
                    <a:pt x="1667" y="3308"/>
                  </a:lnTo>
                  <a:lnTo>
                    <a:pt x="1667" y="3308"/>
                  </a:lnTo>
                  <a:lnTo>
                    <a:pt x="1667" y="3312"/>
                  </a:lnTo>
                  <a:lnTo>
                    <a:pt x="1667" y="3315"/>
                  </a:lnTo>
                  <a:lnTo>
                    <a:pt x="1671" y="3318"/>
                  </a:lnTo>
                  <a:lnTo>
                    <a:pt x="1671" y="3318"/>
                  </a:lnTo>
                  <a:lnTo>
                    <a:pt x="1673" y="3319"/>
                  </a:lnTo>
                  <a:lnTo>
                    <a:pt x="1674" y="3321"/>
                  </a:lnTo>
                  <a:lnTo>
                    <a:pt x="1674" y="3321"/>
                  </a:lnTo>
                  <a:lnTo>
                    <a:pt x="1677" y="3327"/>
                  </a:lnTo>
                  <a:lnTo>
                    <a:pt x="1681" y="3329"/>
                  </a:lnTo>
                  <a:lnTo>
                    <a:pt x="1681" y="3329"/>
                  </a:lnTo>
                  <a:lnTo>
                    <a:pt x="1681" y="3329"/>
                  </a:lnTo>
                  <a:lnTo>
                    <a:pt x="1681" y="3329"/>
                  </a:lnTo>
                  <a:lnTo>
                    <a:pt x="1681" y="3332"/>
                  </a:lnTo>
                  <a:lnTo>
                    <a:pt x="1676" y="3337"/>
                  </a:lnTo>
                  <a:lnTo>
                    <a:pt x="1704" y="3334"/>
                  </a:lnTo>
                  <a:lnTo>
                    <a:pt x="1704" y="3327"/>
                  </a:lnTo>
                  <a:lnTo>
                    <a:pt x="1704" y="3327"/>
                  </a:lnTo>
                  <a:lnTo>
                    <a:pt x="1708" y="3329"/>
                  </a:lnTo>
                  <a:lnTo>
                    <a:pt x="1708" y="3329"/>
                  </a:lnTo>
                  <a:lnTo>
                    <a:pt x="1707" y="3331"/>
                  </a:lnTo>
                  <a:lnTo>
                    <a:pt x="1707" y="3331"/>
                  </a:lnTo>
                  <a:lnTo>
                    <a:pt x="1707" y="3335"/>
                  </a:lnTo>
                  <a:lnTo>
                    <a:pt x="1707" y="3335"/>
                  </a:lnTo>
                  <a:lnTo>
                    <a:pt x="1707" y="3338"/>
                  </a:lnTo>
                  <a:lnTo>
                    <a:pt x="1708" y="3339"/>
                  </a:lnTo>
                  <a:lnTo>
                    <a:pt x="1713" y="3344"/>
                  </a:lnTo>
                  <a:lnTo>
                    <a:pt x="1713" y="3344"/>
                  </a:lnTo>
                  <a:lnTo>
                    <a:pt x="1714" y="3344"/>
                  </a:lnTo>
                  <a:lnTo>
                    <a:pt x="1714" y="3344"/>
                  </a:lnTo>
                  <a:lnTo>
                    <a:pt x="1714" y="3345"/>
                  </a:lnTo>
                  <a:lnTo>
                    <a:pt x="1714" y="3348"/>
                  </a:lnTo>
                  <a:lnTo>
                    <a:pt x="1714" y="3348"/>
                  </a:lnTo>
                  <a:lnTo>
                    <a:pt x="1713" y="3352"/>
                  </a:lnTo>
                  <a:lnTo>
                    <a:pt x="1713" y="3352"/>
                  </a:lnTo>
                  <a:lnTo>
                    <a:pt x="1714" y="3357"/>
                  </a:lnTo>
                  <a:lnTo>
                    <a:pt x="1716" y="3362"/>
                  </a:lnTo>
                  <a:lnTo>
                    <a:pt x="1716" y="3362"/>
                  </a:lnTo>
                  <a:lnTo>
                    <a:pt x="1717" y="3368"/>
                  </a:lnTo>
                  <a:lnTo>
                    <a:pt x="1717" y="3368"/>
                  </a:lnTo>
                  <a:lnTo>
                    <a:pt x="1714" y="3379"/>
                  </a:lnTo>
                  <a:lnTo>
                    <a:pt x="1714" y="3381"/>
                  </a:lnTo>
                  <a:lnTo>
                    <a:pt x="1716" y="3382"/>
                  </a:lnTo>
                  <a:lnTo>
                    <a:pt x="1716" y="3382"/>
                  </a:lnTo>
                  <a:lnTo>
                    <a:pt x="1718" y="3384"/>
                  </a:lnTo>
                  <a:lnTo>
                    <a:pt x="1718" y="3384"/>
                  </a:lnTo>
                  <a:lnTo>
                    <a:pt x="1714" y="3392"/>
                  </a:lnTo>
                  <a:lnTo>
                    <a:pt x="1714" y="3392"/>
                  </a:lnTo>
                  <a:lnTo>
                    <a:pt x="1714" y="3397"/>
                  </a:lnTo>
                  <a:lnTo>
                    <a:pt x="1716" y="3399"/>
                  </a:lnTo>
                  <a:lnTo>
                    <a:pt x="1717" y="3404"/>
                  </a:lnTo>
                  <a:lnTo>
                    <a:pt x="1717" y="3404"/>
                  </a:lnTo>
                  <a:lnTo>
                    <a:pt x="1718" y="3405"/>
                  </a:lnTo>
                  <a:lnTo>
                    <a:pt x="1718" y="3405"/>
                  </a:lnTo>
                  <a:lnTo>
                    <a:pt x="1718" y="3405"/>
                  </a:lnTo>
                  <a:lnTo>
                    <a:pt x="1720" y="3409"/>
                  </a:lnTo>
                  <a:lnTo>
                    <a:pt x="1721" y="3414"/>
                  </a:lnTo>
                  <a:lnTo>
                    <a:pt x="1721" y="3414"/>
                  </a:lnTo>
                  <a:lnTo>
                    <a:pt x="1721" y="3415"/>
                  </a:lnTo>
                  <a:lnTo>
                    <a:pt x="1721" y="3415"/>
                  </a:lnTo>
                  <a:lnTo>
                    <a:pt x="1717" y="3414"/>
                  </a:lnTo>
                  <a:lnTo>
                    <a:pt x="1717" y="3414"/>
                  </a:lnTo>
                  <a:lnTo>
                    <a:pt x="1717" y="3414"/>
                  </a:lnTo>
                  <a:lnTo>
                    <a:pt x="1714" y="3412"/>
                  </a:lnTo>
                  <a:lnTo>
                    <a:pt x="1714" y="3412"/>
                  </a:lnTo>
                  <a:lnTo>
                    <a:pt x="1711" y="3412"/>
                  </a:lnTo>
                  <a:lnTo>
                    <a:pt x="1711" y="3412"/>
                  </a:lnTo>
                  <a:lnTo>
                    <a:pt x="1713" y="3411"/>
                  </a:lnTo>
                  <a:lnTo>
                    <a:pt x="1713" y="3411"/>
                  </a:lnTo>
                  <a:lnTo>
                    <a:pt x="1713" y="3409"/>
                  </a:lnTo>
                  <a:lnTo>
                    <a:pt x="1713" y="3409"/>
                  </a:lnTo>
                  <a:lnTo>
                    <a:pt x="1716" y="3404"/>
                  </a:lnTo>
                  <a:lnTo>
                    <a:pt x="1716" y="3401"/>
                  </a:lnTo>
                  <a:lnTo>
                    <a:pt x="1714" y="3398"/>
                  </a:lnTo>
                  <a:lnTo>
                    <a:pt x="1714" y="3398"/>
                  </a:lnTo>
                  <a:lnTo>
                    <a:pt x="1710" y="3397"/>
                  </a:lnTo>
                  <a:lnTo>
                    <a:pt x="1710" y="3397"/>
                  </a:lnTo>
                  <a:lnTo>
                    <a:pt x="1704" y="3399"/>
                  </a:lnTo>
                  <a:lnTo>
                    <a:pt x="1701" y="3402"/>
                  </a:lnTo>
                  <a:lnTo>
                    <a:pt x="1701" y="3402"/>
                  </a:lnTo>
                  <a:lnTo>
                    <a:pt x="1698" y="3404"/>
                  </a:lnTo>
                  <a:lnTo>
                    <a:pt x="1698" y="3404"/>
                  </a:lnTo>
                  <a:lnTo>
                    <a:pt x="1697" y="3407"/>
                  </a:lnTo>
                  <a:lnTo>
                    <a:pt x="1697" y="3407"/>
                  </a:lnTo>
                  <a:lnTo>
                    <a:pt x="1693" y="3409"/>
                  </a:lnTo>
                  <a:lnTo>
                    <a:pt x="1693" y="3409"/>
                  </a:lnTo>
                  <a:lnTo>
                    <a:pt x="1690" y="3409"/>
                  </a:lnTo>
                  <a:lnTo>
                    <a:pt x="1690" y="3409"/>
                  </a:lnTo>
                  <a:lnTo>
                    <a:pt x="1687" y="3412"/>
                  </a:lnTo>
                  <a:lnTo>
                    <a:pt x="1686" y="3414"/>
                  </a:lnTo>
                  <a:lnTo>
                    <a:pt x="1686" y="3415"/>
                  </a:lnTo>
                  <a:lnTo>
                    <a:pt x="1686" y="3415"/>
                  </a:lnTo>
                  <a:lnTo>
                    <a:pt x="1686" y="3417"/>
                  </a:lnTo>
                  <a:lnTo>
                    <a:pt x="1687" y="3418"/>
                  </a:lnTo>
                  <a:lnTo>
                    <a:pt x="1691" y="3421"/>
                  </a:lnTo>
                  <a:lnTo>
                    <a:pt x="1691" y="3421"/>
                  </a:lnTo>
                  <a:lnTo>
                    <a:pt x="1694" y="3421"/>
                  </a:lnTo>
                  <a:lnTo>
                    <a:pt x="1694" y="3421"/>
                  </a:lnTo>
                  <a:lnTo>
                    <a:pt x="1697" y="3422"/>
                  </a:lnTo>
                  <a:lnTo>
                    <a:pt x="1698" y="3425"/>
                  </a:lnTo>
                  <a:lnTo>
                    <a:pt x="1698" y="3425"/>
                  </a:lnTo>
                  <a:lnTo>
                    <a:pt x="1698" y="3427"/>
                  </a:lnTo>
                  <a:lnTo>
                    <a:pt x="1698" y="3427"/>
                  </a:lnTo>
                  <a:lnTo>
                    <a:pt x="1700" y="3431"/>
                  </a:lnTo>
                  <a:lnTo>
                    <a:pt x="1700" y="3431"/>
                  </a:lnTo>
                  <a:lnTo>
                    <a:pt x="1700" y="3431"/>
                  </a:lnTo>
                  <a:lnTo>
                    <a:pt x="1701" y="3437"/>
                  </a:lnTo>
                  <a:lnTo>
                    <a:pt x="1701" y="3437"/>
                  </a:lnTo>
                  <a:lnTo>
                    <a:pt x="1703" y="3441"/>
                  </a:lnTo>
                  <a:lnTo>
                    <a:pt x="1704" y="3444"/>
                  </a:lnTo>
                  <a:lnTo>
                    <a:pt x="1704" y="3444"/>
                  </a:lnTo>
                  <a:lnTo>
                    <a:pt x="1704" y="3445"/>
                  </a:lnTo>
                  <a:lnTo>
                    <a:pt x="1704" y="3445"/>
                  </a:lnTo>
                  <a:lnTo>
                    <a:pt x="1701" y="3445"/>
                  </a:lnTo>
                  <a:lnTo>
                    <a:pt x="1700" y="3448"/>
                  </a:lnTo>
                  <a:lnTo>
                    <a:pt x="1700" y="3448"/>
                  </a:lnTo>
                  <a:lnTo>
                    <a:pt x="1698" y="3449"/>
                  </a:lnTo>
                  <a:lnTo>
                    <a:pt x="1698" y="3452"/>
                  </a:lnTo>
                  <a:lnTo>
                    <a:pt x="1698" y="3452"/>
                  </a:lnTo>
                  <a:lnTo>
                    <a:pt x="1700" y="3457"/>
                  </a:lnTo>
                  <a:lnTo>
                    <a:pt x="1700" y="3457"/>
                  </a:lnTo>
                  <a:lnTo>
                    <a:pt x="1700" y="3459"/>
                  </a:lnTo>
                  <a:lnTo>
                    <a:pt x="1698" y="3462"/>
                  </a:lnTo>
                  <a:lnTo>
                    <a:pt x="1698" y="3462"/>
                  </a:lnTo>
                  <a:lnTo>
                    <a:pt x="1698" y="3464"/>
                  </a:lnTo>
                  <a:lnTo>
                    <a:pt x="1698" y="3464"/>
                  </a:lnTo>
                  <a:lnTo>
                    <a:pt x="1697" y="3467"/>
                  </a:lnTo>
                  <a:lnTo>
                    <a:pt x="1697" y="3467"/>
                  </a:lnTo>
                  <a:lnTo>
                    <a:pt x="1696" y="3467"/>
                  </a:lnTo>
                  <a:lnTo>
                    <a:pt x="1696" y="3467"/>
                  </a:lnTo>
                  <a:lnTo>
                    <a:pt x="1693" y="3468"/>
                  </a:lnTo>
                  <a:lnTo>
                    <a:pt x="1693" y="3468"/>
                  </a:lnTo>
                  <a:lnTo>
                    <a:pt x="1691" y="3472"/>
                  </a:lnTo>
                  <a:lnTo>
                    <a:pt x="1691" y="3475"/>
                  </a:lnTo>
                  <a:lnTo>
                    <a:pt x="1694" y="3481"/>
                  </a:lnTo>
                  <a:lnTo>
                    <a:pt x="1696" y="3482"/>
                  </a:lnTo>
                  <a:lnTo>
                    <a:pt x="1696" y="3482"/>
                  </a:lnTo>
                  <a:lnTo>
                    <a:pt x="1697" y="3484"/>
                  </a:lnTo>
                  <a:lnTo>
                    <a:pt x="1700" y="3485"/>
                  </a:lnTo>
                  <a:lnTo>
                    <a:pt x="1700" y="3485"/>
                  </a:lnTo>
                  <a:lnTo>
                    <a:pt x="1703" y="3487"/>
                  </a:lnTo>
                  <a:lnTo>
                    <a:pt x="1704" y="3487"/>
                  </a:lnTo>
                  <a:lnTo>
                    <a:pt x="1704" y="3487"/>
                  </a:lnTo>
                  <a:lnTo>
                    <a:pt x="1706" y="3485"/>
                  </a:lnTo>
                  <a:lnTo>
                    <a:pt x="1706" y="3484"/>
                  </a:lnTo>
                  <a:lnTo>
                    <a:pt x="1706" y="3484"/>
                  </a:lnTo>
                  <a:lnTo>
                    <a:pt x="1707" y="3484"/>
                  </a:lnTo>
                  <a:lnTo>
                    <a:pt x="1707" y="3484"/>
                  </a:lnTo>
                  <a:lnTo>
                    <a:pt x="1707" y="3482"/>
                  </a:lnTo>
                  <a:lnTo>
                    <a:pt x="1707" y="3482"/>
                  </a:lnTo>
                  <a:lnTo>
                    <a:pt x="1708" y="3481"/>
                  </a:lnTo>
                  <a:lnTo>
                    <a:pt x="1708" y="3481"/>
                  </a:lnTo>
                  <a:lnTo>
                    <a:pt x="1710" y="3481"/>
                  </a:lnTo>
                  <a:lnTo>
                    <a:pt x="1711" y="3482"/>
                  </a:lnTo>
                  <a:lnTo>
                    <a:pt x="1711" y="3482"/>
                  </a:lnTo>
                  <a:lnTo>
                    <a:pt x="1713" y="3484"/>
                  </a:lnTo>
                  <a:lnTo>
                    <a:pt x="1713" y="3484"/>
                  </a:lnTo>
                  <a:lnTo>
                    <a:pt x="1714" y="3485"/>
                  </a:lnTo>
                  <a:lnTo>
                    <a:pt x="1716" y="3487"/>
                  </a:lnTo>
                  <a:lnTo>
                    <a:pt x="1716" y="3487"/>
                  </a:lnTo>
                  <a:lnTo>
                    <a:pt x="1720" y="3487"/>
                  </a:lnTo>
                  <a:lnTo>
                    <a:pt x="1720" y="3487"/>
                  </a:lnTo>
                  <a:lnTo>
                    <a:pt x="1723" y="3487"/>
                  </a:lnTo>
                  <a:lnTo>
                    <a:pt x="1723" y="3487"/>
                  </a:lnTo>
                  <a:lnTo>
                    <a:pt x="1724" y="3487"/>
                  </a:lnTo>
                  <a:lnTo>
                    <a:pt x="1724" y="3487"/>
                  </a:lnTo>
                  <a:lnTo>
                    <a:pt x="1724" y="3487"/>
                  </a:lnTo>
                  <a:lnTo>
                    <a:pt x="1724" y="3487"/>
                  </a:lnTo>
                  <a:lnTo>
                    <a:pt x="1723" y="3489"/>
                  </a:lnTo>
                  <a:lnTo>
                    <a:pt x="1724" y="3492"/>
                  </a:lnTo>
                  <a:lnTo>
                    <a:pt x="1724" y="3492"/>
                  </a:lnTo>
                  <a:lnTo>
                    <a:pt x="1727" y="3494"/>
                  </a:lnTo>
                  <a:lnTo>
                    <a:pt x="1727" y="3494"/>
                  </a:lnTo>
                  <a:lnTo>
                    <a:pt x="1727" y="3495"/>
                  </a:lnTo>
                  <a:lnTo>
                    <a:pt x="1727" y="3495"/>
                  </a:lnTo>
                  <a:lnTo>
                    <a:pt x="1727" y="3497"/>
                  </a:lnTo>
                  <a:lnTo>
                    <a:pt x="1727" y="3497"/>
                  </a:lnTo>
                  <a:lnTo>
                    <a:pt x="1727" y="3499"/>
                  </a:lnTo>
                  <a:lnTo>
                    <a:pt x="1727" y="3499"/>
                  </a:lnTo>
                  <a:lnTo>
                    <a:pt x="1730" y="3505"/>
                  </a:lnTo>
                  <a:lnTo>
                    <a:pt x="1730" y="3505"/>
                  </a:lnTo>
                  <a:lnTo>
                    <a:pt x="1731" y="3508"/>
                  </a:lnTo>
                  <a:lnTo>
                    <a:pt x="1731" y="3508"/>
                  </a:lnTo>
                  <a:lnTo>
                    <a:pt x="1733" y="3509"/>
                  </a:lnTo>
                  <a:lnTo>
                    <a:pt x="1733" y="3509"/>
                  </a:lnTo>
                  <a:lnTo>
                    <a:pt x="1733" y="3511"/>
                  </a:lnTo>
                  <a:lnTo>
                    <a:pt x="1733" y="3511"/>
                  </a:lnTo>
                  <a:lnTo>
                    <a:pt x="1733" y="3511"/>
                  </a:lnTo>
                  <a:lnTo>
                    <a:pt x="1733" y="3511"/>
                  </a:lnTo>
                  <a:lnTo>
                    <a:pt x="1730" y="3508"/>
                  </a:lnTo>
                  <a:lnTo>
                    <a:pt x="1726" y="3505"/>
                  </a:lnTo>
                  <a:lnTo>
                    <a:pt x="1726" y="3505"/>
                  </a:lnTo>
                  <a:lnTo>
                    <a:pt x="1723" y="3505"/>
                  </a:lnTo>
                  <a:lnTo>
                    <a:pt x="1720" y="3508"/>
                  </a:lnTo>
                  <a:lnTo>
                    <a:pt x="1720" y="3508"/>
                  </a:lnTo>
                  <a:lnTo>
                    <a:pt x="1717" y="3509"/>
                  </a:lnTo>
                  <a:lnTo>
                    <a:pt x="1717" y="3512"/>
                  </a:lnTo>
                  <a:lnTo>
                    <a:pt x="1716" y="3518"/>
                  </a:lnTo>
                  <a:lnTo>
                    <a:pt x="1716" y="3518"/>
                  </a:lnTo>
                  <a:lnTo>
                    <a:pt x="1717" y="3519"/>
                  </a:lnTo>
                  <a:lnTo>
                    <a:pt x="1717" y="3519"/>
                  </a:lnTo>
                  <a:lnTo>
                    <a:pt x="1716" y="3522"/>
                  </a:lnTo>
                  <a:lnTo>
                    <a:pt x="1716" y="3522"/>
                  </a:lnTo>
                  <a:lnTo>
                    <a:pt x="1716" y="3526"/>
                  </a:lnTo>
                  <a:lnTo>
                    <a:pt x="1717" y="3531"/>
                  </a:lnTo>
                  <a:lnTo>
                    <a:pt x="1717" y="3531"/>
                  </a:lnTo>
                  <a:lnTo>
                    <a:pt x="1718" y="3532"/>
                  </a:lnTo>
                  <a:lnTo>
                    <a:pt x="1718" y="3532"/>
                  </a:lnTo>
                  <a:lnTo>
                    <a:pt x="1721" y="3536"/>
                  </a:lnTo>
                  <a:lnTo>
                    <a:pt x="1721" y="3536"/>
                  </a:lnTo>
                  <a:lnTo>
                    <a:pt x="1720" y="3538"/>
                  </a:lnTo>
                  <a:lnTo>
                    <a:pt x="1720" y="3538"/>
                  </a:lnTo>
                  <a:lnTo>
                    <a:pt x="1721" y="3542"/>
                  </a:lnTo>
                  <a:lnTo>
                    <a:pt x="1721" y="3542"/>
                  </a:lnTo>
                  <a:lnTo>
                    <a:pt x="1723" y="3544"/>
                  </a:lnTo>
                  <a:lnTo>
                    <a:pt x="1724" y="3545"/>
                  </a:lnTo>
                  <a:lnTo>
                    <a:pt x="1724" y="3545"/>
                  </a:lnTo>
                  <a:lnTo>
                    <a:pt x="1726" y="3546"/>
                  </a:lnTo>
                  <a:lnTo>
                    <a:pt x="1726" y="3546"/>
                  </a:lnTo>
                  <a:lnTo>
                    <a:pt x="1726" y="3548"/>
                  </a:lnTo>
                  <a:lnTo>
                    <a:pt x="1726" y="3548"/>
                  </a:lnTo>
                  <a:lnTo>
                    <a:pt x="1726" y="3552"/>
                  </a:lnTo>
                  <a:lnTo>
                    <a:pt x="1726" y="3552"/>
                  </a:lnTo>
                  <a:lnTo>
                    <a:pt x="1727" y="3554"/>
                  </a:lnTo>
                  <a:lnTo>
                    <a:pt x="1730" y="3555"/>
                  </a:lnTo>
                  <a:lnTo>
                    <a:pt x="1730" y="3555"/>
                  </a:lnTo>
                  <a:lnTo>
                    <a:pt x="1731" y="3556"/>
                  </a:lnTo>
                  <a:lnTo>
                    <a:pt x="1731" y="3556"/>
                  </a:lnTo>
                  <a:lnTo>
                    <a:pt x="1733" y="3559"/>
                  </a:lnTo>
                  <a:lnTo>
                    <a:pt x="1733" y="3559"/>
                  </a:lnTo>
                  <a:lnTo>
                    <a:pt x="1733" y="3562"/>
                  </a:lnTo>
                  <a:lnTo>
                    <a:pt x="1733" y="3562"/>
                  </a:lnTo>
                  <a:lnTo>
                    <a:pt x="1734" y="3566"/>
                  </a:lnTo>
                  <a:lnTo>
                    <a:pt x="1737" y="3568"/>
                  </a:lnTo>
                  <a:lnTo>
                    <a:pt x="1740" y="3569"/>
                  </a:lnTo>
                  <a:lnTo>
                    <a:pt x="1744" y="3571"/>
                  </a:lnTo>
                  <a:lnTo>
                    <a:pt x="1743" y="3571"/>
                  </a:lnTo>
                  <a:lnTo>
                    <a:pt x="1743" y="3572"/>
                  </a:lnTo>
                  <a:lnTo>
                    <a:pt x="1743" y="3572"/>
                  </a:lnTo>
                  <a:lnTo>
                    <a:pt x="1743" y="3576"/>
                  </a:lnTo>
                  <a:lnTo>
                    <a:pt x="1746" y="3579"/>
                  </a:lnTo>
                  <a:lnTo>
                    <a:pt x="1746" y="3579"/>
                  </a:lnTo>
                  <a:lnTo>
                    <a:pt x="1747" y="3582"/>
                  </a:lnTo>
                  <a:lnTo>
                    <a:pt x="1747" y="3582"/>
                  </a:lnTo>
                  <a:lnTo>
                    <a:pt x="1748" y="3584"/>
                  </a:lnTo>
                  <a:lnTo>
                    <a:pt x="1748" y="3585"/>
                  </a:lnTo>
                  <a:lnTo>
                    <a:pt x="1748" y="3585"/>
                  </a:lnTo>
                  <a:lnTo>
                    <a:pt x="1750" y="3589"/>
                  </a:lnTo>
                  <a:lnTo>
                    <a:pt x="1751" y="3592"/>
                  </a:lnTo>
                  <a:lnTo>
                    <a:pt x="1754" y="3594"/>
                  </a:lnTo>
                  <a:lnTo>
                    <a:pt x="1760" y="3594"/>
                  </a:lnTo>
                  <a:lnTo>
                    <a:pt x="1760" y="3594"/>
                  </a:lnTo>
                  <a:lnTo>
                    <a:pt x="1760" y="3594"/>
                  </a:lnTo>
                  <a:lnTo>
                    <a:pt x="1761" y="3598"/>
                  </a:lnTo>
                  <a:lnTo>
                    <a:pt x="1764" y="3601"/>
                  </a:lnTo>
                  <a:lnTo>
                    <a:pt x="1766" y="3602"/>
                  </a:lnTo>
                  <a:lnTo>
                    <a:pt x="1766" y="3602"/>
                  </a:lnTo>
                  <a:lnTo>
                    <a:pt x="1767" y="3602"/>
                  </a:lnTo>
                  <a:lnTo>
                    <a:pt x="1767" y="3602"/>
                  </a:lnTo>
                  <a:lnTo>
                    <a:pt x="1768" y="3605"/>
                  </a:lnTo>
                  <a:lnTo>
                    <a:pt x="1768" y="3605"/>
                  </a:lnTo>
                  <a:lnTo>
                    <a:pt x="1766" y="3606"/>
                  </a:lnTo>
                  <a:lnTo>
                    <a:pt x="1766" y="3606"/>
                  </a:lnTo>
                  <a:lnTo>
                    <a:pt x="1764" y="3611"/>
                  </a:lnTo>
                  <a:lnTo>
                    <a:pt x="1764" y="3614"/>
                  </a:lnTo>
                  <a:lnTo>
                    <a:pt x="1764" y="3614"/>
                  </a:lnTo>
                  <a:lnTo>
                    <a:pt x="1766" y="3616"/>
                  </a:lnTo>
                  <a:lnTo>
                    <a:pt x="1770" y="3619"/>
                  </a:lnTo>
                  <a:lnTo>
                    <a:pt x="1770" y="3619"/>
                  </a:lnTo>
                  <a:lnTo>
                    <a:pt x="1774" y="3619"/>
                  </a:lnTo>
                  <a:lnTo>
                    <a:pt x="1774" y="3619"/>
                  </a:lnTo>
                  <a:lnTo>
                    <a:pt x="1774" y="3621"/>
                  </a:lnTo>
                  <a:lnTo>
                    <a:pt x="1774" y="3624"/>
                  </a:lnTo>
                  <a:lnTo>
                    <a:pt x="1774" y="3624"/>
                  </a:lnTo>
                  <a:lnTo>
                    <a:pt x="1778" y="3629"/>
                  </a:lnTo>
                  <a:lnTo>
                    <a:pt x="1783" y="3635"/>
                  </a:lnTo>
                  <a:lnTo>
                    <a:pt x="1783" y="3635"/>
                  </a:lnTo>
                  <a:lnTo>
                    <a:pt x="1786" y="3636"/>
                  </a:lnTo>
                  <a:lnTo>
                    <a:pt x="1788" y="3638"/>
                  </a:lnTo>
                  <a:lnTo>
                    <a:pt x="1788" y="3638"/>
                  </a:lnTo>
                  <a:lnTo>
                    <a:pt x="1791" y="3635"/>
                  </a:lnTo>
                  <a:lnTo>
                    <a:pt x="1793" y="3634"/>
                  </a:lnTo>
                  <a:lnTo>
                    <a:pt x="1793" y="3634"/>
                  </a:lnTo>
                  <a:lnTo>
                    <a:pt x="1794" y="3631"/>
                  </a:lnTo>
                  <a:lnTo>
                    <a:pt x="1794" y="3631"/>
                  </a:lnTo>
                  <a:lnTo>
                    <a:pt x="1794" y="3632"/>
                  </a:lnTo>
                  <a:lnTo>
                    <a:pt x="1794" y="3632"/>
                  </a:lnTo>
                  <a:lnTo>
                    <a:pt x="1797" y="3636"/>
                  </a:lnTo>
                  <a:lnTo>
                    <a:pt x="1800" y="3639"/>
                  </a:lnTo>
                  <a:lnTo>
                    <a:pt x="1800" y="3639"/>
                  </a:lnTo>
                  <a:lnTo>
                    <a:pt x="1803" y="3641"/>
                  </a:lnTo>
                  <a:lnTo>
                    <a:pt x="1803" y="3641"/>
                  </a:lnTo>
                  <a:lnTo>
                    <a:pt x="1806" y="3642"/>
                  </a:lnTo>
                  <a:lnTo>
                    <a:pt x="1806" y="3642"/>
                  </a:lnTo>
                  <a:lnTo>
                    <a:pt x="1807" y="3644"/>
                  </a:lnTo>
                  <a:lnTo>
                    <a:pt x="1807" y="3644"/>
                  </a:lnTo>
                  <a:lnTo>
                    <a:pt x="1808" y="3645"/>
                  </a:lnTo>
                  <a:lnTo>
                    <a:pt x="1808" y="3645"/>
                  </a:lnTo>
                  <a:lnTo>
                    <a:pt x="1811" y="3648"/>
                  </a:lnTo>
                  <a:lnTo>
                    <a:pt x="1816" y="3651"/>
                  </a:lnTo>
                  <a:lnTo>
                    <a:pt x="1816" y="3651"/>
                  </a:lnTo>
                  <a:lnTo>
                    <a:pt x="1820" y="3652"/>
                  </a:lnTo>
                  <a:lnTo>
                    <a:pt x="1821" y="3655"/>
                  </a:lnTo>
                  <a:lnTo>
                    <a:pt x="1821" y="3655"/>
                  </a:lnTo>
                  <a:lnTo>
                    <a:pt x="1816" y="3652"/>
                  </a:lnTo>
                  <a:lnTo>
                    <a:pt x="1816" y="3652"/>
                  </a:lnTo>
                  <a:lnTo>
                    <a:pt x="1811" y="3651"/>
                  </a:lnTo>
                  <a:lnTo>
                    <a:pt x="1811" y="3651"/>
                  </a:lnTo>
                  <a:lnTo>
                    <a:pt x="1806" y="3648"/>
                  </a:lnTo>
                  <a:lnTo>
                    <a:pt x="1798" y="3648"/>
                  </a:lnTo>
                  <a:lnTo>
                    <a:pt x="1797" y="3646"/>
                  </a:lnTo>
                  <a:lnTo>
                    <a:pt x="1797" y="3649"/>
                  </a:lnTo>
                  <a:lnTo>
                    <a:pt x="1797" y="3649"/>
                  </a:lnTo>
                  <a:lnTo>
                    <a:pt x="1797" y="3652"/>
                  </a:lnTo>
                  <a:lnTo>
                    <a:pt x="1798" y="3655"/>
                  </a:lnTo>
                  <a:lnTo>
                    <a:pt x="1804" y="3658"/>
                  </a:lnTo>
                  <a:lnTo>
                    <a:pt x="1813" y="3662"/>
                  </a:lnTo>
                  <a:lnTo>
                    <a:pt x="1813" y="3662"/>
                  </a:lnTo>
                  <a:lnTo>
                    <a:pt x="1813" y="3662"/>
                  </a:lnTo>
                  <a:lnTo>
                    <a:pt x="1823" y="3665"/>
                  </a:lnTo>
                  <a:lnTo>
                    <a:pt x="1823" y="3665"/>
                  </a:lnTo>
                  <a:lnTo>
                    <a:pt x="1823" y="3668"/>
                  </a:lnTo>
                  <a:lnTo>
                    <a:pt x="1821" y="3671"/>
                  </a:lnTo>
                  <a:lnTo>
                    <a:pt x="1823" y="3674"/>
                  </a:lnTo>
                  <a:lnTo>
                    <a:pt x="1826" y="3678"/>
                  </a:lnTo>
                  <a:lnTo>
                    <a:pt x="1826" y="3678"/>
                  </a:lnTo>
                  <a:lnTo>
                    <a:pt x="1828" y="3679"/>
                  </a:lnTo>
                  <a:lnTo>
                    <a:pt x="1828" y="3679"/>
                  </a:lnTo>
                  <a:lnTo>
                    <a:pt x="1828" y="3679"/>
                  </a:lnTo>
                  <a:lnTo>
                    <a:pt x="1828" y="3679"/>
                  </a:lnTo>
                  <a:lnTo>
                    <a:pt x="1831" y="3678"/>
                  </a:lnTo>
                  <a:lnTo>
                    <a:pt x="1831" y="3675"/>
                  </a:lnTo>
                  <a:lnTo>
                    <a:pt x="1831" y="3675"/>
                  </a:lnTo>
                  <a:lnTo>
                    <a:pt x="1833" y="3675"/>
                  </a:lnTo>
                  <a:lnTo>
                    <a:pt x="1833" y="3675"/>
                  </a:lnTo>
                  <a:lnTo>
                    <a:pt x="1834" y="3678"/>
                  </a:lnTo>
                  <a:lnTo>
                    <a:pt x="1836" y="3679"/>
                  </a:lnTo>
                  <a:lnTo>
                    <a:pt x="1836" y="3679"/>
                  </a:lnTo>
                  <a:lnTo>
                    <a:pt x="1838" y="3681"/>
                  </a:lnTo>
                  <a:lnTo>
                    <a:pt x="1838" y="3681"/>
                  </a:lnTo>
                  <a:lnTo>
                    <a:pt x="1841" y="3684"/>
                  </a:lnTo>
                  <a:lnTo>
                    <a:pt x="1841" y="3684"/>
                  </a:lnTo>
                  <a:lnTo>
                    <a:pt x="1843" y="3686"/>
                  </a:lnTo>
                  <a:lnTo>
                    <a:pt x="1843" y="3686"/>
                  </a:lnTo>
                  <a:lnTo>
                    <a:pt x="1846" y="3689"/>
                  </a:lnTo>
                  <a:lnTo>
                    <a:pt x="1850" y="3689"/>
                  </a:lnTo>
                  <a:lnTo>
                    <a:pt x="1850" y="3689"/>
                  </a:lnTo>
                  <a:lnTo>
                    <a:pt x="1853" y="3688"/>
                  </a:lnTo>
                  <a:lnTo>
                    <a:pt x="1853" y="3688"/>
                  </a:lnTo>
                  <a:lnTo>
                    <a:pt x="1856" y="3689"/>
                  </a:lnTo>
                  <a:lnTo>
                    <a:pt x="1860" y="3689"/>
                  </a:lnTo>
                  <a:lnTo>
                    <a:pt x="1860" y="3689"/>
                  </a:lnTo>
                  <a:lnTo>
                    <a:pt x="1864" y="3689"/>
                  </a:lnTo>
                  <a:lnTo>
                    <a:pt x="1864" y="3689"/>
                  </a:lnTo>
                  <a:lnTo>
                    <a:pt x="1866" y="3691"/>
                  </a:lnTo>
                  <a:lnTo>
                    <a:pt x="1866" y="3691"/>
                  </a:lnTo>
                  <a:lnTo>
                    <a:pt x="1866" y="3691"/>
                  </a:lnTo>
                  <a:lnTo>
                    <a:pt x="1866" y="3691"/>
                  </a:lnTo>
                  <a:lnTo>
                    <a:pt x="1866" y="3691"/>
                  </a:lnTo>
                  <a:lnTo>
                    <a:pt x="1866" y="3691"/>
                  </a:lnTo>
                  <a:lnTo>
                    <a:pt x="1866" y="3692"/>
                  </a:lnTo>
                  <a:lnTo>
                    <a:pt x="1866" y="3692"/>
                  </a:lnTo>
                  <a:lnTo>
                    <a:pt x="1866" y="3695"/>
                  </a:lnTo>
                  <a:lnTo>
                    <a:pt x="1866" y="3696"/>
                  </a:lnTo>
                  <a:lnTo>
                    <a:pt x="1866" y="3696"/>
                  </a:lnTo>
                  <a:lnTo>
                    <a:pt x="1868" y="3699"/>
                  </a:lnTo>
                  <a:lnTo>
                    <a:pt x="1871" y="3699"/>
                  </a:lnTo>
                  <a:lnTo>
                    <a:pt x="1871" y="3699"/>
                  </a:lnTo>
                  <a:lnTo>
                    <a:pt x="1877" y="3699"/>
                  </a:lnTo>
                  <a:lnTo>
                    <a:pt x="1877" y="3699"/>
                  </a:lnTo>
                  <a:lnTo>
                    <a:pt x="1880" y="3699"/>
                  </a:lnTo>
                  <a:lnTo>
                    <a:pt x="1880" y="3699"/>
                  </a:lnTo>
                  <a:lnTo>
                    <a:pt x="1881" y="3699"/>
                  </a:lnTo>
                  <a:lnTo>
                    <a:pt x="1881" y="3699"/>
                  </a:lnTo>
                  <a:lnTo>
                    <a:pt x="1883" y="3701"/>
                  </a:lnTo>
                  <a:lnTo>
                    <a:pt x="1883" y="3701"/>
                  </a:lnTo>
                  <a:lnTo>
                    <a:pt x="1883" y="3701"/>
                  </a:lnTo>
                  <a:lnTo>
                    <a:pt x="1883" y="3701"/>
                  </a:lnTo>
                  <a:lnTo>
                    <a:pt x="1883" y="3701"/>
                  </a:lnTo>
                  <a:lnTo>
                    <a:pt x="1883" y="3701"/>
                  </a:lnTo>
                  <a:lnTo>
                    <a:pt x="1883" y="3701"/>
                  </a:lnTo>
                  <a:lnTo>
                    <a:pt x="1883" y="3701"/>
                  </a:lnTo>
                  <a:lnTo>
                    <a:pt x="1883" y="3702"/>
                  </a:lnTo>
                  <a:lnTo>
                    <a:pt x="1883" y="3702"/>
                  </a:lnTo>
                  <a:lnTo>
                    <a:pt x="1883" y="3705"/>
                  </a:lnTo>
                  <a:lnTo>
                    <a:pt x="1887" y="3708"/>
                  </a:lnTo>
                  <a:lnTo>
                    <a:pt x="1887" y="3708"/>
                  </a:lnTo>
                  <a:lnTo>
                    <a:pt x="1888" y="3709"/>
                  </a:lnTo>
                  <a:lnTo>
                    <a:pt x="1888" y="3709"/>
                  </a:lnTo>
                  <a:lnTo>
                    <a:pt x="1891" y="3711"/>
                  </a:lnTo>
                  <a:lnTo>
                    <a:pt x="1891" y="3711"/>
                  </a:lnTo>
                  <a:lnTo>
                    <a:pt x="1894" y="3709"/>
                  </a:lnTo>
                  <a:lnTo>
                    <a:pt x="1897" y="3708"/>
                  </a:lnTo>
                  <a:lnTo>
                    <a:pt x="1898" y="3706"/>
                  </a:lnTo>
                  <a:lnTo>
                    <a:pt x="1898" y="3706"/>
                  </a:lnTo>
                  <a:lnTo>
                    <a:pt x="1900" y="3706"/>
                  </a:lnTo>
                  <a:lnTo>
                    <a:pt x="1900" y="3706"/>
                  </a:lnTo>
                  <a:lnTo>
                    <a:pt x="1900" y="3708"/>
                  </a:lnTo>
                  <a:lnTo>
                    <a:pt x="1900" y="3708"/>
                  </a:lnTo>
                  <a:lnTo>
                    <a:pt x="1900" y="3711"/>
                  </a:lnTo>
                  <a:lnTo>
                    <a:pt x="1900" y="3712"/>
                  </a:lnTo>
                  <a:lnTo>
                    <a:pt x="1900" y="3712"/>
                  </a:lnTo>
                  <a:lnTo>
                    <a:pt x="1903" y="3714"/>
                  </a:lnTo>
                  <a:lnTo>
                    <a:pt x="1904" y="3715"/>
                  </a:lnTo>
                  <a:lnTo>
                    <a:pt x="1910" y="3715"/>
                  </a:lnTo>
                  <a:lnTo>
                    <a:pt x="1910" y="3715"/>
                  </a:lnTo>
                  <a:lnTo>
                    <a:pt x="1916" y="3716"/>
                  </a:lnTo>
                  <a:lnTo>
                    <a:pt x="1918" y="3718"/>
                  </a:lnTo>
                  <a:lnTo>
                    <a:pt x="1918" y="3718"/>
                  </a:lnTo>
                  <a:lnTo>
                    <a:pt x="1921" y="3719"/>
                  </a:lnTo>
                  <a:lnTo>
                    <a:pt x="1921" y="3719"/>
                  </a:lnTo>
                  <a:lnTo>
                    <a:pt x="1923" y="3719"/>
                  </a:lnTo>
                  <a:lnTo>
                    <a:pt x="1923" y="3719"/>
                  </a:lnTo>
                  <a:lnTo>
                    <a:pt x="1924" y="3721"/>
                  </a:lnTo>
                  <a:lnTo>
                    <a:pt x="1926" y="3721"/>
                  </a:lnTo>
                  <a:lnTo>
                    <a:pt x="1926" y="3721"/>
                  </a:lnTo>
                  <a:lnTo>
                    <a:pt x="1927" y="3719"/>
                  </a:lnTo>
                  <a:lnTo>
                    <a:pt x="1928" y="3718"/>
                  </a:lnTo>
                  <a:lnTo>
                    <a:pt x="1928" y="3718"/>
                  </a:lnTo>
                  <a:lnTo>
                    <a:pt x="1930" y="3716"/>
                  </a:lnTo>
                  <a:lnTo>
                    <a:pt x="1930" y="3716"/>
                  </a:lnTo>
                  <a:lnTo>
                    <a:pt x="1930" y="3718"/>
                  </a:lnTo>
                  <a:lnTo>
                    <a:pt x="1930" y="3718"/>
                  </a:lnTo>
                  <a:lnTo>
                    <a:pt x="1930" y="3719"/>
                  </a:lnTo>
                  <a:lnTo>
                    <a:pt x="1931" y="3722"/>
                  </a:lnTo>
                  <a:lnTo>
                    <a:pt x="1931" y="3722"/>
                  </a:lnTo>
                  <a:lnTo>
                    <a:pt x="1933" y="3724"/>
                  </a:lnTo>
                  <a:lnTo>
                    <a:pt x="1936" y="3724"/>
                  </a:lnTo>
                  <a:lnTo>
                    <a:pt x="1941" y="3724"/>
                  </a:lnTo>
                  <a:lnTo>
                    <a:pt x="1941" y="3724"/>
                  </a:lnTo>
                  <a:lnTo>
                    <a:pt x="1944" y="3724"/>
                  </a:lnTo>
                  <a:lnTo>
                    <a:pt x="1946" y="3722"/>
                  </a:lnTo>
                  <a:lnTo>
                    <a:pt x="1946" y="3722"/>
                  </a:lnTo>
                  <a:lnTo>
                    <a:pt x="1946" y="3722"/>
                  </a:lnTo>
                  <a:lnTo>
                    <a:pt x="1946" y="3722"/>
                  </a:lnTo>
                  <a:lnTo>
                    <a:pt x="1947" y="3724"/>
                  </a:lnTo>
                  <a:lnTo>
                    <a:pt x="1947" y="3724"/>
                  </a:lnTo>
                  <a:lnTo>
                    <a:pt x="1950" y="3725"/>
                  </a:lnTo>
                  <a:lnTo>
                    <a:pt x="1954" y="3726"/>
                  </a:lnTo>
                  <a:lnTo>
                    <a:pt x="1960" y="3728"/>
                  </a:lnTo>
                  <a:lnTo>
                    <a:pt x="1963" y="3728"/>
                  </a:lnTo>
                  <a:lnTo>
                    <a:pt x="1963" y="3725"/>
                  </a:lnTo>
                  <a:lnTo>
                    <a:pt x="1963" y="3725"/>
                  </a:lnTo>
                  <a:lnTo>
                    <a:pt x="1963" y="3724"/>
                  </a:lnTo>
                  <a:lnTo>
                    <a:pt x="1963" y="3724"/>
                  </a:lnTo>
                  <a:lnTo>
                    <a:pt x="1966" y="3724"/>
                  </a:lnTo>
                  <a:lnTo>
                    <a:pt x="1967" y="3726"/>
                  </a:lnTo>
                  <a:lnTo>
                    <a:pt x="1967" y="3726"/>
                  </a:lnTo>
                  <a:lnTo>
                    <a:pt x="1968" y="3728"/>
                  </a:lnTo>
                  <a:lnTo>
                    <a:pt x="1968" y="3728"/>
                  </a:lnTo>
                  <a:lnTo>
                    <a:pt x="1974" y="3729"/>
                  </a:lnTo>
                  <a:lnTo>
                    <a:pt x="1974" y="3729"/>
                  </a:lnTo>
                  <a:lnTo>
                    <a:pt x="1980" y="3731"/>
                  </a:lnTo>
                  <a:lnTo>
                    <a:pt x="1980" y="3731"/>
                  </a:lnTo>
                  <a:lnTo>
                    <a:pt x="1980" y="3732"/>
                  </a:lnTo>
                  <a:lnTo>
                    <a:pt x="1980" y="3732"/>
                  </a:lnTo>
                  <a:lnTo>
                    <a:pt x="1981" y="3734"/>
                  </a:lnTo>
                  <a:lnTo>
                    <a:pt x="1983" y="3735"/>
                  </a:lnTo>
                  <a:lnTo>
                    <a:pt x="1983" y="3735"/>
                  </a:lnTo>
                  <a:lnTo>
                    <a:pt x="1984" y="3735"/>
                  </a:lnTo>
                  <a:lnTo>
                    <a:pt x="1984" y="3735"/>
                  </a:lnTo>
                  <a:lnTo>
                    <a:pt x="1986" y="3735"/>
                  </a:lnTo>
                  <a:lnTo>
                    <a:pt x="1986" y="3735"/>
                  </a:lnTo>
                  <a:lnTo>
                    <a:pt x="1987" y="3732"/>
                  </a:lnTo>
                  <a:lnTo>
                    <a:pt x="1988" y="3729"/>
                  </a:lnTo>
                  <a:lnTo>
                    <a:pt x="1988" y="3725"/>
                  </a:lnTo>
                  <a:lnTo>
                    <a:pt x="1987" y="3722"/>
                  </a:lnTo>
                  <a:lnTo>
                    <a:pt x="1987" y="3722"/>
                  </a:lnTo>
                  <a:lnTo>
                    <a:pt x="1986" y="3721"/>
                  </a:lnTo>
                  <a:lnTo>
                    <a:pt x="1986" y="3721"/>
                  </a:lnTo>
                  <a:lnTo>
                    <a:pt x="1987" y="3721"/>
                  </a:lnTo>
                  <a:lnTo>
                    <a:pt x="1987" y="3721"/>
                  </a:lnTo>
                  <a:lnTo>
                    <a:pt x="1993" y="3722"/>
                  </a:lnTo>
                  <a:lnTo>
                    <a:pt x="1993" y="3722"/>
                  </a:lnTo>
                  <a:lnTo>
                    <a:pt x="1996" y="3722"/>
                  </a:lnTo>
                  <a:lnTo>
                    <a:pt x="1996" y="3722"/>
                  </a:lnTo>
                  <a:lnTo>
                    <a:pt x="2000" y="3722"/>
                  </a:lnTo>
                  <a:lnTo>
                    <a:pt x="2000" y="3722"/>
                  </a:lnTo>
                  <a:lnTo>
                    <a:pt x="2001" y="3724"/>
                  </a:lnTo>
                  <a:lnTo>
                    <a:pt x="2001" y="3724"/>
                  </a:lnTo>
                  <a:lnTo>
                    <a:pt x="2004" y="3725"/>
                  </a:lnTo>
                  <a:lnTo>
                    <a:pt x="2007" y="3725"/>
                  </a:lnTo>
                  <a:lnTo>
                    <a:pt x="2007" y="3725"/>
                  </a:lnTo>
                  <a:lnTo>
                    <a:pt x="2008" y="3724"/>
                  </a:lnTo>
                  <a:lnTo>
                    <a:pt x="2010" y="3721"/>
                  </a:lnTo>
                  <a:lnTo>
                    <a:pt x="2011" y="3722"/>
                  </a:lnTo>
                  <a:lnTo>
                    <a:pt x="2013" y="3724"/>
                  </a:lnTo>
                  <a:lnTo>
                    <a:pt x="2013" y="3724"/>
                  </a:lnTo>
                  <a:lnTo>
                    <a:pt x="2013" y="3724"/>
                  </a:lnTo>
                  <a:lnTo>
                    <a:pt x="2014" y="3724"/>
                  </a:lnTo>
                  <a:lnTo>
                    <a:pt x="2014" y="3724"/>
                  </a:lnTo>
                  <a:lnTo>
                    <a:pt x="2016" y="3722"/>
                  </a:lnTo>
                  <a:lnTo>
                    <a:pt x="2018" y="3721"/>
                  </a:lnTo>
                  <a:lnTo>
                    <a:pt x="2018" y="3721"/>
                  </a:lnTo>
                  <a:lnTo>
                    <a:pt x="2020" y="3718"/>
                  </a:lnTo>
                  <a:lnTo>
                    <a:pt x="2018" y="3715"/>
                  </a:lnTo>
                  <a:lnTo>
                    <a:pt x="2018" y="3715"/>
                  </a:lnTo>
                  <a:lnTo>
                    <a:pt x="2030" y="3712"/>
                  </a:lnTo>
                  <a:lnTo>
                    <a:pt x="2036" y="3711"/>
                  </a:lnTo>
                  <a:lnTo>
                    <a:pt x="2037" y="3709"/>
                  </a:lnTo>
                  <a:lnTo>
                    <a:pt x="2037" y="3699"/>
                  </a:lnTo>
                  <a:lnTo>
                    <a:pt x="2034" y="3699"/>
                  </a:lnTo>
                  <a:lnTo>
                    <a:pt x="2034" y="3699"/>
                  </a:lnTo>
                  <a:lnTo>
                    <a:pt x="2028" y="3699"/>
                  </a:lnTo>
                  <a:lnTo>
                    <a:pt x="2028" y="3699"/>
                  </a:lnTo>
                  <a:lnTo>
                    <a:pt x="2016" y="3698"/>
                  </a:lnTo>
                  <a:lnTo>
                    <a:pt x="2007" y="3696"/>
                  </a:lnTo>
                  <a:lnTo>
                    <a:pt x="1997" y="3694"/>
                  </a:lnTo>
                  <a:lnTo>
                    <a:pt x="1987" y="3689"/>
                  </a:lnTo>
                  <a:lnTo>
                    <a:pt x="1976" y="3682"/>
                  </a:lnTo>
                  <a:lnTo>
                    <a:pt x="1963" y="3674"/>
                  </a:lnTo>
                  <a:lnTo>
                    <a:pt x="1951" y="3662"/>
                  </a:lnTo>
                  <a:lnTo>
                    <a:pt x="1951" y="3662"/>
                  </a:lnTo>
                  <a:lnTo>
                    <a:pt x="1947" y="3662"/>
                  </a:lnTo>
                  <a:lnTo>
                    <a:pt x="1947" y="3662"/>
                  </a:lnTo>
                  <a:lnTo>
                    <a:pt x="1943" y="3658"/>
                  </a:lnTo>
                  <a:lnTo>
                    <a:pt x="1941" y="3654"/>
                  </a:lnTo>
                  <a:lnTo>
                    <a:pt x="1941" y="3654"/>
                  </a:lnTo>
                  <a:lnTo>
                    <a:pt x="1938" y="3648"/>
                  </a:lnTo>
                  <a:lnTo>
                    <a:pt x="1938" y="3648"/>
                  </a:lnTo>
                  <a:lnTo>
                    <a:pt x="1936" y="3645"/>
                  </a:lnTo>
                  <a:lnTo>
                    <a:pt x="1934" y="3644"/>
                  </a:lnTo>
                  <a:lnTo>
                    <a:pt x="1931" y="3642"/>
                  </a:lnTo>
                  <a:lnTo>
                    <a:pt x="1927" y="3642"/>
                  </a:lnTo>
                  <a:lnTo>
                    <a:pt x="1924" y="3642"/>
                  </a:lnTo>
                  <a:lnTo>
                    <a:pt x="1924" y="3642"/>
                  </a:lnTo>
                  <a:lnTo>
                    <a:pt x="1920" y="3642"/>
                  </a:lnTo>
                  <a:lnTo>
                    <a:pt x="1916" y="3644"/>
                  </a:lnTo>
                  <a:lnTo>
                    <a:pt x="1916" y="3644"/>
                  </a:lnTo>
                  <a:lnTo>
                    <a:pt x="1906" y="3648"/>
                  </a:lnTo>
                  <a:lnTo>
                    <a:pt x="1906" y="3648"/>
                  </a:lnTo>
                  <a:lnTo>
                    <a:pt x="1900" y="3651"/>
                  </a:lnTo>
                  <a:lnTo>
                    <a:pt x="1896" y="3656"/>
                  </a:lnTo>
                  <a:lnTo>
                    <a:pt x="1896" y="3656"/>
                  </a:lnTo>
                  <a:lnTo>
                    <a:pt x="1896" y="3659"/>
                  </a:lnTo>
                  <a:lnTo>
                    <a:pt x="1896" y="3662"/>
                  </a:lnTo>
                  <a:lnTo>
                    <a:pt x="1900" y="3666"/>
                  </a:lnTo>
                  <a:lnTo>
                    <a:pt x="1900" y="3666"/>
                  </a:lnTo>
                  <a:lnTo>
                    <a:pt x="1903" y="3669"/>
                  </a:lnTo>
                  <a:lnTo>
                    <a:pt x="1907" y="3669"/>
                  </a:lnTo>
                  <a:lnTo>
                    <a:pt x="1908" y="3669"/>
                  </a:lnTo>
                  <a:lnTo>
                    <a:pt x="1908" y="3669"/>
                  </a:lnTo>
                  <a:lnTo>
                    <a:pt x="1913" y="3669"/>
                  </a:lnTo>
                  <a:lnTo>
                    <a:pt x="1913" y="3669"/>
                  </a:lnTo>
                  <a:lnTo>
                    <a:pt x="1917" y="3668"/>
                  </a:lnTo>
                  <a:lnTo>
                    <a:pt x="1917" y="3668"/>
                  </a:lnTo>
                  <a:lnTo>
                    <a:pt x="1918" y="3668"/>
                  </a:lnTo>
                  <a:lnTo>
                    <a:pt x="1918" y="3668"/>
                  </a:lnTo>
                  <a:lnTo>
                    <a:pt x="1918" y="3669"/>
                  </a:lnTo>
                  <a:lnTo>
                    <a:pt x="1918" y="3669"/>
                  </a:lnTo>
                  <a:lnTo>
                    <a:pt x="1914" y="3672"/>
                  </a:lnTo>
                  <a:lnTo>
                    <a:pt x="1914" y="3672"/>
                  </a:lnTo>
                  <a:lnTo>
                    <a:pt x="1914" y="3672"/>
                  </a:lnTo>
                  <a:lnTo>
                    <a:pt x="1911" y="3674"/>
                  </a:lnTo>
                  <a:lnTo>
                    <a:pt x="1910" y="3676"/>
                  </a:lnTo>
                  <a:lnTo>
                    <a:pt x="1910" y="3676"/>
                  </a:lnTo>
                  <a:lnTo>
                    <a:pt x="1911" y="3681"/>
                  </a:lnTo>
                  <a:lnTo>
                    <a:pt x="1911" y="3681"/>
                  </a:lnTo>
                  <a:lnTo>
                    <a:pt x="1908" y="3679"/>
                  </a:lnTo>
                  <a:lnTo>
                    <a:pt x="1908" y="3679"/>
                  </a:lnTo>
                  <a:lnTo>
                    <a:pt x="1908" y="3676"/>
                  </a:lnTo>
                  <a:lnTo>
                    <a:pt x="1908" y="3676"/>
                  </a:lnTo>
                  <a:lnTo>
                    <a:pt x="1907" y="3672"/>
                  </a:lnTo>
                  <a:lnTo>
                    <a:pt x="1906" y="3671"/>
                  </a:lnTo>
                  <a:lnTo>
                    <a:pt x="1904" y="3669"/>
                  </a:lnTo>
                  <a:lnTo>
                    <a:pt x="1904" y="3669"/>
                  </a:lnTo>
                  <a:lnTo>
                    <a:pt x="1903" y="3669"/>
                  </a:lnTo>
                  <a:lnTo>
                    <a:pt x="1900" y="3671"/>
                  </a:lnTo>
                  <a:lnTo>
                    <a:pt x="1900" y="3671"/>
                  </a:lnTo>
                  <a:lnTo>
                    <a:pt x="1898" y="3672"/>
                  </a:lnTo>
                  <a:lnTo>
                    <a:pt x="1898" y="3675"/>
                  </a:lnTo>
                  <a:lnTo>
                    <a:pt x="1898" y="3679"/>
                  </a:lnTo>
                  <a:lnTo>
                    <a:pt x="1898" y="3679"/>
                  </a:lnTo>
                  <a:lnTo>
                    <a:pt x="1898" y="3681"/>
                  </a:lnTo>
                  <a:lnTo>
                    <a:pt x="1898" y="3681"/>
                  </a:lnTo>
                  <a:lnTo>
                    <a:pt x="1898" y="3679"/>
                  </a:lnTo>
                  <a:lnTo>
                    <a:pt x="1898" y="3679"/>
                  </a:lnTo>
                  <a:lnTo>
                    <a:pt x="1896" y="3676"/>
                  </a:lnTo>
                  <a:lnTo>
                    <a:pt x="1896" y="3676"/>
                  </a:lnTo>
                  <a:lnTo>
                    <a:pt x="1896" y="3672"/>
                  </a:lnTo>
                  <a:lnTo>
                    <a:pt x="1891" y="3668"/>
                  </a:lnTo>
                  <a:lnTo>
                    <a:pt x="1891" y="3668"/>
                  </a:lnTo>
                  <a:lnTo>
                    <a:pt x="1888" y="3662"/>
                  </a:lnTo>
                  <a:lnTo>
                    <a:pt x="1888" y="3662"/>
                  </a:lnTo>
                  <a:lnTo>
                    <a:pt x="1887" y="3659"/>
                  </a:lnTo>
                  <a:lnTo>
                    <a:pt x="1887" y="3655"/>
                  </a:lnTo>
                  <a:lnTo>
                    <a:pt x="1887" y="3655"/>
                  </a:lnTo>
                  <a:lnTo>
                    <a:pt x="1888" y="3651"/>
                  </a:lnTo>
                  <a:lnTo>
                    <a:pt x="1888" y="3651"/>
                  </a:lnTo>
                  <a:lnTo>
                    <a:pt x="1888" y="3648"/>
                  </a:lnTo>
                  <a:lnTo>
                    <a:pt x="1888" y="3646"/>
                  </a:lnTo>
                  <a:lnTo>
                    <a:pt x="1888" y="3646"/>
                  </a:lnTo>
                  <a:lnTo>
                    <a:pt x="1890" y="3646"/>
                  </a:lnTo>
                  <a:lnTo>
                    <a:pt x="1890" y="3646"/>
                  </a:lnTo>
                  <a:lnTo>
                    <a:pt x="1907" y="3641"/>
                  </a:lnTo>
                  <a:lnTo>
                    <a:pt x="1907" y="3641"/>
                  </a:lnTo>
                  <a:lnTo>
                    <a:pt x="1908" y="3641"/>
                  </a:lnTo>
                  <a:lnTo>
                    <a:pt x="1910" y="3638"/>
                  </a:lnTo>
                  <a:lnTo>
                    <a:pt x="1910" y="3638"/>
                  </a:lnTo>
                  <a:lnTo>
                    <a:pt x="1910" y="3634"/>
                  </a:lnTo>
                  <a:lnTo>
                    <a:pt x="1910" y="3634"/>
                  </a:lnTo>
                  <a:lnTo>
                    <a:pt x="1921" y="3639"/>
                  </a:lnTo>
                  <a:lnTo>
                    <a:pt x="1931" y="3641"/>
                  </a:lnTo>
                  <a:lnTo>
                    <a:pt x="1931" y="3641"/>
                  </a:lnTo>
                  <a:lnTo>
                    <a:pt x="1931" y="3641"/>
                  </a:lnTo>
                  <a:lnTo>
                    <a:pt x="1933" y="3641"/>
                  </a:lnTo>
                  <a:lnTo>
                    <a:pt x="1934" y="3639"/>
                  </a:lnTo>
                  <a:lnTo>
                    <a:pt x="1934" y="3639"/>
                  </a:lnTo>
                  <a:lnTo>
                    <a:pt x="1936" y="3636"/>
                  </a:lnTo>
                  <a:lnTo>
                    <a:pt x="1934" y="3635"/>
                  </a:lnTo>
                  <a:lnTo>
                    <a:pt x="1933" y="3631"/>
                  </a:lnTo>
                  <a:lnTo>
                    <a:pt x="1933" y="3631"/>
                  </a:lnTo>
                  <a:lnTo>
                    <a:pt x="1933" y="3631"/>
                  </a:lnTo>
                  <a:lnTo>
                    <a:pt x="1913" y="3615"/>
                  </a:lnTo>
                  <a:lnTo>
                    <a:pt x="1903" y="3605"/>
                  </a:lnTo>
                  <a:lnTo>
                    <a:pt x="1900" y="3599"/>
                  </a:lnTo>
                  <a:lnTo>
                    <a:pt x="1897" y="3596"/>
                  </a:lnTo>
                  <a:lnTo>
                    <a:pt x="1897" y="3596"/>
                  </a:lnTo>
                  <a:lnTo>
                    <a:pt x="1896" y="3588"/>
                  </a:lnTo>
                  <a:lnTo>
                    <a:pt x="1896" y="3588"/>
                  </a:lnTo>
                  <a:lnTo>
                    <a:pt x="1896" y="3584"/>
                  </a:lnTo>
                  <a:lnTo>
                    <a:pt x="1897" y="3582"/>
                  </a:lnTo>
                  <a:lnTo>
                    <a:pt x="1900" y="3579"/>
                  </a:lnTo>
                  <a:lnTo>
                    <a:pt x="1900" y="3579"/>
                  </a:lnTo>
                  <a:lnTo>
                    <a:pt x="1906" y="3575"/>
                  </a:lnTo>
                  <a:lnTo>
                    <a:pt x="1906" y="3575"/>
                  </a:lnTo>
                  <a:lnTo>
                    <a:pt x="1907" y="3575"/>
                  </a:lnTo>
                  <a:lnTo>
                    <a:pt x="1907" y="3575"/>
                  </a:lnTo>
                  <a:lnTo>
                    <a:pt x="1910" y="3576"/>
                  </a:lnTo>
                  <a:lnTo>
                    <a:pt x="1910" y="3576"/>
                  </a:lnTo>
                  <a:lnTo>
                    <a:pt x="1914" y="3575"/>
                  </a:lnTo>
                  <a:lnTo>
                    <a:pt x="1917" y="3572"/>
                  </a:lnTo>
                  <a:lnTo>
                    <a:pt x="1917" y="3572"/>
                  </a:lnTo>
                  <a:lnTo>
                    <a:pt x="1916" y="3565"/>
                  </a:lnTo>
                  <a:lnTo>
                    <a:pt x="1914" y="3558"/>
                  </a:lnTo>
                  <a:lnTo>
                    <a:pt x="1914" y="3558"/>
                  </a:lnTo>
                  <a:lnTo>
                    <a:pt x="1913" y="3552"/>
                  </a:lnTo>
                  <a:lnTo>
                    <a:pt x="1913" y="3548"/>
                  </a:lnTo>
                  <a:lnTo>
                    <a:pt x="1913" y="3548"/>
                  </a:lnTo>
                  <a:lnTo>
                    <a:pt x="1914" y="3545"/>
                  </a:lnTo>
                  <a:lnTo>
                    <a:pt x="1917" y="3541"/>
                  </a:lnTo>
                  <a:lnTo>
                    <a:pt x="1926" y="3532"/>
                  </a:lnTo>
                  <a:lnTo>
                    <a:pt x="1926" y="3532"/>
                  </a:lnTo>
                  <a:lnTo>
                    <a:pt x="1934" y="3519"/>
                  </a:lnTo>
                  <a:lnTo>
                    <a:pt x="1934" y="3519"/>
                  </a:lnTo>
                  <a:lnTo>
                    <a:pt x="1937" y="3516"/>
                  </a:lnTo>
                  <a:lnTo>
                    <a:pt x="1937" y="3514"/>
                  </a:lnTo>
                  <a:lnTo>
                    <a:pt x="1937" y="3514"/>
                  </a:lnTo>
                  <a:lnTo>
                    <a:pt x="1936" y="3512"/>
                  </a:lnTo>
                  <a:lnTo>
                    <a:pt x="1933" y="3511"/>
                  </a:lnTo>
                  <a:lnTo>
                    <a:pt x="1933" y="3511"/>
                  </a:lnTo>
                  <a:lnTo>
                    <a:pt x="1930" y="3509"/>
                  </a:lnTo>
                  <a:lnTo>
                    <a:pt x="1930" y="3509"/>
                  </a:lnTo>
                  <a:lnTo>
                    <a:pt x="1930" y="3508"/>
                  </a:lnTo>
                  <a:lnTo>
                    <a:pt x="1931" y="3504"/>
                  </a:lnTo>
                  <a:lnTo>
                    <a:pt x="1931" y="3504"/>
                  </a:lnTo>
                  <a:lnTo>
                    <a:pt x="1934" y="3501"/>
                  </a:lnTo>
                  <a:lnTo>
                    <a:pt x="1934" y="3497"/>
                  </a:lnTo>
                  <a:lnTo>
                    <a:pt x="1934" y="3497"/>
                  </a:lnTo>
                  <a:lnTo>
                    <a:pt x="1934" y="3494"/>
                  </a:lnTo>
                  <a:lnTo>
                    <a:pt x="1931" y="3492"/>
                  </a:lnTo>
                  <a:lnTo>
                    <a:pt x="1927" y="3488"/>
                  </a:lnTo>
                  <a:lnTo>
                    <a:pt x="1920" y="3487"/>
                  </a:lnTo>
                  <a:lnTo>
                    <a:pt x="1914" y="3485"/>
                  </a:lnTo>
                  <a:lnTo>
                    <a:pt x="1914" y="3485"/>
                  </a:lnTo>
                  <a:lnTo>
                    <a:pt x="1911" y="3485"/>
                  </a:lnTo>
                  <a:lnTo>
                    <a:pt x="1911" y="3485"/>
                  </a:lnTo>
                  <a:lnTo>
                    <a:pt x="1906" y="3484"/>
                  </a:lnTo>
                  <a:lnTo>
                    <a:pt x="1894" y="3477"/>
                  </a:lnTo>
                  <a:lnTo>
                    <a:pt x="1884" y="3468"/>
                  </a:lnTo>
                  <a:lnTo>
                    <a:pt x="1881" y="3462"/>
                  </a:lnTo>
                  <a:lnTo>
                    <a:pt x="1878" y="3458"/>
                  </a:lnTo>
                  <a:lnTo>
                    <a:pt x="1878" y="3458"/>
                  </a:lnTo>
                  <a:lnTo>
                    <a:pt x="1877" y="3452"/>
                  </a:lnTo>
                  <a:lnTo>
                    <a:pt x="1877" y="3449"/>
                  </a:lnTo>
                  <a:lnTo>
                    <a:pt x="1878" y="3447"/>
                  </a:lnTo>
                  <a:lnTo>
                    <a:pt x="1880" y="3445"/>
                  </a:lnTo>
                  <a:lnTo>
                    <a:pt x="1880" y="3445"/>
                  </a:lnTo>
                  <a:lnTo>
                    <a:pt x="1886" y="3441"/>
                  </a:lnTo>
                  <a:lnTo>
                    <a:pt x="1886" y="3441"/>
                  </a:lnTo>
                  <a:lnTo>
                    <a:pt x="1887" y="3438"/>
                  </a:lnTo>
                  <a:lnTo>
                    <a:pt x="1887" y="3438"/>
                  </a:lnTo>
                  <a:lnTo>
                    <a:pt x="1890" y="3434"/>
                  </a:lnTo>
                  <a:lnTo>
                    <a:pt x="1896" y="3432"/>
                  </a:lnTo>
                  <a:lnTo>
                    <a:pt x="1896" y="3432"/>
                  </a:lnTo>
                  <a:lnTo>
                    <a:pt x="1901" y="3431"/>
                  </a:lnTo>
                  <a:lnTo>
                    <a:pt x="1903" y="3431"/>
                  </a:lnTo>
                  <a:lnTo>
                    <a:pt x="1903" y="3431"/>
                  </a:lnTo>
                  <a:lnTo>
                    <a:pt x="1908" y="3431"/>
                  </a:lnTo>
                  <a:lnTo>
                    <a:pt x="1910" y="3429"/>
                  </a:lnTo>
                  <a:lnTo>
                    <a:pt x="1911" y="3427"/>
                  </a:lnTo>
                  <a:lnTo>
                    <a:pt x="1911" y="3427"/>
                  </a:lnTo>
                  <a:lnTo>
                    <a:pt x="1911" y="3424"/>
                  </a:lnTo>
                  <a:lnTo>
                    <a:pt x="1910" y="3421"/>
                  </a:lnTo>
                  <a:lnTo>
                    <a:pt x="1910" y="3421"/>
                  </a:lnTo>
                  <a:lnTo>
                    <a:pt x="1910" y="3418"/>
                  </a:lnTo>
                  <a:lnTo>
                    <a:pt x="1910" y="3418"/>
                  </a:lnTo>
                  <a:lnTo>
                    <a:pt x="1911" y="3415"/>
                  </a:lnTo>
                  <a:lnTo>
                    <a:pt x="1913" y="3412"/>
                  </a:lnTo>
                  <a:lnTo>
                    <a:pt x="1913" y="3405"/>
                  </a:lnTo>
                  <a:lnTo>
                    <a:pt x="1913" y="3405"/>
                  </a:lnTo>
                  <a:lnTo>
                    <a:pt x="1910" y="3398"/>
                  </a:lnTo>
                  <a:lnTo>
                    <a:pt x="1908" y="3394"/>
                  </a:lnTo>
                  <a:lnTo>
                    <a:pt x="1906" y="3391"/>
                  </a:lnTo>
                  <a:lnTo>
                    <a:pt x="1906" y="3391"/>
                  </a:lnTo>
                  <a:lnTo>
                    <a:pt x="1903" y="3388"/>
                  </a:lnTo>
                  <a:lnTo>
                    <a:pt x="1903" y="3388"/>
                  </a:lnTo>
                  <a:lnTo>
                    <a:pt x="1903" y="3388"/>
                  </a:lnTo>
                  <a:lnTo>
                    <a:pt x="1906" y="3385"/>
                  </a:lnTo>
                  <a:lnTo>
                    <a:pt x="1906" y="3385"/>
                  </a:lnTo>
                  <a:lnTo>
                    <a:pt x="1907" y="3384"/>
                  </a:lnTo>
                  <a:lnTo>
                    <a:pt x="1907" y="3384"/>
                  </a:lnTo>
                  <a:lnTo>
                    <a:pt x="1911" y="3379"/>
                  </a:lnTo>
                  <a:lnTo>
                    <a:pt x="1911" y="3379"/>
                  </a:lnTo>
                  <a:lnTo>
                    <a:pt x="1913" y="3377"/>
                  </a:lnTo>
                  <a:lnTo>
                    <a:pt x="1913" y="3377"/>
                  </a:lnTo>
                  <a:lnTo>
                    <a:pt x="1916" y="3378"/>
                  </a:lnTo>
                  <a:lnTo>
                    <a:pt x="1916" y="3378"/>
                  </a:lnTo>
                  <a:lnTo>
                    <a:pt x="1918" y="3377"/>
                  </a:lnTo>
                  <a:lnTo>
                    <a:pt x="1920" y="3375"/>
                  </a:lnTo>
                  <a:lnTo>
                    <a:pt x="1920" y="3375"/>
                  </a:lnTo>
                  <a:lnTo>
                    <a:pt x="1921" y="3372"/>
                  </a:lnTo>
                  <a:lnTo>
                    <a:pt x="1921" y="3369"/>
                  </a:lnTo>
                  <a:lnTo>
                    <a:pt x="1921" y="3369"/>
                  </a:lnTo>
                  <a:lnTo>
                    <a:pt x="1926" y="3369"/>
                  </a:lnTo>
                  <a:lnTo>
                    <a:pt x="1927" y="3369"/>
                  </a:lnTo>
                  <a:lnTo>
                    <a:pt x="1927" y="3369"/>
                  </a:lnTo>
                  <a:lnTo>
                    <a:pt x="1927" y="3369"/>
                  </a:lnTo>
                  <a:lnTo>
                    <a:pt x="1930" y="3369"/>
                  </a:lnTo>
                  <a:lnTo>
                    <a:pt x="1931" y="3369"/>
                  </a:lnTo>
                  <a:lnTo>
                    <a:pt x="1934" y="3367"/>
                  </a:lnTo>
                  <a:lnTo>
                    <a:pt x="1934" y="3364"/>
                  </a:lnTo>
                  <a:lnTo>
                    <a:pt x="1934" y="3362"/>
                  </a:lnTo>
                  <a:lnTo>
                    <a:pt x="1934" y="3362"/>
                  </a:lnTo>
                  <a:lnTo>
                    <a:pt x="1934" y="3358"/>
                  </a:lnTo>
                  <a:lnTo>
                    <a:pt x="1934" y="3354"/>
                  </a:lnTo>
                  <a:lnTo>
                    <a:pt x="1934" y="3354"/>
                  </a:lnTo>
                  <a:lnTo>
                    <a:pt x="1933" y="3351"/>
                  </a:lnTo>
                  <a:lnTo>
                    <a:pt x="1933" y="3351"/>
                  </a:lnTo>
                  <a:lnTo>
                    <a:pt x="1931" y="3349"/>
                  </a:lnTo>
                  <a:lnTo>
                    <a:pt x="1931" y="3349"/>
                  </a:lnTo>
                  <a:lnTo>
                    <a:pt x="1931" y="3348"/>
                  </a:lnTo>
                  <a:lnTo>
                    <a:pt x="1931" y="3348"/>
                  </a:lnTo>
                  <a:lnTo>
                    <a:pt x="1930" y="3347"/>
                  </a:lnTo>
                  <a:lnTo>
                    <a:pt x="1930" y="3347"/>
                  </a:lnTo>
                  <a:lnTo>
                    <a:pt x="1926" y="3342"/>
                  </a:lnTo>
                  <a:lnTo>
                    <a:pt x="1920" y="3339"/>
                  </a:lnTo>
                  <a:lnTo>
                    <a:pt x="1920" y="3339"/>
                  </a:lnTo>
                  <a:lnTo>
                    <a:pt x="1920" y="3339"/>
                  </a:lnTo>
                  <a:lnTo>
                    <a:pt x="1920" y="3339"/>
                  </a:lnTo>
                  <a:lnTo>
                    <a:pt x="1917" y="3341"/>
                  </a:lnTo>
                  <a:lnTo>
                    <a:pt x="1916" y="3344"/>
                  </a:lnTo>
                  <a:lnTo>
                    <a:pt x="1913" y="3348"/>
                  </a:lnTo>
                  <a:lnTo>
                    <a:pt x="1913" y="3348"/>
                  </a:lnTo>
                  <a:lnTo>
                    <a:pt x="1913" y="3349"/>
                  </a:lnTo>
                  <a:lnTo>
                    <a:pt x="1913" y="3349"/>
                  </a:lnTo>
                  <a:lnTo>
                    <a:pt x="1913" y="3351"/>
                  </a:lnTo>
                  <a:lnTo>
                    <a:pt x="1913" y="3351"/>
                  </a:lnTo>
                  <a:lnTo>
                    <a:pt x="1913" y="3351"/>
                  </a:lnTo>
                  <a:lnTo>
                    <a:pt x="1913" y="3351"/>
                  </a:lnTo>
                  <a:lnTo>
                    <a:pt x="1913" y="3351"/>
                  </a:lnTo>
                  <a:lnTo>
                    <a:pt x="1913" y="3351"/>
                  </a:lnTo>
                  <a:lnTo>
                    <a:pt x="1910" y="3351"/>
                  </a:lnTo>
                  <a:lnTo>
                    <a:pt x="1910" y="3351"/>
                  </a:lnTo>
                  <a:lnTo>
                    <a:pt x="1910" y="3348"/>
                  </a:lnTo>
                  <a:lnTo>
                    <a:pt x="1908" y="3347"/>
                  </a:lnTo>
                  <a:lnTo>
                    <a:pt x="1907" y="3345"/>
                  </a:lnTo>
                  <a:lnTo>
                    <a:pt x="1907" y="3345"/>
                  </a:lnTo>
                  <a:lnTo>
                    <a:pt x="1903" y="3344"/>
                  </a:lnTo>
                  <a:lnTo>
                    <a:pt x="1903" y="3344"/>
                  </a:lnTo>
                  <a:lnTo>
                    <a:pt x="1896" y="3342"/>
                  </a:lnTo>
                  <a:lnTo>
                    <a:pt x="1896" y="3342"/>
                  </a:lnTo>
                  <a:lnTo>
                    <a:pt x="1896" y="3341"/>
                  </a:lnTo>
                  <a:lnTo>
                    <a:pt x="1896" y="3341"/>
                  </a:lnTo>
                  <a:lnTo>
                    <a:pt x="1896" y="3338"/>
                  </a:lnTo>
                  <a:lnTo>
                    <a:pt x="1893" y="3331"/>
                  </a:lnTo>
                  <a:lnTo>
                    <a:pt x="1893" y="3331"/>
                  </a:lnTo>
                  <a:lnTo>
                    <a:pt x="1890" y="3325"/>
                  </a:lnTo>
                  <a:lnTo>
                    <a:pt x="1886" y="3319"/>
                  </a:lnTo>
                  <a:lnTo>
                    <a:pt x="1886" y="3319"/>
                  </a:lnTo>
                  <a:lnTo>
                    <a:pt x="1883" y="3315"/>
                  </a:lnTo>
                  <a:lnTo>
                    <a:pt x="1881" y="3312"/>
                  </a:lnTo>
                  <a:lnTo>
                    <a:pt x="1881" y="3312"/>
                  </a:lnTo>
                  <a:lnTo>
                    <a:pt x="1881" y="3309"/>
                  </a:lnTo>
                  <a:lnTo>
                    <a:pt x="1883" y="3308"/>
                  </a:lnTo>
                  <a:lnTo>
                    <a:pt x="1883" y="3308"/>
                  </a:lnTo>
                  <a:lnTo>
                    <a:pt x="1886" y="3308"/>
                  </a:lnTo>
                  <a:lnTo>
                    <a:pt x="1886" y="3308"/>
                  </a:lnTo>
                  <a:lnTo>
                    <a:pt x="1890" y="3311"/>
                  </a:lnTo>
                  <a:lnTo>
                    <a:pt x="1896" y="3314"/>
                  </a:lnTo>
                  <a:lnTo>
                    <a:pt x="1896" y="3314"/>
                  </a:lnTo>
                  <a:lnTo>
                    <a:pt x="1900" y="3317"/>
                  </a:lnTo>
                  <a:lnTo>
                    <a:pt x="1906" y="3318"/>
                  </a:lnTo>
                  <a:lnTo>
                    <a:pt x="1916" y="3321"/>
                  </a:lnTo>
                  <a:lnTo>
                    <a:pt x="1916" y="3321"/>
                  </a:lnTo>
                  <a:lnTo>
                    <a:pt x="1927" y="3319"/>
                  </a:lnTo>
                  <a:lnTo>
                    <a:pt x="1934" y="3319"/>
                  </a:lnTo>
                  <a:lnTo>
                    <a:pt x="1938" y="3317"/>
                  </a:lnTo>
                  <a:lnTo>
                    <a:pt x="1938" y="3317"/>
                  </a:lnTo>
                  <a:lnTo>
                    <a:pt x="1944" y="3311"/>
                  </a:lnTo>
                  <a:lnTo>
                    <a:pt x="1947" y="3308"/>
                  </a:lnTo>
                  <a:lnTo>
                    <a:pt x="1948" y="3304"/>
                  </a:lnTo>
                  <a:lnTo>
                    <a:pt x="1948" y="3304"/>
                  </a:lnTo>
                  <a:lnTo>
                    <a:pt x="1948" y="3302"/>
                  </a:lnTo>
                  <a:lnTo>
                    <a:pt x="1948" y="3299"/>
                  </a:lnTo>
                  <a:lnTo>
                    <a:pt x="1948" y="3299"/>
                  </a:lnTo>
                  <a:lnTo>
                    <a:pt x="1944" y="3295"/>
                  </a:lnTo>
                  <a:lnTo>
                    <a:pt x="1938" y="3294"/>
                  </a:lnTo>
                  <a:lnTo>
                    <a:pt x="1938" y="3294"/>
                  </a:lnTo>
                  <a:lnTo>
                    <a:pt x="1937" y="3294"/>
                  </a:lnTo>
                  <a:lnTo>
                    <a:pt x="1937" y="3294"/>
                  </a:lnTo>
                  <a:lnTo>
                    <a:pt x="1938" y="3291"/>
                  </a:lnTo>
                  <a:lnTo>
                    <a:pt x="1938" y="3291"/>
                  </a:lnTo>
                  <a:lnTo>
                    <a:pt x="1940" y="3288"/>
                  </a:lnTo>
                  <a:lnTo>
                    <a:pt x="1941" y="3285"/>
                  </a:lnTo>
                  <a:lnTo>
                    <a:pt x="1941" y="3284"/>
                  </a:lnTo>
                  <a:lnTo>
                    <a:pt x="1941" y="3284"/>
                  </a:lnTo>
                  <a:lnTo>
                    <a:pt x="1941" y="3279"/>
                  </a:lnTo>
                  <a:lnTo>
                    <a:pt x="1943" y="3278"/>
                  </a:lnTo>
                  <a:lnTo>
                    <a:pt x="1943" y="3278"/>
                  </a:lnTo>
                  <a:lnTo>
                    <a:pt x="1943" y="3277"/>
                  </a:lnTo>
                  <a:lnTo>
                    <a:pt x="1943" y="3277"/>
                  </a:lnTo>
                  <a:lnTo>
                    <a:pt x="1946" y="3272"/>
                  </a:lnTo>
                  <a:lnTo>
                    <a:pt x="1946" y="3271"/>
                  </a:lnTo>
                  <a:lnTo>
                    <a:pt x="1946" y="3268"/>
                  </a:lnTo>
                  <a:lnTo>
                    <a:pt x="1946" y="3268"/>
                  </a:lnTo>
                  <a:lnTo>
                    <a:pt x="1940" y="3262"/>
                  </a:lnTo>
                  <a:lnTo>
                    <a:pt x="1940" y="3262"/>
                  </a:lnTo>
                  <a:lnTo>
                    <a:pt x="1938" y="3261"/>
                  </a:lnTo>
                  <a:lnTo>
                    <a:pt x="1938" y="3261"/>
                  </a:lnTo>
                  <a:lnTo>
                    <a:pt x="1936" y="3258"/>
                  </a:lnTo>
                  <a:lnTo>
                    <a:pt x="1936" y="3258"/>
                  </a:lnTo>
                  <a:lnTo>
                    <a:pt x="1933" y="3257"/>
                  </a:lnTo>
                  <a:lnTo>
                    <a:pt x="1931" y="3254"/>
                  </a:lnTo>
                  <a:lnTo>
                    <a:pt x="1931" y="3254"/>
                  </a:lnTo>
                  <a:lnTo>
                    <a:pt x="1934" y="3251"/>
                  </a:lnTo>
                  <a:lnTo>
                    <a:pt x="1934" y="3251"/>
                  </a:lnTo>
                  <a:lnTo>
                    <a:pt x="1934" y="3249"/>
                  </a:lnTo>
                  <a:lnTo>
                    <a:pt x="1934" y="3249"/>
                  </a:lnTo>
                  <a:lnTo>
                    <a:pt x="1937" y="3251"/>
                  </a:lnTo>
                  <a:lnTo>
                    <a:pt x="1937" y="3251"/>
                  </a:lnTo>
                  <a:lnTo>
                    <a:pt x="1941" y="3255"/>
                  </a:lnTo>
                  <a:lnTo>
                    <a:pt x="1941" y="3255"/>
                  </a:lnTo>
                  <a:lnTo>
                    <a:pt x="1944" y="3258"/>
                  </a:lnTo>
                  <a:lnTo>
                    <a:pt x="1947" y="3259"/>
                  </a:lnTo>
                  <a:lnTo>
                    <a:pt x="1950" y="3259"/>
                  </a:lnTo>
                  <a:lnTo>
                    <a:pt x="1950" y="3259"/>
                  </a:lnTo>
                  <a:lnTo>
                    <a:pt x="1960" y="3257"/>
                  </a:lnTo>
                  <a:lnTo>
                    <a:pt x="1960" y="3257"/>
                  </a:lnTo>
                  <a:lnTo>
                    <a:pt x="1996" y="3249"/>
                  </a:lnTo>
                  <a:lnTo>
                    <a:pt x="2020" y="3244"/>
                  </a:lnTo>
                  <a:lnTo>
                    <a:pt x="2028" y="3241"/>
                  </a:lnTo>
                  <a:lnTo>
                    <a:pt x="2034" y="3238"/>
                  </a:lnTo>
                  <a:lnTo>
                    <a:pt x="2037" y="3235"/>
                  </a:lnTo>
                  <a:lnTo>
                    <a:pt x="2038" y="3231"/>
                  </a:lnTo>
                  <a:lnTo>
                    <a:pt x="2038" y="3231"/>
                  </a:lnTo>
                  <a:lnTo>
                    <a:pt x="2038" y="3224"/>
                  </a:lnTo>
                  <a:lnTo>
                    <a:pt x="2038" y="3219"/>
                  </a:lnTo>
                  <a:lnTo>
                    <a:pt x="2038" y="3219"/>
                  </a:lnTo>
                  <a:lnTo>
                    <a:pt x="2037" y="3219"/>
                  </a:lnTo>
                  <a:lnTo>
                    <a:pt x="2037" y="3219"/>
                  </a:lnTo>
                  <a:lnTo>
                    <a:pt x="2038" y="3218"/>
                  </a:lnTo>
                  <a:lnTo>
                    <a:pt x="2038" y="3218"/>
                  </a:lnTo>
                  <a:lnTo>
                    <a:pt x="2044" y="3211"/>
                  </a:lnTo>
                  <a:lnTo>
                    <a:pt x="2047" y="3202"/>
                  </a:lnTo>
                  <a:lnTo>
                    <a:pt x="2047" y="3202"/>
                  </a:lnTo>
                  <a:lnTo>
                    <a:pt x="2050" y="3192"/>
                  </a:lnTo>
                  <a:lnTo>
                    <a:pt x="2050" y="3188"/>
                  </a:lnTo>
                  <a:lnTo>
                    <a:pt x="2048" y="3184"/>
                  </a:lnTo>
                  <a:lnTo>
                    <a:pt x="2048" y="3184"/>
                  </a:lnTo>
                  <a:lnTo>
                    <a:pt x="2048" y="3181"/>
                  </a:lnTo>
                  <a:lnTo>
                    <a:pt x="2048" y="3181"/>
                  </a:lnTo>
                  <a:lnTo>
                    <a:pt x="2048" y="3178"/>
                  </a:lnTo>
                  <a:lnTo>
                    <a:pt x="2048" y="3175"/>
                  </a:lnTo>
                  <a:lnTo>
                    <a:pt x="2046" y="3172"/>
                  </a:lnTo>
                  <a:lnTo>
                    <a:pt x="2041" y="3172"/>
                  </a:lnTo>
                  <a:lnTo>
                    <a:pt x="2041" y="3172"/>
                  </a:lnTo>
                  <a:lnTo>
                    <a:pt x="2038" y="3171"/>
                  </a:lnTo>
                  <a:lnTo>
                    <a:pt x="2034" y="3169"/>
                  </a:lnTo>
                  <a:lnTo>
                    <a:pt x="2030" y="3164"/>
                  </a:lnTo>
                  <a:lnTo>
                    <a:pt x="2030" y="3164"/>
                  </a:lnTo>
                  <a:lnTo>
                    <a:pt x="2028" y="3159"/>
                  </a:lnTo>
                  <a:lnTo>
                    <a:pt x="2028" y="3159"/>
                  </a:lnTo>
                  <a:lnTo>
                    <a:pt x="2030" y="3155"/>
                  </a:lnTo>
                  <a:lnTo>
                    <a:pt x="2030" y="3155"/>
                  </a:lnTo>
                  <a:lnTo>
                    <a:pt x="2033" y="3151"/>
                  </a:lnTo>
                  <a:lnTo>
                    <a:pt x="2033" y="3149"/>
                  </a:lnTo>
                  <a:lnTo>
                    <a:pt x="2031" y="3147"/>
                  </a:lnTo>
                  <a:lnTo>
                    <a:pt x="2031" y="3147"/>
                  </a:lnTo>
                  <a:lnTo>
                    <a:pt x="2028" y="3144"/>
                  </a:lnTo>
                  <a:lnTo>
                    <a:pt x="2024" y="3141"/>
                  </a:lnTo>
                  <a:lnTo>
                    <a:pt x="2024" y="3141"/>
                  </a:lnTo>
                  <a:lnTo>
                    <a:pt x="2020" y="3138"/>
                  </a:lnTo>
                  <a:lnTo>
                    <a:pt x="2016" y="3135"/>
                  </a:lnTo>
                  <a:lnTo>
                    <a:pt x="2016" y="3135"/>
                  </a:lnTo>
                  <a:lnTo>
                    <a:pt x="2011" y="3131"/>
                  </a:lnTo>
                  <a:lnTo>
                    <a:pt x="2006" y="3129"/>
                  </a:lnTo>
                  <a:lnTo>
                    <a:pt x="2006" y="3129"/>
                  </a:lnTo>
                  <a:lnTo>
                    <a:pt x="2004" y="3128"/>
                  </a:lnTo>
                  <a:lnTo>
                    <a:pt x="2004" y="3128"/>
                  </a:lnTo>
                  <a:lnTo>
                    <a:pt x="2003" y="3127"/>
                  </a:lnTo>
                  <a:lnTo>
                    <a:pt x="2001" y="3127"/>
                  </a:lnTo>
                  <a:lnTo>
                    <a:pt x="2001" y="3127"/>
                  </a:lnTo>
                  <a:lnTo>
                    <a:pt x="1991" y="3121"/>
                  </a:lnTo>
                  <a:lnTo>
                    <a:pt x="1988" y="3118"/>
                  </a:lnTo>
                  <a:lnTo>
                    <a:pt x="1988" y="3118"/>
                  </a:lnTo>
                  <a:lnTo>
                    <a:pt x="1991" y="3117"/>
                  </a:lnTo>
                  <a:lnTo>
                    <a:pt x="1991" y="3117"/>
                  </a:lnTo>
                  <a:lnTo>
                    <a:pt x="1993" y="3115"/>
                  </a:lnTo>
                  <a:lnTo>
                    <a:pt x="1993" y="3115"/>
                  </a:lnTo>
                  <a:lnTo>
                    <a:pt x="1993" y="3117"/>
                  </a:lnTo>
                  <a:lnTo>
                    <a:pt x="1993" y="3117"/>
                  </a:lnTo>
                  <a:lnTo>
                    <a:pt x="1997" y="3119"/>
                  </a:lnTo>
                  <a:lnTo>
                    <a:pt x="1997" y="3119"/>
                  </a:lnTo>
                  <a:lnTo>
                    <a:pt x="2000" y="3122"/>
                  </a:lnTo>
                  <a:lnTo>
                    <a:pt x="2003" y="3124"/>
                  </a:lnTo>
                  <a:lnTo>
                    <a:pt x="2008" y="3124"/>
                  </a:lnTo>
                  <a:lnTo>
                    <a:pt x="2013" y="3124"/>
                  </a:lnTo>
                  <a:lnTo>
                    <a:pt x="2013" y="3124"/>
                  </a:lnTo>
                  <a:lnTo>
                    <a:pt x="2017" y="3125"/>
                  </a:lnTo>
                  <a:lnTo>
                    <a:pt x="2021" y="3127"/>
                  </a:lnTo>
                  <a:lnTo>
                    <a:pt x="2021" y="3127"/>
                  </a:lnTo>
                  <a:lnTo>
                    <a:pt x="2027" y="3129"/>
                  </a:lnTo>
                  <a:lnTo>
                    <a:pt x="2027" y="3129"/>
                  </a:lnTo>
                  <a:lnTo>
                    <a:pt x="2037" y="3134"/>
                  </a:lnTo>
                  <a:lnTo>
                    <a:pt x="2037" y="3134"/>
                  </a:lnTo>
                  <a:lnTo>
                    <a:pt x="2044" y="3135"/>
                  </a:lnTo>
                  <a:lnTo>
                    <a:pt x="2044" y="3135"/>
                  </a:lnTo>
                  <a:lnTo>
                    <a:pt x="2053" y="3135"/>
                  </a:lnTo>
                  <a:lnTo>
                    <a:pt x="2053" y="3135"/>
                  </a:lnTo>
                  <a:lnTo>
                    <a:pt x="2060" y="3134"/>
                  </a:lnTo>
                  <a:lnTo>
                    <a:pt x="2067" y="3135"/>
                  </a:lnTo>
                  <a:lnTo>
                    <a:pt x="2067" y="3135"/>
                  </a:lnTo>
                  <a:lnTo>
                    <a:pt x="2073" y="3137"/>
                  </a:lnTo>
                  <a:lnTo>
                    <a:pt x="2077" y="3137"/>
                  </a:lnTo>
                  <a:lnTo>
                    <a:pt x="2077" y="3137"/>
                  </a:lnTo>
                  <a:lnTo>
                    <a:pt x="2083" y="3137"/>
                  </a:lnTo>
                  <a:lnTo>
                    <a:pt x="2087" y="3135"/>
                  </a:lnTo>
                  <a:lnTo>
                    <a:pt x="2091" y="3132"/>
                  </a:lnTo>
                  <a:lnTo>
                    <a:pt x="2096" y="3129"/>
                  </a:lnTo>
                  <a:lnTo>
                    <a:pt x="2096" y="3129"/>
                  </a:lnTo>
                  <a:lnTo>
                    <a:pt x="2101" y="3124"/>
                  </a:lnTo>
                  <a:lnTo>
                    <a:pt x="2106" y="3118"/>
                  </a:lnTo>
                  <a:lnTo>
                    <a:pt x="2108" y="3111"/>
                  </a:lnTo>
                  <a:lnTo>
                    <a:pt x="2108" y="3104"/>
                  </a:lnTo>
                  <a:lnTo>
                    <a:pt x="2108" y="3104"/>
                  </a:lnTo>
                  <a:lnTo>
                    <a:pt x="2108" y="3104"/>
                  </a:lnTo>
                  <a:lnTo>
                    <a:pt x="2111" y="3101"/>
                  </a:lnTo>
                  <a:lnTo>
                    <a:pt x="2114" y="3098"/>
                  </a:lnTo>
                  <a:lnTo>
                    <a:pt x="2114" y="3098"/>
                  </a:lnTo>
                  <a:lnTo>
                    <a:pt x="2117" y="3094"/>
                  </a:lnTo>
                  <a:lnTo>
                    <a:pt x="2120" y="3091"/>
                  </a:lnTo>
                  <a:lnTo>
                    <a:pt x="2123" y="3084"/>
                  </a:lnTo>
                  <a:lnTo>
                    <a:pt x="2123" y="3084"/>
                  </a:lnTo>
                  <a:lnTo>
                    <a:pt x="2124" y="3082"/>
                  </a:lnTo>
                  <a:lnTo>
                    <a:pt x="2124" y="3082"/>
                  </a:lnTo>
                  <a:lnTo>
                    <a:pt x="2127" y="3072"/>
                  </a:lnTo>
                  <a:lnTo>
                    <a:pt x="2128" y="3067"/>
                  </a:lnTo>
                  <a:lnTo>
                    <a:pt x="2128" y="3060"/>
                  </a:lnTo>
                  <a:lnTo>
                    <a:pt x="2128" y="3060"/>
                  </a:lnTo>
                  <a:lnTo>
                    <a:pt x="2128" y="3048"/>
                  </a:lnTo>
                  <a:lnTo>
                    <a:pt x="2128" y="3048"/>
                  </a:lnTo>
                  <a:lnTo>
                    <a:pt x="2127" y="3044"/>
                  </a:lnTo>
                  <a:lnTo>
                    <a:pt x="2128" y="3041"/>
                  </a:lnTo>
                  <a:lnTo>
                    <a:pt x="2128" y="3041"/>
                  </a:lnTo>
                  <a:lnTo>
                    <a:pt x="2133" y="3035"/>
                  </a:lnTo>
                  <a:lnTo>
                    <a:pt x="2136" y="3031"/>
                  </a:lnTo>
                  <a:lnTo>
                    <a:pt x="2136" y="3031"/>
                  </a:lnTo>
                  <a:lnTo>
                    <a:pt x="2138" y="3028"/>
                  </a:lnTo>
                  <a:lnTo>
                    <a:pt x="2138" y="3028"/>
                  </a:lnTo>
                  <a:lnTo>
                    <a:pt x="2143" y="3024"/>
                  </a:lnTo>
                  <a:lnTo>
                    <a:pt x="2144" y="3021"/>
                  </a:lnTo>
                  <a:lnTo>
                    <a:pt x="2146" y="3018"/>
                  </a:lnTo>
                  <a:lnTo>
                    <a:pt x="2146" y="3018"/>
                  </a:lnTo>
                  <a:lnTo>
                    <a:pt x="2146" y="3010"/>
                  </a:lnTo>
                  <a:lnTo>
                    <a:pt x="2146" y="3010"/>
                  </a:lnTo>
                  <a:lnTo>
                    <a:pt x="2147" y="3001"/>
                  </a:lnTo>
                  <a:lnTo>
                    <a:pt x="2147" y="3001"/>
                  </a:lnTo>
                  <a:lnTo>
                    <a:pt x="2148" y="3001"/>
                  </a:lnTo>
                  <a:lnTo>
                    <a:pt x="2151" y="3001"/>
                  </a:lnTo>
                  <a:lnTo>
                    <a:pt x="2151" y="3001"/>
                  </a:lnTo>
                  <a:lnTo>
                    <a:pt x="2154" y="3000"/>
                  </a:lnTo>
                  <a:lnTo>
                    <a:pt x="2154" y="3000"/>
                  </a:lnTo>
                  <a:lnTo>
                    <a:pt x="2158" y="3000"/>
                  </a:lnTo>
                  <a:lnTo>
                    <a:pt x="2158" y="3000"/>
                  </a:lnTo>
                  <a:lnTo>
                    <a:pt x="2160" y="3002"/>
                  </a:lnTo>
                  <a:lnTo>
                    <a:pt x="2160" y="3002"/>
                  </a:lnTo>
                  <a:lnTo>
                    <a:pt x="2160" y="3007"/>
                  </a:lnTo>
                  <a:lnTo>
                    <a:pt x="2158" y="3010"/>
                  </a:lnTo>
                  <a:lnTo>
                    <a:pt x="2158" y="3010"/>
                  </a:lnTo>
                  <a:lnTo>
                    <a:pt x="2156" y="3012"/>
                  </a:lnTo>
                  <a:lnTo>
                    <a:pt x="2151" y="3017"/>
                  </a:lnTo>
                  <a:lnTo>
                    <a:pt x="2148" y="3022"/>
                  </a:lnTo>
                  <a:lnTo>
                    <a:pt x="2148" y="3025"/>
                  </a:lnTo>
                  <a:lnTo>
                    <a:pt x="2150" y="3028"/>
                  </a:lnTo>
                  <a:lnTo>
                    <a:pt x="2150" y="3028"/>
                  </a:lnTo>
                  <a:lnTo>
                    <a:pt x="2151" y="3031"/>
                  </a:lnTo>
                  <a:lnTo>
                    <a:pt x="2154" y="3031"/>
                  </a:lnTo>
                  <a:lnTo>
                    <a:pt x="2154" y="3031"/>
                  </a:lnTo>
                  <a:lnTo>
                    <a:pt x="2156" y="3031"/>
                  </a:lnTo>
                  <a:lnTo>
                    <a:pt x="2158" y="3028"/>
                  </a:lnTo>
                  <a:lnTo>
                    <a:pt x="2164" y="3020"/>
                  </a:lnTo>
                  <a:lnTo>
                    <a:pt x="2164" y="3020"/>
                  </a:lnTo>
                  <a:lnTo>
                    <a:pt x="2168" y="3011"/>
                  </a:lnTo>
                  <a:lnTo>
                    <a:pt x="2171" y="3000"/>
                  </a:lnTo>
                  <a:lnTo>
                    <a:pt x="2171" y="3000"/>
                  </a:lnTo>
                  <a:lnTo>
                    <a:pt x="2171" y="2994"/>
                  </a:lnTo>
                  <a:lnTo>
                    <a:pt x="2171" y="2994"/>
                  </a:lnTo>
                  <a:lnTo>
                    <a:pt x="2173" y="2985"/>
                  </a:lnTo>
                  <a:lnTo>
                    <a:pt x="2174" y="2980"/>
                  </a:lnTo>
                  <a:lnTo>
                    <a:pt x="2178" y="2974"/>
                  </a:lnTo>
                  <a:lnTo>
                    <a:pt x="2178" y="2974"/>
                  </a:lnTo>
                  <a:lnTo>
                    <a:pt x="2184" y="2967"/>
                  </a:lnTo>
                  <a:lnTo>
                    <a:pt x="2188" y="2961"/>
                  </a:lnTo>
                  <a:lnTo>
                    <a:pt x="2188" y="2961"/>
                  </a:lnTo>
                  <a:lnTo>
                    <a:pt x="2194" y="2955"/>
                  </a:lnTo>
                  <a:lnTo>
                    <a:pt x="2197" y="2951"/>
                  </a:lnTo>
                  <a:lnTo>
                    <a:pt x="2197" y="2951"/>
                  </a:lnTo>
                  <a:lnTo>
                    <a:pt x="2201" y="2944"/>
                  </a:lnTo>
                  <a:lnTo>
                    <a:pt x="2204" y="2937"/>
                  </a:lnTo>
                  <a:lnTo>
                    <a:pt x="2206" y="2928"/>
                  </a:lnTo>
                  <a:lnTo>
                    <a:pt x="2204" y="2921"/>
                  </a:lnTo>
                  <a:lnTo>
                    <a:pt x="2204" y="2921"/>
                  </a:lnTo>
                  <a:lnTo>
                    <a:pt x="2201" y="2911"/>
                  </a:lnTo>
                  <a:lnTo>
                    <a:pt x="2200" y="2898"/>
                  </a:lnTo>
                  <a:lnTo>
                    <a:pt x="2200" y="2898"/>
                  </a:lnTo>
                  <a:lnTo>
                    <a:pt x="2198" y="2887"/>
                  </a:lnTo>
                  <a:lnTo>
                    <a:pt x="2196" y="2880"/>
                  </a:lnTo>
                  <a:lnTo>
                    <a:pt x="2196" y="2880"/>
                  </a:lnTo>
                  <a:lnTo>
                    <a:pt x="2194" y="2874"/>
                  </a:lnTo>
                  <a:lnTo>
                    <a:pt x="2194" y="2868"/>
                  </a:lnTo>
                  <a:lnTo>
                    <a:pt x="2194" y="2862"/>
                  </a:lnTo>
                  <a:lnTo>
                    <a:pt x="2196" y="2858"/>
                  </a:lnTo>
                  <a:lnTo>
                    <a:pt x="2196" y="2858"/>
                  </a:lnTo>
                  <a:lnTo>
                    <a:pt x="2196" y="2858"/>
                  </a:lnTo>
                  <a:lnTo>
                    <a:pt x="2196" y="2858"/>
                  </a:lnTo>
                  <a:lnTo>
                    <a:pt x="2196" y="2858"/>
                  </a:lnTo>
                  <a:lnTo>
                    <a:pt x="2196" y="2858"/>
                  </a:lnTo>
                  <a:lnTo>
                    <a:pt x="2198" y="2860"/>
                  </a:lnTo>
                  <a:lnTo>
                    <a:pt x="2198" y="2860"/>
                  </a:lnTo>
                  <a:lnTo>
                    <a:pt x="2201" y="2858"/>
                  </a:lnTo>
                  <a:lnTo>
                    <a:pt x="2203" y="2857"/>
                  </a:lnTo>
                  <a:lnTo>
                    <a:pt x="2204" y="2852"/>
                  </a:lnTo>
                  <a:lnTo>
                    <a:pt x="2204" y="2852"/>
                  </a:lnTo>
                  <a:lnTo>
                    <a:pt x="2207" y="2847"/>
                  </a:lnTo>
                  <a:lnTo>
                    <a:pt x="2210" y="2841"/>
                  </a:lnTo>
                  <a:lnTo>
                    <a:pt x="2214" y="2837"/>
                  </a:lnTo>
                  <a:lnTo>
                    <a:pt x="2220" y="2834"/>
                  </a:lnTo>
                  <a:lnTo>
                    <a:pt x="2220" y="2834"/>
                  </a:lnTo>
                  <a:lnTo>
                    <a:pt x="2227" y="2831"/>
                  </a:lnTo>
                  <a:lnTo>
                    <a:pt x="2231" y="2827"/>
                  </a:lnTo>
                  <a:lnTo>
                    <a:pt x="2236" y="2822"/>
                  </a:lnTo>
                  <a:lnTo>
                    <a:pt x="2238" y="2818"/>
                  </a:lnTo>
                  <a:lnTo>
                    <a:pt x="2238" y="2818"/>
                  </a:lnTo>
                  <a:lnTo>
                    <a:pt x="2241" y="2814"/>
                  </a:lnTo>
                  <a:lnTo>
                    <a:pt x="2246" y="2811"/>
                  </a:lnTo>
                  <a:lnTo>
                    <a:pt x="2246" y="2811"/>
                  </a:lnTo>
                  <a:lnTo>
                    <a:pt x="2256" y="2808"/>
                  </a:lnTo>
                  <a:lnTo>
                    <a:pt x="2256" y="2808"/>
                  </a:lnTo>
                  <a:lnTo>
                    <a:pt x="2257" y="2808"/>
                  </a:lnTo>
                  <a:lnTo>
                    <a:pt x="2258" y="2810"/>
                  </a:lnTo>
                  <a:lnTo>
                    <a:pt x="2258" y="2810"/>
                  </a:lnTo>
                  <a:lnTo>
                    <a:pt x="2266" y="2812"/>
                  </a:lnTo>
                  <a:lnTo>
                    <a:pt x="2266" y="2812"/>
                  </a:lnTo>
                  <a:lnTo>
                    <a:pt x="2270" y="2814"/>
                  </a:lnTo>
                  <a:lnTo>
                    <a:pt x="2271" y="2812"/>
                  </a:lnTo>
                  <a:lnTo>
                    <a:pt x="2271" y="2812"/>
                  </a:lnTo>
                  <a:lnTo>
                    <a:pt x="2273" y="2810"/>
                  </a:lnTo>
                  <a:lnTo>
                    <a:pt x="2271" y="2808"/>
                  </a:lnTo>
                  <a:lnTo>
                    <a:pt x="2271" y="2808"/>
                  </a:lnTo>
                  <a:lnTo>
                    <a:pt x="2271" y="2805"/>
                  </a:lnTo>
                  <a:lnTo>
                    <a:pt x="2271" y="2802"/>
                  </a:lnTo>
                  <a:lnTo>
                    <a:pt x="2271" y="2802"/>
                  </a:lnTo>
                  <a:lnTo>
                    <a:pt x="2274" y="2798"/>
                  </a:lnTo>
                  <a:lnTo>
                    <a:pt x="2278" y="2797"/>
                  </a:lnTo>
                  <a:lnTo>
                    <a:pt x="2278" y="2797"/>
                  </a:lnTo>
                  <a:lnTo>
                    <a:pt x="2280" y="2797"/>
                  </a:lnTo>
                  <a:lnTo>
                    <a:pt x="2280" y="2797"/>
                  </a:lnTo>
                  <a:lnTo>
                    <a:pt x="2283" y="2798"/>
                  </a:lnTo>
                  <a:lnTo>
                    <a:pt x="2283" y="2798"/>
                  </a:lnTo>
                  <a:lnTo>
                    <a:pt x="2287" y="2797"/>
                  </a:lnTo>
                  <a:lnTo>
                    <a:pt x="2290" y="2795"/>
                  </a:lnTo>
                  <a:lnTo>
                    <a:pt x="2291" y="2794"/>
                  </a:lnTo>
                  <a:lnTo>
                    <a:pt x="2291" y="2794"/>
                  </a:lnTo>
                  <a:lnTo>
                    <a:pt x="2291" y="2791"/>
                  </a:lnTo>
                  <a:lnTo>
                    <a:pt x="2291" y="2790"/>
                  </a:lnTo>
                  <a:lnTo>
                    <a:pt x="2288" y="2787"/>
                  </a:lnTo>
                  <a:lnTo>
                    <a:pt x="2288" y="2787"/>
                  </a:lnTo>
                  <a:lnTo>
                    <a:pt x="2288" y="2787"/>
                  </a:lnTo>
                  <a:lnTo>
                    <a:pt x="2288" y="2787"/>
                  </a:lnTo>
                  <a:lnTo>
                    <a:pt x="2288" y="2787"/>
                  </a:lnTo>
                  <a:lnTo>
                    <a:pt x="2291" y="2787"/>
                  </a:lnTo>
                  <a:lnTo>
                    <a:pt x="2291" y="2787"/>
                  </a:lnTo>
                  <a:lnTo>
                    <a:pt x="2294" y="2785"/>
                  </a:lnTo>
                  <a:lnTo>
                    <a:pt x="2294" y="2785"/>
                  </a:lnTo>
                  <a:lnTo>
                    <a:pt x="2294" y="2785"/>
                  </a:lnTo>
                  <a:lnTo>
                    <a:pt x="2294" y="2785"/>
                  </a:lnTo>
                  <a:lnTo>
                    <a:pt x="2298" y="2787"/>
                  </a:lnTo>
                  <a:lnTo>
                    <a:pt x="2298" y="2787"/>
                  </a:lnTo>
                  <a:lnTo>
                    <a:pt x="2303" y="2787"/>
                  </a:lnTo>
                  <a:lnTo>
                    <a:pt x="2306" y="2785"/>
                  </a:lnTo>
                  <a:lnTo>
                    <a:pt x="2306" y="2785"/>
                  </a:lnTo>
                  <a:lnTo>
                    <a:pt x="2313" y="2785"/>
                  </a:lnTo>
                  <a:lnTo>
                    <a:pt x="2313" y="2785"/>
                  </a:lnTo>
                  <a:lnTo>
                    <a:pt x="2317" y="2785"/>
                  </a:lnTo>
                  <a:lnTo>
                    <a:pt x="2318" y="2784"/>
                  </a:lnTo>
                  <a:lnTo>
                    <a:pt x="2321" y="2780"/>
                  </a:lnTo>
                  <a:lnTo>
                    <a:pt x="2321" y="2780"/>
                  </a:lnTo>
                  <a:lnTo>
                    <a:pt x="2323" y="2778"/>
                  </a:lnTo>
                  <a:lnTo>
                    <a:pt x="2323" y="2778"/>
                  </a:lnTo>
                  <a:lnTo>
                    <a:pt x="2324" y="2778"/>
                  </a:lnTo>
                  <a:lnTo>
                    <a:pt x="2324" y="2778"/>
                  </a:lnTo>
                  <a:lnTo>
                    <a:pt x="2330" y="2782"/>
                  </a:lnTo>
                  <a:lnTo>
                    <a:pt x="2337" y="2784"/>
                  </a:lnTo>
                  <a:lnTo>
                    <a:pt x="2346" y="2785"/>
                  </a:lnTo>
                  <a:lnTo>
                    <a:pt x="2351" y="2784"/>
                  </a:lnTo>
                  <a:lnTo>
                    <a:pt x="2351" y="2784"/>
                  </a:lnTo>
                  <a:lnTo>
                    <a:pt x="2354" y="2781"/>
                  </a:lnTo>
                  <a:lnTo>
                    <a:pt x="2356" y="2778"/>
                  </a:lnTo>
                  <a:lnTo>
                    <a:pt x="2356" y="2772"/>
                  </a:lnTo>
                  <a:lnTo>
                    <a:pt x="2356" y="2772"/>
                  </a:lnTo>
                  <a:lnTo>
                    <a:pt x="2356" y="2770"/>
                  </a:lnTo>
                  <a:lnTo>
                    <a:pt x="2356" y="2767"/>
                  </a:lnTo>
                  <a:lnTo>
                    <a:pt x="2356" y="2767"/>
                  </a:lnTo>
                  <a:lnTo>
                    <a:pt x="2358" y="2767"/>
                  </a:lnTo>
                  <a:lnTo>
                    <a:pt x="2363" y="2765"/>
                  </a:lnTo>
                  <a:lnTo>
                    <a:pt x="2363" y="2765"/>
                  </a:lnTo>
                  <a:lnTo>
                    <a:pt x="2366" y="2765"/>
                  </a:lnTo>
                  <a:lnTo>
                    <a:pt x="2370" y="2764"/>
                  </a:lnTo>
                  <a:lnTo>
                    <a:pt x="2374" y="2761"/>
                  </a:lnTo>
                  <a:lnTo>
                    <a:pt x="2376" y="2757"/>
                  </a:lnTo>
                  <a:lnTo>
                    <a:pt x="2376" y="2757"/>
                  </a:lnTo>
                  <a:lnTo>
                    <a:pt x="2376" y="2751"/>
                  </a:lnTo>
                  <a:lnTo>
                    <a:pt x="2374" y="2745"/>
                  </a:lnTo>
                  <a:lnTo>
                    <a:pt x="2374" y="2745"/>
                  </a:lnTo>
                  <a:lnTo>
                    <a:pt x="2373" y="2741"/>
                  </a:lnTo>
                  <a:lnTo>
                    <a:pt x="2373" y="2735"/>
                  </a:lnTo>
                  <a:lnTo>
                    <a:pt x="2373" y="2735"/>
                  </a:lnTo>
                  <a:lnTo>
                    <a:pt x="2373" y="2731"/>
                  </a:lnTo>
                  <a:lnTo>
                    <a:pt x="2377" y="2728"/>
                  </a:lnTo>
                  <a:lnTo>
                    <a:pt x="2377" y="2728"/>
                  </a:lnTo>
                  <a:lnTo>
                    <a:pt x="2380" y="2724"/>
                  </a:lnTo>
                  <a:lnTo>
                    <a:pt x="2384" y="2717"/>
                  </a:lnTo>
                  <a:lnTo>
                    <a:pt x="2384" y="2717"/>
                  </a:lnTo>
                  <a:lnTo>
                    <a:pt x="2386" y="2710"/>
                  </a:lnTo>
                  <a:lnTo>
                    <a:pt x="2388" y="2705"/>
                  </a:lnTo>
                  <a:lnTo>
                    <a:pt x="2388" y="2705"/>
                  </a:lnTo>
                  <a:lnTo>
                    <a:pt x="2391" y="2700"/>
                  </a:lnTo>
                  <a:lnTo>
                    <a:pt x="2391" y="2700"/>
                  </a:lnTo>
                  <a:lnTo>
                    <a:pt x="2394" y="2697"/>
                  </a:lnTo>
                  <a:lnTo>
                    <a:pt x="2397" y="2695"/>
                  </a:lnTo>
                  <a:lnTo>
                    <a:pt x="2397" y="2695"/>
                  </a:lnTo>
                  <a:lnTo>
                    <a:pt x="2400" y="2691"/>
                  </a:lnTo>
                  <a:lnTo>
                    <a:pt x="2401" y="2684"/>
                  </a:lnTo>
                  <a:lnTo>
                    <a:pt x="2401" y="2684"/>
                  </a:lnTo>
                  <a:lnTo>
                    <a:pt x="2401" y="2667"/>
                  </a:lnTo>
                  <a:lnTo>
                    <a:pt x="2401" y="2667"/>
                  </a:lnTo>
                  <a:lnTo>
                    <a:pt x="2401" y="2647"/>
                  </a:lnTo>
                  <a:lnTo>
                    <a:pt x="2401" y="2647"/>
                  </a:lnTo>
                  <a:lnTo>
                    <a:pt x="2403" y="2642"/>
                  </a:lnTo>
                  <a:lnTo>
                    <a:pt x="2406" y="2641"/>
                  </a:lnTo>
                  <a:lnTo>
                    <a:pt x="2406" y="2641"/>
                  </a:lnTo>
                  <a:lnTo>
                    <a:pt x="2408" y="2638"/>
                  </a:lnTo>
                  <a:lnTo>
                    <a:pt x="2410" y="2635"/>
                  </a:lnTo>
                  <a:lnTo>
                    <a:pt x="2411" y="2631"/>
                  </a:lnTo>
                  <a:lnTo>
                    <a:pt x="2411" y="2631"/>
                  </a:lnTo>
                  <a:lnTo>
                    <a:pt x="2411" y="2621"/>
                  </a:lnTo>
                  <a:lnTo>
                    <a:pt x="2411" y="2621"/>
                  </a:lnTo>
                  <a:lnTo>
                    <a:pt x="2411" y="2615"/>
                  </a:lnTo>
                  <a:lnTo>
                    <a:pt x="2411" y="2607"/>
                  </a:lnTo>
                  <a:lnTo>
                    <a:pt x="2411" y="2607"/>
                  </a:lnTo>
                  <a:lnTo>
                    <a:pt x="2413" y="2597"/>
                  </a:lnTo>
                  <a:lnTo>
                    <a:pt x="2413" y="2597"/>
                  </a:lnTo>
                  <a:lnTo>
                    <a:pt x="2416" y="2588"/>
                  </a:lnTo>
                  <a:lnTo>
                    <a:pt x="2416" y="2580"/>
                  </a:lnTo>
                  <a:lnTo>
                    <a:pt x="2416" y="2580"/>
                  </a:lnTo>
                  <a:lnTo>
                    <a:pt x="2416" y="2573"/>
                  </a:lnTo>
                  <a:lnTo>
                    <a:pt x="2413" y="2567"/>
                  </a:lnTo>
                  <a:lnTo>
                    <a:pt x="2413" y="2567"/>
                  </a:lnTo>
                  <a:lnTo>
                    <a:pt x="2411" y="2564"/>
                  </a:lnTo>
                  <a:lnTo>
                    <a:pt x="2410" y="2560"/>
                  </a:lnTo>
                  <a:lnTo>
                    <a:pt x="2410" y="2560"/>
                  </a:lnTo>
                  <a:lnTo>
                    <a:pt x="2410" y="2547"/>
                  </a:lnTo>
                  <a:lnTo>
                    <a:pt x="2410" y="2547"/>
                  </a:lnTo>
                  <a:lnTo>
                    <a:pt x="2410" y="2538"/>
                  </a:lnTo>
                  <a:lnTo>
                    <a:pt x="2410" y="2538"/>
                  </a:lnTo>
                  <a:lnTo>
                    <a:pt x="2410" y="2534"/>
                  </a:lnTo>
                  <a:lnTo>
                    <a:pt x="2410" y="2534"/>
                  </a:lnTo>
                  <a:lnTo>
                    <a:pt x="2411" y="2525"/>
                  </a:lnTo>
                  <a:lnTo>
                    <a:pt x="2411" y="2521"/>
                  </a:lnTo>
                  <a:lnTo>
                    <a:pt x="2410" y="2518"/>
                  </a:lnTo>
                  <a:lnTo>
                    <a:pt x="2410" y="2518"/>
                  </a:lnTo>
                  <a:lnTo>
                    <a:pt x="2408" y="2514"/>
                  </a:lnTo>
                  <a:lnTo>
                    <a:pt x="2407" y="2513"/>
                  </a:lnTo>
                  <a:lnTo>
                    <a:pt x="2407" y="2513"/>
                  </a:lnTo>
                  <a:lnTo>
                    <a:pt x="2406" y="2511"/>
                  </a:lnTo>
                  <a:lnTo>
                    <a:pt x="2407" y="2507"/>
                  </a:lnTo>
                  <a:lnTo>
                    <a:pt x="2407" y="2507"/>
                  </a:lnTo>
                  <a:lnTo>
                    <a:pt x="2411" y="2497"/>
                  </a:lnTo>
                  <a:lnTo>
                    <a:pt x="2411" y="2497"/>
                  </a:lnTo>
                  <a:lnTo>
                    <a:pt x="2413" y="2493"/>
                  </a:lnTo>
                  <a:lnTo>
                    <a:pt x="2413" y="2487"/>
                  </a:lnTo>
                  <a:lnTo>
                    <a:pt x="2413" y="2487"/>
                  </a:lnTo>
                  <a:lnTo>
                    <a:pt x="2413" y="2484"/>
                  </a:lnTo>
                  <a:lnTo>
                    <a:pt x="2413" y="2484"/>
                  </a:lnTo>
                  <a:lnTo>
                    <a:pt x="2414" y="2485"/>
                  </a:lnTo>
                  <a:lnTo>
                    <a:pt x="2414" y="2485"/>
                  </a:lnTo>
                  <a:lnTo>
                    <a:pt x="2416" y="2488"/>
                  </a:lnTo>
                  <a:lnTo>
                    <a:pt x="2420" y="2488"/>
                  </a:lnTo>
                  <a:lnTo>
                    <a:pt x="2420" y="2488"/>
                  </a:lnTo>
                  <a:lnTo>
                    <a:pt x="2424" y="2487"/>
                  </a:lnTo>
                  <a:lnTo>
                    <a:pt x="2431" y="2483"/>
                  </a:lnTo>
                  <a:lnTo>
                    <a:pt x="2434" y="2477"/>
                  </a:lnTo>
                  <a:lnTo>
                    <a:pt x="2438" y="2471"/>
                  </a:lnTo>
                  <a:lnTo>
                    <a:pt x="2441" y="2464"/>
                  </a:lnTo>
                  <a:lnTo>
                    <a:pt x="2443" y="2454"/>
                  </a:lnTo>
                  <a:lnTo>
                    <a:pt x="2443" y="2454"/>
                  </a:lnTo>
                  <a:lnTo>
                    <a:pt x="2448" y="2437"/>
                  </a:lnTo>
                  <a:lnTo>
                    <a:pt x="2450" y="2434"/>
                  </a:lnTo>
                  <a:lnTo>
                    <a:pt x="2451" y="2433"/>
                  </a:lnTo>
                  <a:lnTo>
                    <a:pt x="2451" y="2433"/>
                  </a:lnTo>
                  <a:lnTo>
                    <a:pt x="2453" y="2431"/>
                  </a:lnTo>
                  <a:lnTo>
                    <a:pt x="2456" y="2430"/>
                  </a:lnTo>
                  <a:lnTo>
                    <a:pt x="2456" y="2430"/>
                  </a:lnTo>
                  <a:lnTo>
                    <a:pt x="2458" y="2425"/>
                  </a:lnTo>
                  <a:lnTo>
                    <a:pt x="2463" y="2424"/>
                  </a:lnTo>
                  <a:lnTo>
                    <a:pt x="2463" y="2424"/>
                  </a:lnTo>
                  <a:lnTo>
                    <a:pt x="2468" y="2421"/>
                  </a:lnTo>
                  <a:lnTo>
                    <a:pt x="2471" y="2420"/>
                  </a:lnTo>
                  <a:lnTo>
                    <a:pt x="2473" y="2417"/>
                  </a:lnTo>
                  <a:lnTo>
                    <a:pt x="2473" y="2417"/>
                  </a:lnTo>
                  <a:lnTo>
                    <a:pt x="2478" y="2408"/>
                  </a:lnTo>
                  <a:lnTo>
                    <a:pt x="2486" y="2400"/>
                  </a:lnTo>
                  <a:lnTo>
                    <a:pt x="2486" y="2400"/>
                  </a:lnTo>
                  <a:lnTo>
                    <a:pt x="2488" y="2395"/>
                  </a:lnTo>
                  <a:lnTo>
                    <a:pt x="2488" y="2395"/>
                  </a:lnTo>
                  <a:lnTo>
                    <a:pt x="2493" y="2387"/>
                  </a:lnTo>
                  <a:lnTo>
                    <a:pt x="2500" y="2370"/>
                  </a:lnTo>
                  <a:lnTo>
                    <a:pt x="2507" y="2350"/>
                  </a:lnTo>
                  <a:lnTo>
                    <a:pt x="2508" y="2340"/>
                  </a:lnTo>
                  <a:lnTo>
                    <a:pt x="2508" y="2330"/>
                  </a:lnTo>
                  <a:lnTo>
                    <a:pt x="2508" y="2330"/>
                  </a:lnTo>
                  <a:lnTo>
                    <a:pt x="2507" y="2310"/>
                  </a:lnTo>
                  <a:lnTo>
                    <a:pt x="2504" y="2297"/>
                  </a:lnTo>
                  <a:lnTo>
                    <a:pt x="2504" y="2297"/>
                  </a:lnTo>
                  <a:lnTo>
                    <a:pt x="2503" y="2290"/>
                  </a:lnTo>
                  <a:lnTo>
                    <a:pt x="2503" y="2290"/>
                  </a:lnTo>
                  <a:close/>
                  <a:moveTo>
                    <a:pt x="1356" y="45"/>
                  </a:moveTo>
                  <a:lnTo>
                    <a:pt x="1356" y="45"/>
                  </a:lnTo>
                  <a:lnTo>
                    <a:pt x="1367" y="42"/>
                  </a:lnTo>
                  <a:lnTo>
                    <a:pt x="1367" y="42"/>
                  </a:lnTo>
                  <a:lnTo>
                    <a:pt x="1376" y="40"/>
                  </a:lnTo>
                  <a:lnTo>
                    <a:pt x="1386" y="39"/>
                  </a:lnTo>
                  <a:lnTo>
                    <a:pt x="1386" y="39"/>
                  </a:lnTo>
                  <a:lnTo>
                    <a:pt x="1394" y="38"/>
                  </a:lnTo>
                  <a:lnTo>
                    <a:pt x="1394" y="38"/>
                  </a:lnTo>
                  <a:lnTo>
                    <a:pt x="1393" y="38"/>
                  </a:lnTo>
                  <a:lnTo>
                    <a:pt x="1393" y="38"/>
                  </a:lnTo>
                  <a:lnTo>
                    <a:pt x="1389" y="40"/>
                  </a:lnTo>
                  <a:lnTo>
                    <a:pt x="1383" y="42"/>
                  </a:lnTo>
                  <a:lnTo>
                    <a:pt x="1370" y="43"/>
                  </a:lnTo>
                  <a:lnTo>
                    <a:pt x="1370" y="43"/>
                  </a:lnTo>
                  <a:lnTo>
                    <a:pt x="1359" y="45"/>
                  </a:lnTo>
                  <a:lnTo>
                    <a:pt x="1359" y="45"/>
                  </a:lnTo>
                  <a:lnTo>
                    <a:pt x="1353" y="46"/>
                  </a:lnTo>
                  <a:lnTo>
                    <a:pt x="1353" y="46"/>
                  </a:lnTo>
                  <a:lnTo>
                    <a:pt x="1356" y="45"/>
                  </a:lnTo>
                  <a:lnTo>
                    <a:pt x="1356" y="45"/>
                  </a:lnTo>
                  <a:close/>
                  <a:moveTo>
                    <a:pt x="1204" y="1777"/>
                  </a:moveTo>
                  <a:lnTo>
                    <a:pt x="1204" y="1777"/>
                  </a:lnTo>
                  <a:lnTo>
                    <a:pt x="1200" y="1768"/>
                  </a:lnTo>
                  <a:lnTo>
                    <a:pt x="1200" y="1764"/>
                  </a:lnTo>
                  <a:lnTo>
                    <a:pt x="1200" y="1761"/>
                  </a:lnTo>
                  <a:lnTo>
                    <a:pt x="1200" y="1761"/>
                  </a:lnTo>
                  <a:lnTo>
                    <a:pt x="1200" y="1761"/>
                  </a:lnTo>
                  <a:lnTo>
                    <a:pt x="1203" y="1760"/>
                  </a:lnTo>
                  <a:lnTo>
                    <a:pt x="1203" y="1760"/>
                  </a:lnTo>
                  <a:lnTo>
                    <a:pt x="1206" y="1760"/>
                  </a:lnTo>
                  <a:lnTo>
                    <a:pt x="1209" y="1763"/>
                  </a:lnTo>
                  <a:lnTo>
                    <a:pt x="1216" y="1773"/>
                  </a:lnTo>
                  <a:lnTo>
                    <a:pt x="1216" y="1773"/>
                  </a:lnTo>
                  <a:lnTo>
                    <a:pt x="1220" y="1778"/>
                  </a:lnTo>
                  <a:lnTo>
                    <a:pt x="1220" y="1778"/>
                  </a:lnTo>
                  <a:lnTo>
                    <a:pt x="1221" y="1780"/>
                  </a:lnTo>
                  <a:lnTo>
                    <a:pt x="1221" y="1783"/>
                  </a:lnTo>
                  <a:lnTo>
                    <a:pt x="1221" y="1787"/>
                  </a:lnTo>
                  <a:lnTo>
                    <a:pt x="1221" y="1787"/>
                  </a:lnTo>
                  <a:lnTo>
                    <a:pt x="1217" y="1784"/>
                  </a:lnTo>
                  <a:lnTo>
                    <a:pt x="1217" y="1784"/>
                  </a:lnTo>
                  <a:lnTo>
                    <a:pt x="1213" y="1781"/>
                  </a:lnTo>
                  <a:lnTo>
                    <a:pt x="1207" y="1780"/>
                  </a:lnTo>
                  <a:lnTo>
                    <a:pt x="1207" y="1780"/>
                  </a:lnTo>
                  <a:lnTo>
                    <a:pt x="1206" y="1780"/>
                  </a:lnTo>
                  <a:lnTo>
                    <a:pt x="1206" y="1780"/>
                  </a:lnTo>
                  <a:lnTo>
                    <a:pt x="1204" y="1777"/>
                  </a:lnTo>
                  <a:lnTo>
                    <a:pt x="1204" y="1777"/>
                  </a:lnTo>
                  <a:close/>
                  <a:moveTo>
                    <a:pt x="631" y="546"/>
                  </a:moveTo>
                  <a:lnTo>
                    <a:pt x="631" y="546"/>
                  </a:lnTo>
                  <a:lnTo>
                    <a:pt x="631" y="540"/>
                  </a:lnTo>
                  <a:lnTo>
                    <a:pt x="633" y="537"/>
                  </a:lnTo>
                  <a:lnTo>
                    <a:pt x="634" y="537"/>
                  </a:lnTo>
                  <a:lnTo>
                    <a:pt x="634" y="537"/>
                  </a:lnTo>
                  <a:lnTo>
                    <a:pt x="639" y="539"/>
                  </a:lnTo>
                  <a:lnTo>
                    <a:pt x="640" y="542"/>
                  </a:lnTo>
                  <a:lnTo>
                    <a:pt x="640" y="542"/>
                  </a:lnTo>
                  <a:lnTo>
                    <a:pt x="640" y="545"/>
                  </a:lnTo>
                  <a:lnTo>
                    <a:pt x="639" y="546"/>
                  </a:lnTo>
                  <a:lnTo>
                    <a:pt x="639" y="546"/>
                  </a:lnTo>
                  <a:lnTo>
                    <a:pt x="634" y="547"/>
                  </a:lnTo>
                  <a:lnTo>
                    <a:pt x="634" y="547"/>
                  </a:lnTo>
                  <a:lnTo>
                    <a:pt x="630" y="547"/>
                  </a:lnTo>
                  <a:lnTo>
                    <a:pt x="631" y="546"/>
                  </a:lnTo>
                  <a:close/>
                  <a:moveTo>
                    <a:pt x="1040" y="210"/>
                  </a:moveTo>
                  <a:lnTo>
                    <a:pt x="1040" y="210"/>
                  </a:lnTo>
                  <a:lnTo>
                    <a:pt x="1044" y="209"/>
                  </a:lnTo>
                  <a:lnTo>
                    <a:pt x="1046" y="209"/>
                  </a:lnTo>
                  <a:lnTo>
                    <a:pt x="1046" y="209"/>
                  </a:lnTo>
                  <a:lnTo>
                    <a:pt x="1049" y="209"/>
                  </a:lnTo>
                  <a:lnTo>
                    <a:pt x="1049" y="209"/>
                  </a:lnTo>
                  <a:lnTo>
                    <a:pt x="1056" y="209"/>
                  </a:lnTo>
                  <a:lnTo>
                    <a:pt x="1056" y="209"/>
                  </a:lnTo>
                  <a:lnTo>
                    <a:pt x="1054" y="210"/>
                  </a:lnTo>
                  <a:lnTo>
                    <a:pt x="1054" y="210"/>
                  </a:lnTo>
                  <a:lnTo>
                    <a:pt x="1044" y="212"/>
                  </a:lnTo>
                  <a:lnTo>
                    <a:pt x="1044" y="212"/>
                  </a:lnTo>
                  <a:lnTo>
                    <a:pt x="1041" y="210"/>
                  </a:lnTo>
                  <a:lnTo>
                    <a:pt x="1041" y="210"/>
                  </a:lnTo>
                  <a:lnTo>
                    <a:pt x="1040" y="210"/>
                  </a:lnTo>
                  <a:lnTo>
                    <a:pt x="1040" y="210"/>
                  </a:lnTo>
                  <a:close/>
                  <a:moveTo>
                    <a:pt x="1160" y="193"/>
                  </a:moveTo>
                  <a:lnTo>
                    <a:pt x="1160" y="193"/>
                  </a:lnTo>
                  <a:lnTo>
                    <a:pt x="1153" y="193"/>
                  </a:lnTo>
                  <a:lnTo>
                    <a:pt x="1153" y="193"/>
                  </a:lnTo>
                  <a:lnTo>
                    <a:pt x="1150" y="193"/>
                  </a:lnTo>
                  <a:lnTo>
                    <a:pt x="1150" y="193"/>
                  </a:lnTo>
                  <a:lnTo>
                    <a:pt x="1147" y="193"/>
                  </a:lnTo>
                  <a:lnTo>
                    <a:pt x="1146" y="193"/>
                  </a:lnTo>
                  <a:lnTo>
                    <a:pt x="1146" y="193"/>
                  </a:lnTo>
                  <a:lnTo>
                    <a:pt x="1140" y="195"/>
                  </a:lnTo>
                  <a:lnTo>
                    <a:pt x="1137" y="195"/>
                  </a:lnTo>
                  <a:lnTo>
                    <a:pt x="1136" y="196"/>
                  </a:lnTo>
                  <a:lnTo>
                    <a:pt x="1136" y="196"/>
                  </a:lnTo>
                  <a:lnTo>
                    <a:pt x="1136" y="199"/>
                  </a:lnTo>
                  <a:lnTo>
                    <a:pt x="1136" y="202"/>
                  </a:lnTo>
                  <a:lnTo>
                    <a:pt x="1136" y="202"/>
                  </a:lnTo>
                  <a:lnTo>
                    <a:pt x="1139" y="205"/>
                  </a:lnTo>
                  <a:lnTo>
                    <a:pt x="1141" y="208"/>
                  </a:lnTo>
                  <a:lnTo>
                    <a:pt x="1146" y="209"/>
                  </a:lnTo>
                  <a:lnTo>
                    <a:pt x="1150" y="209"/>
                  </a:lnTo>
                  <a:lnTo>
                    <a:pt x="1150" y="209"/>
                  </a:lnTo>
                  <a:lnTo>
                    <a:pt x="1159" y="208"/>
                  </a:lnTo>
                  <a:lnTo>
                    <a:pt x="1164" y="206"/>
                  </a:lnTo>
                  <a:lnTo>
                    <a:pt x="1164" y="206"/>
                  </a:lnTo>
                  <a:lnTo>
                    <a:pt x="1169" y="205"/>
                  </a:lnTo>
                  <a:lnTo>
                    <a:pt x="1169" y="205"/>
                  </a:lnTo>
                  <a:lnTo>
                    <a:pt x="1174" y="203"/>
                  </a:lnTo>
                  <a:lnTo>
                    <a:pt x="1180" y="202"/>
                  </a:lnTo>
                  <a:lnTo>
                    <a:pt x="1180" y="202"/>
                  </a:lnTo>
                  <a:lnTo>
                    <a:pt x="1180" y="202"/>
                  </a:lnTo>
                  <a:lnTo>
                    <a:pt x="1180" y="202"/>
                  </a:lnTo>
                  <a:lnTo>
                    <a:pt x="1180" y="203"/>
                  </a:lnTo>
                  <a:lnTo>
                    <a:pt x="1180" y="203"/>
                  </a:lnTo>
                  <a:lnTo>
                    <a:pt x="1180" y="205"/>
                  </a:lnTo>
                  <a:lnTo>
                    <a:pt x="1176" y="206"/>
                  </a:lnTo>
                  <a:lnTo>
                    <a:pt x="1176" y="206"/>
                  </a:lnTo>
                  <a:lnTo>
                    <a:pt x="1174" y="208"/>
                  </a:lnTo>
                  <a:lnTo>
                    <a:pt x="1174" y="208"/>
                  </a:lnTo>
                  <a:lnTo>
                    <a:pt x="1171" y="209"/>
                  </a:lnTo>
                  <a:lnTo>
                    <a:pt x="1169" y="212"/>
                  </a:lnTo>
                  <a:lnTo>
                    <a:pt x="1164" y="218"/>
                  </a:lnTo>
                  <a:lnTo>
                    <a:pt x="1164" y="218"/>
                  </a:lnTo>
                  <a:lnTo>
                    <a:pt x="1160" y="220"/>
                  </a:lnTo>
                  <a:lnTo>
                    <a:pt x="1154" y="220"/>
                  </a:lnTo>
                  <a:lnTo>
                    <a:pt x="1154" y="220"/>
                  </a:lnTo>
                  <a:lnTo>
                    <a:pt x="1143" y="219"/>
                  </a:lnTo>
                  <a:lnTo>
                    <a:pt x="1143" y="219"/>
                  </a:lnTo>
                  <a:lnTo>
                    <a:pt x="1134" y="219"/>
                  </a:lnTo>
                  <a:lnTo>
                    <a:pt x="1134" y="219"/>
                  </a:lnTo>
                  <a:lnTo>
                    <a:pt x="1131" y="218"/>
                  </a:lnTo>
                  <a:lnTo>
                    <a:pt x="1131" y="218"/>
                  </a:lnTo>
                  <a:lnTo>
                    <a:pt x="1129" y="219"/>
                  </a:lnTo>
                  <a:lnTo>
                    <a:pt x="1124" y="220"/>
                  </a:lnTo>
                  <a:lnTo>
                    <a:pt x="1124" y="220"/>
                  </a:lnTo>
                  <a:lnTo>
                    <a:pt x="1120" y="225"/>
                  </a:lnTo>
                  <a:lnTo>
                    <a:pt x="1120" y="225"/>
                  </a:lnTo>
                  <a:lnTo>
                    <a:pt x="1117" y="228"/>
                  </a:lnTo>
                  <a:lnTo>
                    <a:pt x="1117" y="228"/>
                  </a:lnTo>
                  <a:lnTo>
                    <a:pt x="1113" y="230"/>
                  </a:lnTo>
                  <a:lnTo>
                    <a:pt x="1107" y="232"/>
                  </a:lnTo>
                  <a:lnTo>
                    <a:pt x="1107" y="232"/>
                  </a:lnTo>
                  <a:lnTo>
                    <a:pt x="1109" y="229"/>
                  </a:lnTo>
                  <a:lnTo>
                    <a:pt x="1109" y="225"/>
                  </a:lnTo>
                  <a:lnTo>
                    <a:pt x="1109" y="223"/>
                  </a:lnTo>
                  <a:lnTo>
                    <a:pt x="1107" y="223"/>
                  </a:lnTo>
                  <a:lnTo>
                    <a:pt x="1107" y="223"/>
                  </a:lnTo>
                  <a:lnTo>
                    <a:pt x="1103" y="223"/>
                  </a:lnTo>
                  <a:lnTo>
                    <a:pt x="1103" y="223"/>
                  </a:lnTo>
                  <a:lnTo>
                    <a:pt x="1097" y="222"/>
                  </a:lnTo>
                  <a:lnTo>
                    <a:pt x="1097" y="222"/>
                  </a:lnTo>
                  <a:lnTo>
                    <a:pt x="1091" y="223"/>
                  </a:lnTo>
                  <a:lnTo>
                    <a:pt x="1091" y="223"/>
                  </a:lnTo>
                  <a:lnTo>
                    <a:pt x="1084" y="226"/>
                  </a:lnTo>
                  <a:lnTo>
                    <a:pt x="1084" y="226"/>
                  </a:lnTo>
                  <a:lnTo>
                    <a:pt x="1081" y="229"/>
                  </a:lnTo>
                  <a:lnTo>
                    <a:pt x="1081" y="229"/>
                  </a:lnTo>
                  <a:lnTo>
                    <a:pt x="1079" y="230"/>
                  </a:lnTo>
                  <a:lnTo>
                    <a:pt x="1079" y="230"/>
                  </a:lnTo>
                  <a:lnTo>
                    <a:pt x="1074" y="233"/>
                  </a:lnTo>
                  <a:lnTo>
                    <a:pt x="1070" y="235"/>
                  </a:lnTo>
                  <a:lnTo>
                    <a:pt x="1070" y="235"/>
                  </a:lnTo>
                  <a:lnTo>
                    <a:pt x="1061" y="235"/>
                  </a:lnTo>
                  <a:lnTo>
                    <a:pt x="1053" y="233"/>
                  </a:lnTo>
                  <a:lnTo>
                    <a:pt x="1053" y="233"/>
                  </a:lnTo>
                  <a:lnTo>
                    <a:pt x="1053" y="232"/>
                  </a:lnTo>
                  <a:lnTo>
                    <a:pt x="1053" y="232"/>
                  </a:lnTo>
                  <a:lnTo>
                    <a:pt x="1051" y="232"/>
                  </a:lnTo>
                  <a:lnTo>
                    <a:pt x="1051" y="232"/>
                  </a:lnTo>
                  <a:lnTo>
                    <a:pt x="1054" y="232"/>
                  </a:lnTo>
                  <a:lnTo>
                    <a:pt x="1054" y="232"/>
                  </a:lnTo>
                  <a:lnTo>
                    <a:pt x="1060" y="230"/>
                  </a:lnTo>
                  <a:lnTo>
                    <a:pt x="1060" y="230"/>
                  </a:lnTo>
                  <a:lnTo>
                    <a:pt x="1067" y="230"/>
                  </a:lnTo>
                  <a:lnTo>
                    <a:pt x="1074" y="228"/>
                  </a:lnTo>
                  <a:lnTo>
                    <a:pt x="1076" y="226"/>
                  </a:lnTo>
                  <a:lnTo>
                    <a:pt x="1076" y="226"/>
                  </a:lnTo>
                  <a:lnTo>
                    <a:pt x="1079" y="225"/>
                  </a:lnTo>
                  <a:lnTo>
                    <a:pt x="1081" y="223"/>
                  </a:lnTo>
                  <a:lnTo>
                    <a:pt x="1081" y="223"/>
                  </a:lnTo>
                  <a:lnTo>
                    <a:pt x="1084" y="219"/>
                  </a:lnTo>
                  <a:lnTo>
                    <a:pt x="1084" y="219"/>
                  </a:lnTo>
                  <a:lnTo>
                    <a:pt x="1086" y="216"/>
                  </a:lnTo>
                  <a:lnTo>
                    <a:pt x="1086" y="216"/>
                  </a:lnTo>
                  <a:lnTo>
                    <a:pt x="1087" y="216"/>
                  </a:lnTo>
                  <a:lnTo>
                    <a:pt x="1091" y="216"/>
                  </a:lnTo>
                  <a:lnTo>
                    <a:pt x="1091" y="216"/>
                  </a:lnTo>
                  <a:lnTo>
                    <a:pt x="1094" y="216"/>
                  </a:lnTo>
                  <a:lnTo>
                    <a:pt x="1097" y="216"/>
                  </a:lnTo>
                  <a:lnTo>
                    <a:pt x="1097" y="216"/>
                  </a:lnTo>
                  <a:lnTo>
                    <a:pt x="1104" y="216"/>
                  </a:lnTo>
                  <a:lnTo>
                    <a:pt x="1107" y="216"/>
                  </a:lnTo>
                  <a:lnTo>
                    <a:pt x="1107" y="215"/>
                  </a:lnTo>
                  <a:lnTo>
                    <a:pt x="1107" y="215"/>
                  </a:lnTo>
                  <a:lnTo>
                    <a:pt x="1107" y="212"/>
                  </a:lnTo>
                  <a:lnTo>
                    <a:pt x="1107" y="212"/>
                  </a:lnTo>
                  <a:lnTo>
                    <a:pt x="1106" y="209"/>
                  </a:lnTo>
                  <a:lnTo>
                    <a:pt x="1103" y="206"/>
                  </a:lnTo>
                  <a:lnTo>
                    <a:pt x="1097" y="203"/>
                  </a:lnTo>
                  <a:lnTo>
                    <a:pt x="1097" y="203"/>
                  </a:lnTo>
                  <a:lnTo>
                    <a:pt x="1093" y="202"/>
                  </a:lnTo>
                  <a:lnTo>
                    <a:pt x="1093" y="202"/>
                  </a:lnTo>
                  <a:lnTo>
                    <a:pt x="1097" y="202"/>
                  </a:lnTo>
                  <a:lnTo>
                    <a:pt x="1097" y="202"/>
                  </a:lnTo>
                  <a:lnTo>
                    <a:pt x="1103" y="202"/>
                  </a:lnTo>
                  <a:lnTo>
                    <a:pt x="1103" y="202"/>
                  </a:lnTo>
                  <a:lnTo>
                    <a:pt x="1113" y="202"/>
                  </a:lnTo>
                  <a:lnTo>
                    <a:pt x="1113" y="202"/>
                  </a:lnTo>
                  <a:lnTo>
                    <a:pt x="1116" y="200"/>
                  </a:lnTo>
                  <a:lnTo>
                    <a:pt x="1120" y="199"/>
                  </a:lnTo>
                  <a:lnTo>
                    <a:pt x="1120" y="199"/>
                  </a:lnTo>
                  <a:lnTo>
                    <a:pt x="1123" y="198"/>
                  </a:lnTo>
                  <a:lnTo>
                    <a:pt x="1123" y="198"/>
                  </a:lnTo>
                  <a:lnTo>
                    <a:pt x="1129" y="198"/>
                  </a:lnTo>
                  <a:lnTo>
                    <a:pt x="1129" y="198"/>
                  </a:lnTo>
                  <a:lnTo>
                    <a:pt x="1133" y="195"/>
                  </a:lnTo>
                  <a:lnTo>
                    <a:pt x="1133" y="195"/>
                  </a:lnTo>
                  <a:lnTo>
                    <a:pt x="1136" y="193"/>
                  </a:lnTo>
                  <a:lnTo>
                    <a:pt x="1136" y="193"/>
                  </a:lnTo>
                  <a:lnTo>
                    <a:pt x="1141" y="192"/>
                  </a:lnTo>
                  <a:lnTo>
                    <a:pt x="1147" y="190"/>
                  </a:lnTo>
                  <a:lnTo>
                    <a:pt x="1147" y="190"/>
                  </a:lnTo>
                  <a:lnTo>
                    <a:pt x="1150" y="190"/>
                  </a:lnTo>
                  <a:lnTo>
                    <a:pt x="1150" y="190"/>
                  </a:lnTo>
                  <a:lnTo>
                    <a:pt x="1156" y="190"/>
                  </a:lnTo>
                  <a:lnTo>
                    <a:pt x="1161" y="190"/>
                  </a:lnTo>
                  <a:lnTo>
                    <a:pt x="1161" y="190"/>
                  </a:lnTo>
                  <a:lnTo>
                    <a:pt x="1163" y="192"/>
                  </a:lnTo>
                  <a:lnTo>
                    <a:pt x="1163" y="192"/>
                  </a:lnTo>
                  <a:lnTo>
                    <a:pt x="1160" y="193"/>
                  </a:lnTo>
                  <a:lnTo>
                    <a:pt x="1160" y="193"/>
                  </a:lnTo>
                  <a:close/>
                  <a:moveTo>
                    <a:pt x="1254" y="303"/>
                  </a:moveTo>
                  <a:lnTo>
                    <a:pt x="1254" y="303"/>
                  </a:lnTo>
                  <a:lnTo>
                    <a:pt x="1250" y="303"/>
                  </a:lnTo>
                  <a:lnTo>
                    <a:pt x="1249" y="303"/>
                  </a:lnTo>
                  <a:lnTo>
                    <a:pt x="1249" y="303"/>
                  </a:lnTo>
                  <a:lnTo>
                    <a:pt x="1237" y="305"/>
                  </a:lnTo>
                  <a:lnTo>
                    <a:pt x="1237" y="305"/>
                  </a:lnTo>
                  <a:lnTo>
                    <a:pt x="1230" y="306"/>
                  </a:lnTo>
                  <a:lnTo>
                    <a:pt x="1230" y="306"/>
                  </a:lnTo>
                  <a:lnTo>
                    <a:pt x="1226" y="306"/>
                  </a:lnTo>
                  <a:lnTo>
                    <a:pt x="1226" y="306"/>
                  </a:lnTo>
                  <a:lnTo>
                    <a:pt x="1217" y="308"/>
                  </a:lnTo>
                  <a:lnTo>
                    <a:pt x="1209" y="309"/>
                  </a:lnTo>
                  <a:lnTo>
                    <a:pt x="1209" y="309"/>
                  </a:lnTo>
                  <a:lnTo>
                    <a:pt x="1201" y="312"/>
                  </a:lnTo>
                  <a:lnTo>
                    <a:pt x="1201" y="312"/>
                  </a:lnTo>
                  <a:lnTo>
                    <a:pt x="1197" y="315"/>
                  </a:lnTo>
                  <a:lnTo>
                    <a:pt x="1197" y="315"/>
                  </a:lnTo>
                  <a:lnTo>
                    <a:pt x="1201" y="312"/>
                  </a:lnTo>
                  <a:lnTo>
                    <a:pt x="1201" y="312"/>
                  </a:lnTo>
                  <a:lnTo>
                    <a:pt x="1209" y="308"/>
                  </a:lnTo>
                  <a:lnTo>
                    <a:pt x="1209" y="308"/>
                  </a:lnTo>
                  <a:lnTo>
                    <a:pt x="1216" y="303"/>
                  </a:lnTo>
                  <a:lnTo>
                    <a:pt x="1226" y="300"/>
                  </a:lnTo>
                  <a:lnTo>
                    <a:pt x="1226" y="300"/>
                  </a:lnTo>
                  <a:lnTo>
                    <a:pt x="1234" y="299"/>
                  </a:lnTo>
                  <a:lnTo>
                    <a:pt x="1244" y="299"/>
                  </a:lnTo>
                  <a:lnTo>
                    <a:pt x="1244" y="299"/>
                  </a:lnTo>
                  <a:lnTo>
                    <a:pt x="1253" y="299"/>
                  </a:lnTo>
                  <a:lnTo>
                    <a:pt x="1260" y="300"/>
                  </a:lnTo>
                  <a:lnTo>
                    <a:pt x="1260" y="300"/>
                  </a:lnTo>
                  <a:lnTo>
                    <a:pt x="1263" y="302"/>
                  </a:lnTo>
                  <a:lnTo>
                    <a:pt x="1263" y="302"/>
                  </a:lnTo>
                  <a:lnTo>
                    <a:pt x="1254" y="303"/>
                  </a:lnTo>
                  <a:lnTo>
                    <a:pt x="1254" y="303"/>
                  </a:lnTo>
                  <a:close/>
                  <a:moveTo>
                    <a:pt x="1174" y="323"/>
                  </a:moveTo>
                  <a:lnTo>
                    <a:pt x="1174" y="323"/>
                  </a:lnTo>
                  <a:lnTo>
                    <a:pt x="1170" y="326"/>
                  </a:lnTo>
                  <a:lnTo>
                    <a:pt x="1170" y="326"/>
                  </a:lnTo>
                  <a:lnTo>
                    <a:pt x="1163" y="329"/>
                  </a:lnTo>
                  <a:lnTo>
                    <a:pt x="1156" y="330"/>
                  </a:lnTo>
                  <a:lnTo>
                    <a:pt x="1150" y="330"/>
                  </a:lnTo>
                  <a:lnTo>
                    <a:pt x="1150" y="330"/>
                  </a:lnTo>
                  <a:lnTo>
                    <a:pt x="1143" y="332"/>
                  </a:lnTo>
                  <a:lnTo>
                    <a:pt x="1137" y="333"/>
                  </a:lnTo>
                  <a:lnTo>
                    <a:pt x="1137" y="333"/>
                  </a:lnTo>
                  <a:lnTo>
                    <a:pt x="1131" y="338"/>
                  </a:lnTo>
                  <a:lnTo>
                    <a:pt x="1131" y="338"/>
                  </a:lnTo>
                  <a:lnTo>
                    <a:pt x="1129" y="340"/>
                  </a:lnTo>
                  <a:lnTo>
                    <a:pt x="1124" y="343"/>
                  </a:lnTo>
                  <a:lnTo>
                    <a:pt x="1124" y="343"/>
                  </a:lnTo>
                  <a:lnTo>
                    <a:pt x="1117" y="342"/>
                  </a:lnTo>
                  <a:lnTo>
                    <a:pt x="1117" y="342"/>
                  </a:lnTo>
                  <a:lnTo>
                    <a:pt x="1109" y="343"/>
                  </a:lnTo>
                  <a:lnTo>
                    <a:pt x="1109" y="343"/>
                  </a:lnTo>
                  <a:lnTo>
                    <a:pt x="1103" y="343"/>
                  </a:lnTo>
                  <a:lnTo>
                    <a:pt x="1103" y="343"/>
                  </a:lnTo>
                  <a:lnTo>
                    <a:pt x="1094" y="345"/>
                  </a:lnTo>
                  <a:lnTo>
                    <a:pt x="1091" y="345"/>
                  </a:lnTo>
                  <a:lnTo>
                    <a:pt x="1091" y="345"/>
                  </a:lnTo>
                  <a:lnTo>
                    <a:pt x="1079" y="343"/>
                  </a:lnTo>
                  <a:lnTo>
                    <a:pt x="1079" y="343"/>
                  </a:lnTo>
                  <a:lnTo>
                    <a:pt x="1074" y="342"/>
                  </a:lnTo>
                  <a:lnTo>
                    <a:pt x="1071" y="340"/>
                  </a:lnTo>
                  <a:lnTo>
                    <a:pt x="1071" y="340"/>
                  </a:lnTo>
                  <a:lnTo>
                    <a:pt x="1073" y="340"/>
                  </a:lnTo>
                  <a:lnTo>
                    <a:pt x="1073" y="340"/>
                  </a:lnTo>
                  <a:lnTo>
                    <a:pt x="1076" y="340"/>
                  </a:lnTo>
                  <a:lnTo>
                    <a:pt x="1076" y="340"/>
                  </a:lnTo>
                  <a:lnTo>
                    <a:pt x="1081" y="340"/>
                  </a:lnTo>
                  <a:lnTo>
                    <a:pt x="1081" y="340"/>
                  </a:lnTo>
                  <a:lnTo>
                    <a:pt x="1084" y="340"/>
                  </a:lnTo>
                  <a:lnTo>
                    <a:pt x="1084" y="340"/>
                  </a:lnTo>
                  <a:lnTo>
                    <a:pt x="1093" y="339"/>
                  </a:lnTo>
                  <a:lnTo>
                    <a:pt x="1096" y="338"/>
                  </a:lnTo>
                  <a:lnTo>
                    <a:pt x="1100" y="335"/>
                  </a:lnTo>
                  <a:lnTo>
                    <a:pt x="1100" y="335"/>
                  </a:lnTo>
                  <a:lnTo>
                    <a:pt x="1103" y="332"/>
                  </a:lnTo>
                  <a:lnTo>
                    <a:pt x="1103" y="332"/>
                  </a:lnTo>
                  <a:lnTo>
                    <a:pt x="1106" y="329"/>
                  </a:lnTo>
                  <a:lnTo>
                    <a:pt x="1110" y="328"/>
                  </a:lnTo>
                  <a:lnTo>
                    <a:pt x="1110" y="328"/>
                  </a:lnTo>
                  <a:lnTo>
                    <a:pt x="1114" y="328"/>
                  </a:lnTo>
                  <a:lnTo>
                    <a:pt x="1119" y="329"/>
                  </a:lnTo>
                  <a:lnTo>
                    <a:pt x="1119" y="329"/>
                  </a:lnTo>
                  <a:lnTo>
                    <a:pt x="1124" y="329"/>
                  </a:lnTo>
                  <a:lnTo>
                    <a:pt x="1129" y="326"/>
                  </a:lnTo>
                  <a:lnTo>
                    <a:pt x="1129" y="326"/>
                  </a:lnTo>
                  <a:lnTo>
                    <a:pt x="1130" y="322"/>
                  </a:lnTo>
                  <a:lnTo>
                    <a:pt x="1131" y="318"/>
                  </a:lnTo>
                  <a:lnTo>
                    <a:pt x="1131" y="308"/>
                  </a:lnTo>
                  <a:lnTo>
                    <a:pt x="1131" y="308"/>
                  </a:lnTo>
                  <a:lnTo>
                    <a:pt x="1131" y="303"/>
                  </a:lnTo>
                  <a:lnTo>
                    <a:pt x="1131" y="303"/>
                  </a:lnTo>
                  <a:lnTo>
                    <a:pt x="1133" y="305"/>
                  </a:lnTo>
                  <a:lnTo>
                    <a:pt x="1133" y="305"/>
                  </a:lnTo>
                  <a:lnTo>
                    <a:pt x="1134" y="306"/>
                  </a:lnTo>
                  <a:lnTo>
                    <a:pt x="1134" y="306"/>
                  </a:lnTo>
                  <a:lnTo>
                    <a:pt x="1137" y="309"/>
                  </a:lnTo>
                  <a:lnTo>
                    <a:pt x="1140" y="310"/>
                  </a:lnTo>
                  <a:lnTo>
                    <a:pt x="1140" y="310"/>
                  </a:lnTo>
                  <a:lnTo>
                    <a:pt x="1143" y="310"/>
                  </a:lnTo>
                  <a:lnTo>
                    <a:pt x="1143" y="310"/>
                  </a:lnTo>
                  <a:lnTo>
                    <a:pt x="1146" y="312"/>
                  </a:lnTo>
                  <a:lnTo>
                    <a:pt x="1147" y="315"/>
                  </a:lnTo>
                  <a:lnTo>
                    <a:pt x="1147" y="315"/>
                  </a:lnTo>
                  <a:lnTo>
                    <a:pt x="1150" y="318"/>
                  </a:lnTo>
                  <a:lnTo>
                    <a:pt x="1154" y="320"/>
                  </a:lnTo>
                  <a:lnTo>
                    <a:pt x="1154" y="320"/>
                  </a:lnTo>
                  <a:lnTo>
                    <a:pt x="1159" y="322"/>
                  </a:lnTo>
                  <a:lnTo>
                    <a:pt x="1161" y="323"/>
                  </a:lnTo>
                  <a:lnTo>
                    <a:pt x="1170" y="320"/>
                  </a:lnTo>
                  <a:lnTo>
                    <a:pt x="1171" y="320"/>
                  </a:lnTo>
                  <a:lnTo>
                    <a:pt x="1171" y="320"/>
                  </a:lnTo>
                  <a:lnTo>
                    <a:pt x="1176" y="319"/>
                  </a:lnTo>
                  <a:lnTo>
                    <a:pt x="1181" y="319"/>
                  </a:lnTo>
                  <a:lnTo>
                    <a:pt x="1181" y="319"/>
                  </a:lnTo>
                  <a:lnTo>
                    <a:pt x="1183" y="319"/>
                  </a:lnTo>
                  <a:lnTo>
                    <a:pt x="1183" y="319"/>
                  </a:lnTo>
                  <a:lnTo>
                    <a:pt x="1179" y="320"/>
                  </a:lnTo>
                  <a:lnTo>
                    <a:pt x="1174" y="323"/>
                  </a:lnTo>
                  <a:lnTo>
                    <a:pt x="1174" y="323"/>
                  </a:lnTo>
                  <a:close/>
                  <a:moveTo>
                    <a:pt x="1084" y="203"/>
                  </a:moveTo>
                  <a:lnTo>
                    <a:pt x="1084" y="203"/>
                  </a:lnTo>
                  <a:lnTo>
                    <a:pt x="1080" y="205"/>
                  </a:lnTo>
                  <a:lnTo>
                    <a:pt x="1080" y="205"/>
                  </a:lnTo>
                  <a:lnTo>
                    <a:pt x="1076" y="205"/>
                  </a:lnTo>
                  <a:lnTo>
                    <a:pt x="1076" y="205"/>
                  </a:lnTo>
                  <a:lnTo>
                    <a:pt x="1074" y="205"/>
                  </a:lnTo>
                  <a:lnTo>
                    <a:pt x="1071" y="205"/>
                  </a:lnTo>
                  <a:lnTo>
                    <a:pt x="1071" y="205"/>
                  </a:lnTo>
                  <a:lnTo>
                    <a:pt x="1069" y="205"/>
                  </a:lnTo>
                  <a:lnTo>
                    <a:pt x="1069" y="205"/>
                  </a:lnTo>
                  <a:lnTo>
                    <a:pt x="1071" y="203"/>
                  </a:lnTo>
                  <a:lnTo>
                    <a:pt x="1071" y="203"/>
                  </a:lnTo>
                  <a:lnTo>
                    <a:pt x="1077" y="203"/>
                  </a:lnTo>
                  <a:lnTo>
                    <a:pt x="1077" y="203"/>
                  </a:lnTo>
                  <a:lnTo>
                    <a:pt x="1080" y="203"/>
                  </a:lnTo>
                  <a:lnTo>
                    <a:pt x="1080" y="203"/>
                  </a:lnTo>
                  <a:lnTo>
                    <a:pt x="1087" y="203"/>
                  </a:lnTo>
                  <a:lnTo>
                    <a:pt x="1087" y="203"/>
                  </a:lnTo>
                  <a:lnTo>
                    <a:pt x="1084" y="203"/>
                  </a:lnTo>
                  <a:lnTo>
                    <a:pt x="1084" y="203"/>
                  </a:lnTo>
                  <a:close/>
                  <a:moveTo>
                    <a:pt x="1303" y="547"/>
                  </a:moveTo>
                  <a:lnTo>
                    <a:pt x="1303" y="547"/>
                  </a:lnTo>
                  <a:lnTo>
                    <a:pt x="1301" y="555"/>
                  </a:lnTo>
                  <a:lnTo>
                    <a:pt x="1301" y="555"/>
                  </a:lnTo>
                  <a:lnTo>
                    <a:pt x="1300" y="557"/>
                  </a:lnTo>
                  <a:lnTo>
                    <a:pt x="1300" y="557"/>
                  </a:lnTo>
                  <a:lnTo>
                    <a:pt x="1299" y="562"/>
                  </a:lnTo>
                  <a:lnTo>
                    <a:pt x="1299" y="562"/>
                  </a:lnTo>
                  <a:lnTo>
                    <a:pt x="1297" y="569"/>
                  </a:lnTo>
                  <a:lnTo>
                    <a:pt x="1297" y="569"/>
                  </a:lnTo>
                  <a:lnTo>
                    <a:pt x="1294" y="579"/>
                  </a:lnTo>
                  <a:lnTo>
                    <a:pt x="1293" y="585"/>
                  </a:lnTo>
                  <a:lnTo>
                    <a:pt x="1291" y="592"/>
                  </a:lnTo>
                  <a:lnTo>
                    <a:pt x="1291" y="592"/>
                  </a:lnTo>
                  <a:lnTo>
                    <a:pt x="1293" y="597"/>
                  </a:lnTo>
                  <a:lnTo>
                    <a:pt x="1293" y="597"/>
                  </a:lnTo>
                  <a:lnTo>
                    <a:pt x="1293" y="607"/>
                  </a:lnTo>
                  <a:lnTo>
                    <a:pt x="1291" y="612"/>
                  </a:lnTo>
                  <a:lnTo>
                    <a:pt x="1290" y="616"/>
                  </a:lnTo>
                  <a:lnTo>
                    <a:pt x="1290" y="616"/>
                  </a:lnTo>
                  <a:lnTo>
                    <a:pt x="1284" y="623"/>
                  </a:lnTo>
                  <a:lnTo>
                    <a:pt x="1284" y="623"/>
                  </a:lnTo>
                  <a:lnTo>
                    <a:pt x="1280" y="629"/>
                  </a:lnTo>
                  <a:lnTo>
                    <a:pt x="1280" y="629"/>
                  </a:lnTo>
                  <a:lnTo>
                    <a:pt x="1279" y="630"/>
                  </a:lnTo>
                  <a:lnTo>
                    <a:pt x="1273" y="630"/>
                  </a:lnTo>
                  <a:lnTo>
                    <a:pt x="1273" y="630"/>
                  </a:lnTo>
                  <a:lnTo>
                    <a:pt x="1276" y="626"/>
                  </a:lnTo>
                  <a:lnTo>
                    <a:pt x="1276" y="626"/>
                  </a:lnTo>
                  <a:lnTo>
                    <a:pt x="1276" y="623"/>
                  </a:lnTo>
                  <a:lnTo>
                    <a:pt x="1276" y="623"/>
                  </a:lnTo>
                  <a:lnTo>
                    <a:pt x="1281" y="612"/>
                  </a:lnTo>
                  <a:lnTo>
                    <a:pt x="1281" y="612"/>
                  </a:lnTo>
                  <a:lnTo>
                    <a:pt x="1283" y="607"/>
                  </a:lnTo>
                  <a:lnTo>
                    <a:pt x="1283" y="607"/>
                  </a:lnTo>
                  <a:lnTo>
                    <a:pt x="1283" y="605"/>
                  </a:lnTo>
                  <a:lnTo>
                    <a:pt x="1283" y="605"/>
                  </a:lnTo>
                  <a:lnTo>
                    <a:pt x="1284" y="600"/>
                  </a:lnTo>
                  <a:lnTo>
                    <a:pt x="1284" y="600"/>
                  </a:lnTo>
                  <a:lnTo>
                    <a:pt x="1286" y="595"/>
                  </a:lnTo>
                  <a:lnTo>
                    <a:pt x="1286" y="592"/>
                  </a:lnTo>
                  <a:lnTo>
                    <a:pt x="1284" y="589"/>
                  </a:lnTo>
                  <a:lnTo>
                    <a:pt x="1284" y="589"/>
                  </a:lnTo>
                  <a:lnTo>
                    <a:pt x="1283" y="587"/>
                  </a:lnTo>
                  <a:lnTo>
                    <a:pt x="1280" y="586"/>
                  </a:lnTo>
                  <a:lnTo>
                    <a:pt x="1280" y="586"/>
                  </a:lnTo>
                  <a:lnTo>
                    <a:pt x="1276" y="587"/>
                  </a:lnTo>
                  <a:lnTo>
                    <a:pt x="1276" y="587"/>
                  </a:lnTo>
                  <a:lnTo>
                    <a:pt x="1273" y="589"/>
                  </a:lnTo>
                  <a:lnTo>
                    <a:pt x="1273" y="589"/>
                  </a:lnTo>
                  <a:lnTo>
                    <a:pt x="1271" y="590"/>
                  </a:lnTo>
                  <a:lnTo>
                    <a:pt x="1271" y="590"/>
                  </a:lnTo>
                  <a:lnTo>
                    <a:pt x="1271" y="586"/>
                  </a:lnTo>
                  <a:lnTo>
                    <a:pt x="1271" y="586"/>
                  </a:lnTo>
                  <a:lnTo>
                    <a:pt x="1273" y="580"/>
                  </a:lnTo>
                  <a:lnTo>
                    <a:pt x="1270" y="575"/>
                  </a:lnTo>
                  <a:lnTo>
                    <a:pt x="1270" y="575"/>
                  </a:lnTo>
                  <a:lnTo>
                    <a:pt x="1270" y="573"/>
                  </a:lnTo>
                  <a:lnTo>
                    <a:pt x="1270" y="573"/>
                  </a:lnTo>
                  <a:lnTo>
                    <a:pt x="1269" y="570"/>
                  </a:lnTo>
                  <a:lnTo>
                    <a:pt x="1269" y="569"/>
                  </a:lnTo>
                  <a:lnTo>
                    <a:pt x="1269" y="569"/>
                  </a:lnTo>
                  <a:lnTo>
                    <a:pt x="1270" y="566"/>
                  </a:lnTo>
                  <a:lnTo>
                    <a:pt x="1271" y="565"/>
                  </a:lnTo>
                  <a:lnTo>
                    <a:pt x="1271" y="565"/>
                  </a:lnTo>
                  <a:lnTo>
                    <a:pt x="1271" y="565"/>
                  </a:lnTo>
                  <a:lnTo>
                    <a:pt x="1271" y="565"/>
                  </a:lnTo>
                  <a:lnTo>
                    <a:pt x="1274" y="565"/>
                  </a:lnTo>
                  <a:lnTo>
                    <a:pt x="1276" y="563"/>
                  </a:lnTo>
                  <a:lnTo>
                    <a:pt x="1276" y="563"/>
                  </a:lnTo>
                  <a:lnTo>
                    <a:pt x="1276" y="562"/>
                  </a:lnTo>
                  <a:lnTo>
                    <a:pt x="1274" y="559"/>
                  </a:lnTo>
                  <a:lnTo>
                    <a:pt x="1271" y="557"/>
                  </a:lnTo>
                  <a:lnTo>
                    <a:pt x="1271" y="557"/>
                  </a:lnTo>
                  <a:lnTo>
                    <a:pt x="1270" y="556"/>
                  </a:lnTo>
                  <a:lnTo>
                    <a:pt x="1270" y="556"/>
                  </a:lnTo>
                  <a:lnTo>
                    <a:pt x="1269" y="556"/>
                  </a:lnTo>
                  <a:lnTo>
                    <a:pt x="1269" y="556"/>
                  </a:lnTo>
                  <a:lnTo>
                    <a:pt x="1270" y="553"/>
                  </a:lnTo>
                  <a:lnTo>
                    <a:pt x="1273" y="550"/>
                  </a:lnTo>
                  <a:lnTo>
                    <a:pt x="1277" y="546"/>
                  </a:lnTo>
                  <a:lnTo>
                    <a:pt x="1277" y="546"/>
                  </a:lnTo>
                  <a:lnTo>
                    <a:pt x="1281" y="543"/>
                  </a:lnTo>
                  <a:lnTo>
                    <a:pt x="1281" y="543"/>
                  </a:lnTo>
                  <a:lnTo>
                    <a:pt x="1287" y="540"/>
                  </a:lnTo>
                  <a:lnTo>
                    <a:pt x="1287" y="540"/>
                  </a:lnTo>
                  <a:lnTo>
                    <a:pt x="1290" y="539"/>
                  </a:lnTo>
                  <a:lnTo>
                    <a:pt x="1294" y="539"/>
                  </a:lnTo>
                  <a:lnTo>
                    <a:pt x="1294" y="539"/>
                  </a:lnTo>
                  <a:lnTo>
                    <a:pt x="1294" y="539"/>
                  </a:lnTo>
                  <a:lnTo>
                    <a:pt x="1297" y="539"/>
                  </a:lnTo>
                  <a:lnTo>
                    <a:pt x="1300" y="540"/>
                  </a:lnTo>
                  <a:lnTo>
                    <a:pt x="1300" y="540"/>
                  </a:lnTo>
                  <a:lnTo>
                    <a:pt x="1303" y="545"/>
                  </a:lnTo>
                  <a:lnTo>
                    <a:pt x="1303" y="547"/>
                  </a:lnTo>
                  <a:lnTo>
                    <a:pt x="1303" y="547"/>
                  </a:lnTo>
                  <a:close/>
                  <a:moveTo>
                    <a:pt x="1638" y="830"/>
                  </a:moveTo>
                  <a:lnTo>
                    <a:pt x="1638" y="830"/>
                  </a:lnTo>
                  <a:lnTo>
                    <a:pt x="1631" y="833"/>
                  </a:lnTo>
                  <a:lnTo>
                    <a:pt x="1624" y="835"/>
                  </a:lnTo>
                  <a:lnTo>
                    <a:pt x="1611" y="836"/>
                  </a:lnTo>
                  <a:lnTo>
                    <a:pt x="1611" y="836"/>
                  </a:lnTo>
                  <a:lnTo>
                    <a:pt x="1604" y="835"/>
                  </a:lnTo>
                  <a:lnTo>
                    <a:pt x="1604" y="835"/>
                  </a:lnTo>
                  <a:lnTo>
                    <a:pt x="1587" y="835"/>
                  </a:lnTo>
                  <a:lnTo>
                    <a:pt x="1587" y="835"/>
                  </a:lnTo>
                  <a:lnTo>
                    <a:pt x="1580" y="835"/>
                  </a:lnTo>
                  <a:lnTo>
                    <a:pt x="1577" y="837"/>
                  </a:lnTo>
                  <a:lnTo>
                    <a:pt x="1577" y="837"/>
                  </a:lnTo>
                  <a:lnTo>
                    <a:pt x="1576" y="840"/>
                  </a:lnTo>
                  <a:lnTo>
                    <a:pt x="1576" y="843"/>
                  </a:lnTo>
                  <a:lnTo>
                    <a:pt x="1576" y="843"/>
                  </a:lnTo>
                  <a:lnTo>
                    <a:pt x="1574" y="846"/>
                  </a:lnTo>
                  <a:lnTo>
                    <a:pt x="1574" y="846"/>
                  </a:lnTo>
                  <a:lnTo>
                    <a:pt x="1573" y="845"/>
                  </a:lnTo>
                  <a:lnTo>
                    <a:pt x="1571" y="843"/>
                  </a:lnTo>
                  <a:lnTo>
                    <a:pt x="1567" y="840"/>
                  </a:lnTo>
                  <a:lnTo>
                    <a:pt x="1567" y="840"/>
                  </a:lnTo>
                  <a:lnTo>
                    <a:pt x="1564" y="840"/>
                  </a:lnTo>
                  <a:lnTo>
                    <a:pt x="1564" y="840"/>
                  </a:lnTo>
                  <a:lnTo>
                    <a:pt x="1570" y="836"/>
                  </a:lnTo>
                  <a:lnTo>
                    <a:pt x="1581" y="830"/>
                  </a:lnTo>
                  <a:lnTo>
                    <a:pt x="1594" y="825"/>
                  </a:lnTo>
                  <a:lnTo>
                    <a:pt x="1601" y="823"/>
                  </a:lnTo>
                  <a:lnTo>
                    <a:pt x="1608" y="823"/>
                  </a:lnTo>
                  <a:lnTo>
                    <a:pt x="1610" y="823"/>
                  </a:lnTo>
                  <a:lnTo>
                    <a:pt x="1610" y="823"/>
                  </a:lnTo>
                  <a:lnTo>
                    <a:pt x="1616" y="823"/>
                  </a:lnTo>
                  <a:lnTo>
                    <a:pt x="1616" y="823"/>
                  </a:lnTo>
                  <a:lnTo>
                    <a:pt x="1627" y="823"/>
                  </a:lnTo>
                  <a:lnTo>
                    <a:pt x="1627" y="823"/>
                  </a:lnTo>
                  <a:lnTo>
                    <a:pt x="1638" y="822"/>
                  </a:lnTo>
                  <a:lnTo>
                    <a:pt x="1644" y="820"/>
                  </a:lnTo>
                  <a:lnTo>
                    <a:pt x="1648" y="817"/>
                  </a:lnTo>
                  <a:lnTo>
                    <a:pt x="1648" y="817"/>
                  </a:lnTo>
                  <a:lnTo>
                    <a:pt x="1648" y="817"/>
                  </a:lnTo>
                  <a:lnTo>
                    <a:pt x="1648" y="817"/>
                  </a:lnTo>
                  <a:lnTo>
                    <a:pt x="1646" y="825"/>
                  </a:lnTo>
                  <a:lnTo>
                    <a:pt x="1643" y="829"/>
                  </a:lnTo>
                  <a:lnTo>
                    <a:pt x="1638" y="830"/>
                  </a:lnTo>
                  <a:lnTo>
                    <a:pt x="1638" y="830"/>
                  </a:lnTo>
                  <a:close/>
                  <a:moveTo>
                    <a:pt x="1551" y="863"/>
                  </a:moveTo>
                  <a:lnTo>
                    <a:pt x="1551" y="863"/>
                  </a:lnTo>
                  <a:lnTo>
                    <a:pt x="1537" y="870"/>
                  </a:lnTo>
                  <a:lnTo>
                    <a:pt x="1537" y="870"/>
                  </a:lnTo>
                  <a:lnTo>
                    <a:pt x="1531" y="873"/>
                  </a:lnTo>
                  <a:lnTo>
                    <a:pt x="1531" y="873"/>
                  </a:lnTo>
                  <a:lnTo>
                    <a:pt x="1524" y="877"/>
                  </a:lnTo>
                  <a:lnTo>
                    <a:pt x="1514" y="882"/>
                  </a:lnTo>
                  <a:lnTo>
                    <a:pt x="1514" y="882"/>
                  </a:lnTo>
                  <a:lnTo>
                    <a:pt x="1507" y="884"/>
                  </a:lnTo>
                  <a:lnTo>
                    <a:pt x="1507" y="884"/>
                  </a:lnTo>
                  <a:lnTo>
                    <a:pt x="1497" y="887"/>
                  </a:lnTo>
                  <a:lnTo>
                    <a:pt x="1490" y="889"/>
                  </a:lnTo>
                  <a:lnTo>
                    <a:pt x="1490" y="889"/>
                  </a:lnTo>
                  <a:lnTo>
                    <a:pt x="1483" y="889"/>
                  </a:lnTo>
                  <a:lnTo>
                    <a:pt x="1483" y="889"/>
                  </a:lnTo>
                  <a:lnTo>
                    <a:pt x="1471" y="889"/>
                  </a:lnTo>
                  <a:lnTo>
                    <a:pt x="1471" y="889"/>
                  </a:lnTo>
                  <a:lnTo>
                    <a:pt x="1466" y="889"/>
                  </a:lnTo>
                  <a:lnTo>
                    <a:pt x="1466" y="889"/>
                  </a:lnTo>
                  <a:lnTo>
                    <a:pt x="1461" y="887"/>
                  </a:lnTo>
                  <a:lnTo>
                    <a:pt x="1460" y="887"/>
                  </a:lnTo>
                  <a:lnTo>
                    <a:pt x="1460" y="887"/>
                  </a:lnTo>
                  <a:lnTo>
                    <a:pt x="1461" y="883"/>
                  </a:lnTo>
                  <a:lnTo>
                    <a:pt x="1467" y="877"/>
                  </a:lnTo>
                  <a:lnTo>
                    <a:pt x="1467" y="877"/>
                  </a:lnTo>
                  <a:lnTo>
                    <a:pt x="1469" y="879"/>
                  </a:lnTo>
                  <a:lnTo>
                    <a:pt x="1469" y="879"/>
                  </a:lnTo>
                  <a:lnTo>
                    <a:pt x="1473" y="882"/>
                  </a:lnTo>
                  <a:lnTo>
                    <a:pt x="1476" y="882"/>
                  </a:lnTo>
                  <a:lnTo>
                    <a:pt x="1476" y="882"/>
                  </a:lnTo>
                  <a:lnTo>
                    <a:pt x="1480" y="882"/>
                  </a:lnTo>
                  <a:lnTo>
                    <a:pt x="1483" y="879"/>
                  </a:lnTo>
                  <a:lnTo>
                    <a:pt x="1483" y="879"/>
                  </a:lnTo>
                  <a:lnTo>
                    <a:pt x="1486" y="876"/>
                  </a:lnTo>
                  <a:lnTo>
                    <a:pt x="1486" y="876"/>
                  </a:lnTo>
                  <a:lnTo>
                    <a:pt x="1493" y="870"/>
                  </a:lnTo>
                  <a:lnTo>
                    <a:pt x="1497" y="867"/>
                  </a:lnTo>
                  <a:lnTo>
                    <a:pt x="1504" y="864"/>
                  </a:lnTo>
                  <a:lnTo>
                    <a:pt x="1504" y="864"/>
                  </a:lnTo>
                  <a:lnTo>
                    <a:pt x="1513" y="864"/>
                  </a:lnTo>
                  <a:lnTo>
                    <a:pt x="1520" y="866"/>
                  </a:lnTo>
                  <a:lnTo>
                    <a:pt x="1520" y="866"/>
                  </a:lnTo>
                  <a:lnTo>
                    <a:pt x="1527" y="866"/>
                  </a:lnTo>
                  <a:lnTo>
                    <a:pt x="1527" y="866"/>
                  </a:lnTo>
                  <a:lnTo>
                    <a:pt x="1533" y="866"/>
                  </a:lnTo>
                  <a:lnTo>
                    <a:pt x="1536" y="863"/>
                  </a:lnTo>
                  <a:lnTo>
                    <a:pt x="1536" y="863"/>
                  </a:lnTo>
                  <a:lnTo>
                    <a:pt x="1539" y="859"/>
                  </a:lnTo>
                  <a:lnTo>
                    <a:pt x="1539" y="856"/>
                  </a:lnTo>
                  <a:lnTo>
                    <a:pt x="1539" y="856"/>
                  </a:lnTo>
                  <a:lnTo>
                    <a:pt x="1546" y="854"/>
                  </a:lnTo>
                  <a:lnTo>
                    <a:pt x="1546" y="854"/>
                  </a:lnTo>
                  <a:lnTo>
                    <a:pt x="1551" y="854"/>
                  </a:lnTo>
                  <a:lnTo>
                    <a:pt x="1551" y="854"/>
                  </a:lnTo>
                  <a:lnTo>
                    <a:pt x="1563" y="856"/>
                  </a:lnTo>
                  <a:lnTo>
                    <a:pt x="1563" y="856"/>
                  </a:lnTo>
                  <a:lnTo>
                    <a:pt x="1564" y="856"/>
                  </a:lnTo>
                  <a:lnTo>
                    <a:pt x="1564" y="856"/>
                  </a:lnTo>
                  <a:lnTo>
                    <a:pt x="1557" y="860"/>
                  </a:lnTo>
                  <a:lnTo>
                    <a:pt x="1557" y="860"/>
                  </a:lnTo>
                  <a:lnTo>
                    <a:pt x="1551" y="863"/>
                  </a:lnTo>
                  <a:lnTo>
                    <a:pt x="1551" y="863"/>
                  </a:lnTo>
                  <a:close/>
                  <a:moveTo>
                    <a:pt x="1390" y="706"/>
                  </a:moveTo>
                  <a:lnTo>
                    <a:pt x="1390" y="706"/>
                  </a:lnTo>
                  <a:lnTo>
                    <a:pt x="1394" y="706"/>
                  </a:lnTo>
                  <a:lnTo>
                    <a:pt x="1394" y="706"/>
                  </a:lnTo>
                  <a:lnTo>
                    <a:pt x="1399" y="706"/>
                  </a:lnTo>
                  <a:lnTo>
                    <a:pt x="1399" y="706"/>
                  </a:lnTo>
                  <a:lnTo>
                    <a:pt x="1401" y="706"/>
                  </a:lnTo>
                  <a:lnTo>
                    <a:pt x="1401" y="706"/>
                  </a:lnTo>
                  <a:lnTo>
                    <a:pt x="1403" y="707"/>
                  </a:lnTo>
                  <a:lnTo>
                    <a:pt x="1403" y="707"/>
                  </a:lnTo>
                  <a:lnTo>
                    <a:pt x="1404" y="706"/>
                  </a:lnTo>
                  <a:lnTo>
                    <a:pt x="1407" y="705"/>
                  </a:lnTo>
                  <a:lnTo>
                    <a:pt x="1410" y="699"/>
                  </a:lnTo>
                  <a:lnTo>
                    <a:pt x="1410" y="699"/>
                  </a:lnTo>
                  <a:lnTo>
                    <a:pt x="1416" y="692"/>
                  </a:lnTo>
                  <a:lnTo>
                    <a:pt x="1416" y="692"/>
                  </a:lnTo>
                  <a:lnTo>
                    <a:pt x="1416" y="692"/>
                  </a:lnTo>
                  <a:lnTo>
                    <a:pt x="1416" y="692"/>
                  </a:lnTo>
                  <a:lnTo>
                    <a:pt x="1417" y="693"/>
                  </a:lnTo>
                  <a:lnTo>
                    <a:pt x="1420" y="693"/>
                  </a:lnTo>
                  <a:lnTo>
                    <a:pt x="1420" y="693"/>
                  </a:lnTo>
                  <a:lnTo>
                    <a:pt x="1424" y="693"/>
                  </a:lnTo>
                  <a:lnTo>
                    <a:pt x="1430" y="690"/>
                  </a:lnTo>
                  <a:lnTo>
                    <a:pt x="1430" y="690"/>
                  </a:lnTo>
                  <a:lnTo>
                    <a:pt x="1436" y="685"/>
                  </a:lnTo>
                  <a:lnTo>
                    <a:pt x="1440" y="682"/>
                  </a:lnTo>
                  <a:lnTo>
                    <a:pt x="1440" y="682"/>
                  </a:lnTo>
                  <a:lnTo>
                    <a:pt x="1443" y="679"/>
                  </a:lnTo>
                  <a:lnTo>
                    <a:pt x="1443" y="679"/>
                  </a:lnTo>
                  <a:lnTo>
                    <a:pt x="1446" y="680"/>
                  </a:lnTo>
                  <a:lnTo>
                    <a:pt x="1446" y="680"/>
                  </a:lnTo>
                  <a:lnTo>
                    <a:pt x="1450" y="680"/>
                  </a:lnTo>
                  <a:lnTo>
                    <a:pt x="1457" y="682"/>
                  </a:lnTo>
                  <a:lnTo>
                    <a:pt x="1457" y="682"/>
                  </a:lnTo>
                  <a:lnTo>
                    <a:pt x="1473" y="683"/>
                  </a:lnTo>
                  <a:lnTo>
                    <a:pt x="1476" y="685"/>
                  </a:lnTo>
                  <a:lnTo>
                    <a:pt x="1476" y="685"/>
                  </a:lnTo>
                  <a:lnTo>
                    <a:pt x="1476" y="689"/>
                  </a:lnTo>
                  <a:lnTo>
                    <a:pt x="1476" y="689"/>
                  </a:lnTo>
                  <a:lnTo>
                    <a:pt x="1474" y="696"/>
                  </a:lnTo>
                  <a:lnTo>
                    <a:pt x="1476" y="700"/>
                  </a:lnTo>
                  <a:lnTo>
                    <a:pt x="1477" y="703"/>
                  </a:lnTo>
                  <a:lnTo>
                    <a:pt x="1477" y="703"/>
                  </a:lnTo>
                  <a:lnTo>
                    <a:pt x="1481" y="703"/>
                  </a:lnTo>
                  <a:lnTo>
                    <a:pt x="1481" y="703"/>
                  </a:lnTo>
                  <a:lnTo>
                    <a:pt x="1487" y="703"/>
                  </a:lnTo>
                  <a:lnTo>
                    <a:pt x="1487" y="703"/>
                  </a:lnTo>
                  <a:lnTo>
                    <a:pt x="1491" y="703"/>
                  </a:lnTo>
                  <a:lnTo>
                    <a:pt x="1491" y="703"/>
                  </a:lnTo>
                  <a:lnTo>
                    <a:pt x="1494" y="703"/>
                  </a:lnTo>
                  <a:lnTo>
                    <a:pt x="1496" y="703"/>
                  </a:lnTo>
                  <a:lnTo>
                    <a:pt x="1496" y="703"/>
                  </a:lnTo>
                  <a:lnTo>
                    <a:pt x="1496" y="706"/>
                  </a:lnTo>
                  <a:lnTo>
                    <a:pt x="1494" y="707"/>
                  </a:lnTo>
                  <a:lnTo>
                    <a:pt x="1494" y="707"/>
                  </a:lnTo>
                  <a:lnTo>
                    <a:pt x="1493" y="710"/>
                  </a:lnTo>
                  <a:lnTo>
                    <a:pt x="1493" y="713"/>
                  </a:lnTo>
                  <a:lnTo>
                    <a:pt x="1493" y="713"/>
                  </a:lnTo>
                  <a:lnTo>
                    <a:pt x="1493" y="717"/>
                  </a:lnTo>
                  <a:lnTo>
                    <a:pt x="1493" y="717"/>
                  </a:lnTo>
                  <a:lnTo>
                    <a:pt x="1493" y="722"/>
                  </a:lnTo>
                  <a:lnTo>
                    <a:pt x="1493" y="722"/>
                  </a:lnTo>
                  <a:lnTo>
                    <a:pt x="1493" y="725"/>
                  </a:lnTo>
                  <a:lnTo>
                    <a:pt x="1491" y="726"/>
                  </a:lnTo>
                  <a:lnTo>
                    <a:pt x="1491" y="726"/>
                  </a:lnTo>
                  <a:lnTo>
                    <a:pt x="1489" y="730"/>
                  </a:lnTo>
                  <a:lnTo>
                    <a:pt x="1489" y="733"/>
                  </a:lnTo>
                  <a:lnTo>
                    <a:pt x="1490" y="736"/>
                  </a:lnTo>
                  <a:lnTo>
                    <a:pt x="1490" y="736"/>
                  </a:lnTo>
                  <a:lnTo>
                    <a:pt x="1491" y="737"/>
                  </a:lnTo>
                  <a:lnTo>
                    <a:pt x="1491" y="740"/>
                  </a:lnTo>
                  <a:lnTo>
                    <a:pt x="1491" y="740"/>
                  </a:lnTo>
                  <a:lnTo>
                    <a:pt x="1491" y="743"/>
                  </a:lnTo>
                  <a:lnTo>
                    <a:pt x="1493" y="746"/>
                  </a:lnTo>
                  <a:lnTo>
                    <a:pt x="1493" y="746"/>
                  </a:lnTo>
                  <a:lnTo>
                    <a:pt x="1490" y="745"/>
                  </a:lnTo>
                  <a:lnTo>
                    <a:pt x="1490" y="745"/>
                  </a:lnTo>
                  <a:lnTo>
                    <a:pt x="1486" y="746"/>
                  </a:lnTo>
                  <a:lnTo>
                    <a:pt x="1486" y="746"/>
                  </a:lnTo>
                  <a:lnTo>
                    <a:pt x="1481" y="747"/>
                  </a:lnTo>
                  <a:lnTo>
                    <a:pt x="1481" y="747"/>
                  </a:lnTo>
                  <a:lnTo>
                    <a:pt x="1480" y="746"/>
                  </a:lnTo>
                  <a:lnTo>
                    <a:pt x="1480" y="745"/>
                  </a:lnTo>
                  <a:lnTo>
                    <a:pt x="1480" y="745"/>
                  </a:lnTo>
                  <a:lnTo>
                    <a:pt x="1477" y="739"/>
                  </a:lnTo>
                  <a:lnTo>
                    <a:pt x="1476" y="737"/>
                  </a:lnTo>
                  <a:lnTo>
                    <a:pt x="1473" y="737"/>
                  </a:lnTo>
                  <a:lnTo>
                    <a:pt x="1473" y="737"/>
                  </a:lnTo>
                  <a:lnTo>
                    <a:pt x="1471" y="737"/>
                  </a:lnTo>
                  <a:lnTo>
                    <a:pt x="1471" y="737"/>
                  </a:lnTo>
                  <a:lnTo>
                    <a:pt x="1469" y="737"/>
                  </a:lnTo>
                  <a:lnTo>
                    <a:pt x="1469" y="737"/>
                  </a:lnTo>
                  <a:lnTo>
                    <a:pt x="1466" y="736"/>
                  </a:lnTo>
                  <a:lnTo>
                    <a:pt x="1463" y="735"/>
                  </a:lnTo>
                  <a:lnTo>
                    <a:pt x="1463" y="735"/>
                  </a:lnTo>
                  <a:lnTo>
                    <a:pt x="1459" y="736"/>
                  </a:lnTo>
                  <a:lnTo>
                    <a:pt x="1454" y="737"/>
                  </a:lnTo>
                  <a:lnTo>
                    <a:pt x="1454" y="737"/>
                  </a:lnTo>
                  <a:lnTo>
                    <a:pt x="1449" y="742"/>
                  </a:lnTo>
                  <a:lnTo>
                    <a:pt x="1449" y="742"/>
                  </a:lnTo>
                  <a:lnTo>
                    <a:pt x="1443" y="746"/>
                  </a:lnTo>
                  <a:lnTo>
                    <a:pt x="1440" y="746"/>
                  </a:lnTo>
                  <a:lnTo>
                    <a:pt x="1437" y="746"/>
                  </a:lnTo>
                  <a:lnTo>
                    <a:pt x="1437" y="746"/>
                  </a:lnTo>
                  <a:lnTo>
                    <a:pt x="1431" y="743"/>
                  </a:lnTo>
                  <a:lnTo>
                    <a:pt x="1427" y="740"/>
                  </a:lnTo>
                  <a:lnTo>
                    <a:pt x="1427" y="740"/>
                  </a:lnTo>
                  <a:lnTo>
                    <a:pt x="1426" y="740"/>
                  </a:lnTo>
                  <a:lnTo>
                    <a:pt x="1426" y="740"/>
                  </a:lnTo>
                  <a:lnTo>
                    <a:pt x="1423" y="736"/>
                  </a:lnTo>
                  <a:lnTo>
                    <a:pt x="1419" y="733"/>
                  </a:lnTo>
                  <a:lnTo>
                    <a:pt x="1419" y="733"/>
                  </a:lnTo>
                  <a:lnTo>
                    <a:pt x="1413" y="732"/>
                  </a:lnTo>
                  <a:lnTo>
                    <a:pt x="1427" y="723"/>
                  </a:lnTo>
                  <a:lnTo>
                    <a:pt x="1427" y="723"/>
                  </a:lnTo>
                  <a:lnTo>
                    <a:pt x="1429" y="722"/>
                  </a:lnTo>
                  <a:lnTo>
                    <a:pt x="1429" y="722"/>
                  </a:lnTo>
                  <a:lnTo>
                    <a:pt x="1429" y="720"/>
                  </a:lnTo>
                  <a:lnTo>
                    <a:pt x="1427" y="717"/>
                  </a:lnTo>
                  <a:lnTo>
                    <a:pt x="1427" y="717"/>
                  </a:lnTo>
                  <a:lnTo>
                    <a:pt x="1426" y="717"/>
                  </a:lnTo>
                  <a:lnTo>
                    <a:pt x="1424" y="716"/>
                  </a:lnTo>
                  <a:lnTo>
                    <a:pt x="1424" y="716"/>
                  </a:lnTo>
                  <a:lnTo>
                    <a:pt x="1419" y="717"/>
                  </a:lnTo>
                  <a:lnTo>
                    <a:pt x="1413" y="720"/>
                  </a:lnTo>
                  <a:lnTo>
                    <a:pt x="1396" y="730"/>
                  </a:lnTo>
                  <a:lnTo>
                    <a:pt x="1396" y="730"/>
                  </a:lnTo>
                  <a:lnTo>
                    <a:pt x="1384" y="737"/>
                  </a:lnTo>
                  <a:lnTo>
                    <a:pt x="1384" y="737"/>
                  </a:lnTo>
                  <a:lnTo>
                    <a:pt x="1384" y="736"/>
                  </a:lnTo>
                  <a:lnTo>
                    <a:pt x="1384" y="736"/>
                  </a:lnTo>
                  <a:lnTo>
                    <a:pt x="1381" y="735"/>
                  </a:lnTo>
                  <a:lnTo>
                    <a:pt x="1381" y="735"/>
                  </a:lnTo>
                  <a:lnTo>
                    <a:pt x="1376" y="733"/>
                  </a:lnTo>
                  <a:lnTo>
                    <a:pt x="1376" y="733"/>
                  </a:lnTo>
                  <a:lnTo>
                    <a:pt x="1371" y="733"/>
                  </a:lnTo>
                  <a:lnTo>
                    <a:pt x="1369" y="736"/>
                  </a:lnTo>
                  <a:lnTo>
                    <a:pt x="1369" y="736"/>
                  </a:lnTo>
                  <a:lnTo>
                    <a:pt x="1367" y="737"/>
                  </a:lnTo>
                  <a:lnTo>
                    <a:pt x="1367" y="740"/>
                  </a:lnTo>
                  <a:lnTo>
                    <a:pt x="1367" y="740"/>
                  </a:lnTo>
                  <a:lnTo>
                    <a:pt x="1367" y="740"/>
                  </a:lnTo>
                  <a:lnTo>
                    <a:pt x="1367" y="740"/>
                  </a:lnTo>
                  <a:lnTo>
                    <a:pt x="1367" y="740"/>
                  </a:lnTo>
                  <a:lnTo>
                    <a:pt x="1367" y="740"/>
                  </a:lnTo>
                  <a:lnTo>
                    <a:pt x="1364" y="742"/>
                  </a:lnTo>
                  <a:lnTo>
                    <a:pt x="1364" y="742"/>
                  </a:lnTo>
                  <a:lnTo>
                    <a:pt x="1359" y="742"/>
                  </a:lnTo>
                  <a:lnTo>
                    <a:pt x="1359" y="742"/>
                  </a:lnTo>
                  <a:lnTo>
                    <a:pt x="1353" y="742"/>
                  </a:lnTo>
                  <a:lnTo>
                    <a:pt x="1353" y="742"/>
                  </a:lnTo>
                  <a:lnTo>
                    <a:pt x="1356" y="737"/>
                  </a:lnTo>
                  <a:lnTo>
                    <a:pt x="1356" y="737"/>
                  </a:lnTo>
                  <a:lnTo>
                    <a:pt x="1357" y="736"/>
                  </a:lnTo>
                  <a:lnTo>
                    <a:pt x="1357" y="733"/>
                  </a:lnTo>
                  <a:lnTo>
                    <a:pt x="1357" y="733"/>
                  </a:lnTo>
                  <a:lnTo>
                    <a:pt x="1357" y="733"/>
                  </a:lnTo>
                  <a:lnTo>
                    <a:pt x="1356" y="732"/>
                  </a:lnTo>
                  <a:lnTo>
                    <a:pt x="1356" y="732"/>
                  </a:lnTo>
                  <a:lnTo>
                    <a:pt x="1350" y="733"/>
                  </a:lnTo>
                  <a:lnTo>
                    <a:pt x="1350" y="733"/>
                  </a:lnTo>
                  <a:lnTo>
                    <a:pt x="1327" y="737"/>
                  </a:lnTo>
                  <a:lnTo>
                    <a:pt x="1327" y="737"/>
                  </a:lnTo>
                  <a:lnTo>
                    <a:pt x="1339" y="729"/>
                  </a:lnTo>
                  <a:lnTo>
                    <a:pt x="1354" y="719"/>
                  </a:lnTo>
                  <a:lnTo>
                    <a:pt x="1371" y="710"/>
                  </a:lnTo>
                  <a:lnTo>
                    <a:pt x="1379" y="707"/>
                  </a:lnTo>
                  <a:lnTo>
                    <a:pt x="1386" y="706"/>
                  </a:lnTo>
                  <a:lnTo>
                    <a:pt x="1386" y="706"/>
                  </a:lnTo>
                  <a:lnTo>
                    <a:pt x="1390" y="706"/>
                  </a:lnTo>
                  <a:lnTo>
                    <a:pt x="1390" y="706"/>
                  </a:lnTo>
                  <a:close/>
                  <a:moveTo>
                    <a:pt x="1423" y="799"/>
                  </a:moveTo>
                  <a:lnTo>
                    <a:pt x="1423" y="799"/>
                  </a:lnTo>
                  <a:lnTo>
                    <a:pt x="1414" y="813"/>
                  </a:lnTo>
                  <a:lnTo>
                    <a:pt x="1409" y="822"/>
                  </a:lnTo>
                  <a:lnTo>
                    <a:pt x="1406" y="829"/>
                  </a:lnTo>
                  <a:lnTo>
                    <a:pt x="1406" y="829"/>
                  </a:lnTo>
                  <a:lnTo>
                    <a:pt x="1404" y="835"/>
                  </a:lnTo>
                  <a:lnTo>
                    <a:pt x="1404" y="837"/>
                  </a:lnTo>
                  <a:lnTo>
                    <a:pt x="1404" y="837"/>
                  </a:lnTo>
                  <a:lnTo>
                    <a:pt x="1404" y="842"/>
                  </a:lnTo>
                  <a:lnTo>
                    <a:pt x="1403" y="845"/>
                  </a:lnTo>
                  <a:lnTo>
                    <a:pt x="1403" y="845"/>
                  </a:lnTo>
                  <a:lnTo>
                    <a:pt x="1400" y="850"/>
                  </a:lnTo>
                  <a:lnTo>
                    <a:pt x="1400" y="850"/>
                  </a:lnTo>
                  <a:lnTo>
                    <a:pt x="1396" y="859"/>
                  </a:lnTo>
                  <a:lnTo>
                    <a:pt x="1391" y="864"/>
                  </a:lnTo>
                  <a:lnTo>
                    <a:pt x="1391" y="864"/>
                  </a:lnTo>
                  <a:lnTo>
                    <a:pt x="1389" y="869"/>
                  </a:lnTo>
                  <a:lnTo>
                    <a:pt x="1386" y="873"/>
                  </a:lnTo>
                  <a:lnTo>
                    <a:pt x="1386" y="873"/>
                  </a:lnTo>
                  <a:lnTo>
                    <a:pt x="1383" y="879"/>
                  </a:lnTo>
                  <a:lnTo>
                    <a:pt x="1380" y="880"/>
                  </a:lnTo>
                  <a:lnTo>
                    <a:pt x="1377" y="882"/>
                  </a:lnTo>
                  <a:lnTo>
                    <a:pt x="1376" y="882"/>
                  </a:lnTo>
                  <a:lnTo>
                    <a:pt x="1376" y="882"/>
                  </a:lnTo>
                  <a:lnTo>
                    <a:pt x="1367" y="884"/>
                  </a:lnTo>
                  <a:lnTo>
                    <a:pt x="1359" y="886"/>
                  </a:lnTo>
                  <a:lnTo>
                    <a:pt x="1359" y="886"/>
                  </a:lnTo>
                  <a:lnTo>
                    <a:pt x="1357" y="884"/>
                  </a:lnTo>
                  <a:lnTo>
                    <a:pt x="1356" y="884"/>
                  </a:lnTo>
                  <a:lnTo>
                    <a:pt x="1356" y="884"/>
                  </a:lnTo>
                  <a:lnTo>
                    <a:pt x="1357" y="873"/>
                  </a:lnTo>
                  <a:lnTo>
                    <a:pt x="1359" y="867"/>
                  </a:lnTo>
                  <a:lnTo>
                    <a:pt x="1361" y="862"/>
                  </a:lnTo>
                  <a:lnTo>
                    <a:pt x="1361" y="862"/>
                  </a:lnTo>
                  <a:lnTo>
                    <a:pt x="1364" y="854"/>
                  </a:lnTo>
                  <a:lnTo>
                    <a:pt x="1366" y="852"/>
                  </a:lnTo>
                  <a:lnTo>
                    <a:pt x="1366" y="852"/>
                  </a:lnTo>
                  <a:lnTo>
                    <a:pt x="1369" y="845"/>
                  </a:lnTo>
                  <a:lnTo>
                    <a:pt x="1369" y="845"/>
                  </a:lnTo>
                  <a:lnTo>
                    <a:pt x="1370" y="840"/>
                  </a:lnTo>
                  <a:lnTo>
                    <a:pt x="1373" y="837"/>
                  </a:lnTo>
                  <a:lnTo>
                    <a:pt x="1373" y="837"/>
                  </a:lnTo>
                  <a:lnTo>
                    <a:pt x="1380" y="827"/>
                  </a:lnTo>
                  <a:lnTo>
                    <a:pt x="1380" y="827"/>
                  </a:lnTo>
                  <a:lnTo>
                    <a:pt x="1383" y="820"/>
                  </a:lnTo>
                  <a:lnTo>
                    <a:pt x="1383" y="820"/>
                  </a:lnTo>
                  <a:lnTo>
                    <a:pt x="1386" y="816"/>
                  </a:lnTo>
                  <a:lnTo>
                    <a:pt x="1391" y="809"/>
                  </a:lnTo>
                  <a:lnTo>
                    <a:pt x="1391" y="809"/>
                  </a:lnTo>
                  <a:lnTo>
                    <a:pt x="1403" y="799"/>
                  </a:lnTo>
                  <a:lnTo>
                    <a:pt x="1403" y="799"/>
                  </a:lnTo>
                  <a:lnTo>
                    <a:pt x="1413" y="790"/>
                  </a:lnTo>
                  <a:lnTo>
                    <a:pt x="1416" y="787"/>
                  </a:lnTo>
                  <a:lnTo>
                    <a:pt x="1417" y="785"/>
                  </a:lnTo>
                  <a:lnTo>
                    <a:pt x="1417" y="785"/>
                  </a:lnTo>
                  <a:lnTo>
                    <a:pt x="1417" y="782"/>
                  </a:lnTo>
                  <a:lnTo>
                    <a:pt x="1416" y="780"/>
                  </a:lnTo>
                  <a:lnTo>
                    <a:pt x="1416" y="780"/>
                  </a:lnTo>
                  <a:lnTo>
                    <a:pt x="1413" y="780"/>
                  </a:lnTo>
                  <a:lnTo>
                    <a:pt x="1407" y="783"/>
                  </a:lnTo>
                  <a:lnTo>
                    <a:pt x="1407" y="783"/>
                  </a:lnTo>
                  <a:lnTo>
                    <a:pt x="1409" y="783"/>
                  </a:lnTo>
                  <a:lnTo>
                    <a:pt x="1409" y="783"/>
                  </a:lnTo>
                  <a:lnTo>
                    <a:pt x="1416" y="777"/>
                  </a:lnTo>
                  <a:lnTo>
                    <a:pt x="1416" y="777"/>
                  </a:lnTo>
                  <a:lnTo>
                    <a:pt x="1419" y="775"/>
                  </a:lnTo>
                  <a:lnTo>
                    <a:pt x="1419" y="775"/>
                  </a:lnTo>
                  <a:lnTo>
                    <a:pt x="1420" y="773"/>
                  </a:lnTo>
                  <a:lnTo>
                    <a:pt x="1420" y="773"/>
                  </a:lnTo>
                  <a:lnTo>
                    <a:pt x="1426" y="772"/>
                  </a:lnTo>
                  <a:lnTo>
                    <a:pt x="1426" y="772"/>
                  </a:lnTo>
                  <a:lnTo>
                    <a:pt x="1437" y="769"/>
                  </a:lnTo>
                  <a:lnTo>
                    <a:pt x="1441" y="766"/>
                  </a:lnTo>
                  <a:lnTo>
                    <a:pt x="1441" y="766"/>
                  </a:lnTo>
                  <a:lnTo>
                    <a:pt x="1446" y="765"/>
                  </a:lnTo>
                  <a:lnTo>
                    <a:pt x="1446" y="765"/>
                  </a:lnTo>
                  <a:lnTo>
                    <a:pt x="1451" y="762"/>
                  </a:lnTo>
                  <a:lnTo>
                    <a:pt x="1457" y="762"/>
                  </a:lnTo>
                  <a:lnTo>
                    <a:pt x="1457" y="762"/>
                  </a:lnTo>
                  <a:lnTo>
                    <a:pt x="1463" y="762"/>
                  </a:lnTo>
                  <a:lnTo>
                    <a:pt x="1463" y="762"/>
                  </a:lnTo>
                  <a:lnTo>
                    <a:pt x="1476" y="762"/>
                  </a:lnTo>
                  <a:lnTo>
                    <a:pt x="1476" y="762"/>
                  </a:lnTo>
                  <a:lnTo>
                    <a:pt x="1481" y="763"/>
                  </a:lnTo>
                  <a:lnTo>
                    <a:pt x="1487" y="762"/>
                  </a:lnTo>
                  <a:lnTo>
                    <a:pt x="1487" y="762"/>
                  </a:lnTo>
                  <a:lnTo>
                    <a:pt x="1490" y="762"/>
                  </a:lnTo>
                  <a:lnTo>
                    <a:pt x="1490" y="762"/>
                  </a:lnTo>
                  <a:lnTo>
                    <a:pt x="1493" y="763"/>
                  </a:lnTo>
                  <a:lnTo>
                    <a:pt x="1493" y="763"/>
                  </a:lnTo>
                  <a:lnTo>
                    <a:pt x="1496" y="763"/>
                  </a:lnTo>
                  <a:lnTo>
                    <a:pt x="1499" y="763"/>
                  </a:lnTo>
                  <a:lnTo>
                    <a:pt x="1499" y="763"/>
                  </a:lnTo>
                  <a:lnTo>
                    <a:pt x="1500" y="762"/>
                  </a:lnTo>
                  <a:lnTo>
                    <a:pt x="1500" y="759"/>
                  </a:lnTo>
                  <a:lnTo>
                    <a:pt x="1500" y="759"/>
                  </a:lnTo>
                  <a:lnTo>
                    <a:pt x="1499" y="755"/>
                  </a:lnTo>
                  <a:lnTo>
                    <a:pt x="1499" y="755"/>
                  </a:lnTo>
                  <a:lnTo>
                    <a:pt x="1501" y="756"/>
                  </a:lnTo>
                  <a:lnTo>
                    <a:pt x="1506" y="757"/>
                  </a:lnTo>
                  <a:lnTo>
                    <a:pt x="1506" y="757"/>
                  </a:lnTo>
                  <a:lnTo>
                    <a:pt x="1509" y="757"/>
                  </a:lnTo>
                  <a:lnTo>
                    <a:pt x="1509" y="757"/>
                  </a:lnTo>
                  <a:lnTo>
                    <a:pt x="1514" y="757"/>
                  </a:lnTo>
                  <a:lnTo>
                    <a:pt x="1514" y="757"/>
                  </a:lnTo>
                  <a:lnTo>
                    <a:pt x="1521" y="757"/>
                  </a:lnTo>
                  <a:lnTo>
                    <a:pt x="1521" y="757"/>
                  </a:lnTo>
                  <a:lnTo>
                    <a:pt x="1530" y="759"/>
                  </a:lnTo>
                  <a:lnTo>
                    <a:pt x="1530" y="759"/>
                  </a:lnTo>
                  <a:lnTo>
                    <a:pt x="1536" y="759"/>
                  </a:lnTo>
                  <a:lnTo>
                    <a:pt x="1540" y="760"/>
                  </a:lnTo>
                  <a:lnTo>
                    <a:pt x="1540" y="760"/>
                  </a:lnTo>
                  <a:lnTo>
                    <a:pt x="1543" y="762"/>
                  </a:lnTo>
                  <a:lnTo>
                    <a:pt x="1543" y="762"/>
                  </a:lnTo>
                  <a:lnTo>
                    <a:pt x="1546" y="763"/>
                  </a:lnTo>
                  <a:lnTo>
                    <a:pt x="1553" y="765"/>
                  </a:lnTo>
                  <a:lnTo>
                    <a:pt x="1553" y="765"/>
                  </a:lnTo>
                  <a:lnTo>
                    <a:pt x="1561" y="765"/>
                  </a:lnTo>
                  <a:lnTo>
                    <a:pt x="1566" y="767"/>
                  </a:lnTo>
                  <a:lnTo>
                    <a:pt x="1566" y="767"/>
                  </a:lnTo>
                  <a:lnTo>
                    <a:pt x="1570" y="773"/>
                  </a:lnTo>
                  <a:lnTo>
                    <a:pt x="1570" y="773"/>
                  </a:lnTo>
                  <a:lnTo>
                    <a:pt x="1573" y="777"/>
                  </a:lnTo>
                  <a:lnTo>
                    <a:pt x="1573" y="777"/>
                  </a:lnTo>
                  <a:lnTo>
                    <a:pt x="1574" y="782"/>
                  </a:lnTo>
                  <a:lnTo>
                    <a:pt x="1574" y="782"/>
                  </a:lnTo>
                  <a:lnTo>
                    <a:pt x="1574" y="785"/>
                  </a:lnTo>
                  <a:lnTo>
                    <a:pt x="1574" y="785"/>
                  </a:lnTo>
                  <a:lnTo>
                    <a:pt x="1576" y="789"/>
                  </a:lnTo>
                  <a:lnTo>
                    <a:pt x="1574" y="793"/>
                  </a:lnTo>
                  <a:lnTo>
                    <a:pt x="1574" y="793"/>
                  </a:lnTo>
                  <a:lnTo>
                    <a:pt x="1573" y="795"/>
                  </a:lnTo>
                  <a:lnTo>
                    <a:pt x="1571" y="797"/>
                  </a:lnTo>
                  <a:lnTo>
                    <a:pt x="1571" y="797"/>
                  </a:lnTo>
                  <a:lnTo>
                    <a:pt x="1570" y="800"/>
                  </a:lnTo>
                  <a:lnTo>
                    <a:pt x="1569" y="802"/>
                  </a:lnTo>
                  <a:lnTo>
                    <a:pt x="1569" y="802"/>
                  </a:lnTo>
                  <a:lnTo>
                    <a:pt x="1561" y="799"/>
                  </a:lnTo>
                  <a:lnTo>
                    <a:pt x="1559" y="797"/>
                  </a:lnTo>
                  <a:lnTo>
                    <a:pt x="1556" y="795"/>
                  </a:lnTo>
                  <a:lnTo>
                    <a:pt x="1556" y="795"/>
                  </a:lnTo>
                  <a:lnTo>
                    <a:pt x="1553" y="790"/>
                  </a:lnTo>
                  <a:lnTo>
                    <a:pt x="1553" y="790"/>
                  </a:lnTo>
                  <a:lnTo>
                    <a:pt x="1549" y="783"/>
                  </a:lnTo>
                  <a:lnTo>
                    <a:pt x="1547" y="782"/>
                  </a:lnTo>
                  <a:lnTo>
                    <a:pt x="1544" y="780"/>
                  </a:lnTo>
                  <a:lnTo>
                    <a:pt x="1544" y="780"/>
                  </a:lnTo>
                  <a:lnTo>
                    <a:pt x="1543" y="780"/>
                  </a:lnTo>
                  <a:lnTo>
                    <a:pt x="1543" y="780"/>
                  </a:lnTo>
                  <a:lnTo>
                    <a:pt x="1540" y="780"/>
                  </a:lnTo>
                  <a:lnTo>
                    <a:pt x="1537" y="782"/>
                  </a:lnTo>
                  <a:lnTo>
                    <a:pt x="1537" y="782"/>
                  </a:lnTo>
                  <a:lnTo>
                    <a:pt x="1536" y="785"/>
                  </a:lnTo>
                  <a:lnTo>
                    <a:pt x="1537" y="787"/>
                  </a:lnTo>
                  <a:lnTo>
                    <a:pt x="1537" y="787"/>
                  </a:lnTo>
                  <a:lnTo>
                    <a:pt x="1539" y="792"/>
                  </a:lnTo>
                  <a:lnTo>
                    <a:pt x="1539" y="792"/>
                  </a:lnTo>
                  <a:lnTo>
                    <a:pt x="1540" y="796"/>
                  </a:lnTo>
                  <a:lnTo>
                    <a:pt x="1539" y="800"/>
                  </a:lnTo>
                  <a:lnTo>
                    <a:pt x="1539" y="800"/>
                  </a:lnTo>
                  <a:lnTo>
                    <a:pt x="1536" y="802"/>
                  </a:lnTo>
                  <a:lnTo>
                    <a:pt x="1533" y="803"/>
                  </a:lnTo>
                  <a:lnTo>
                    <a:pt x="1533" y="803"/>
                  </a:lnTo>
                  <a:lnTo>
                    <a:pt x="1529" y="805"/>
                  </a:lnTo>
                  <a:lnTo>
                    <a:pt x="1524" y="807"/>
                  </a:lnTo>
                  <a:lnTo>
                    <a:pt x="1524" y="807"/>
                  </a:lnTo>
                  <a:lnTo>
                    <a:pt x="1520" y="813"/>
                  </a:lnTo>
                  <a:lnTo>
                    <a:pt x="1517" y="819"/>
                  </a:lnTo>
                  <a:lnTo>
                    <a:pt x="1514" y="829"/>
                  </a:lnTo>
                  <a:lnTo>
                    <a:pt x="1514" y="829"/>
                  </a:lnTo>
                  <a:lnTo>
                    <a:pt x="1513" y="833"/>
                  </a:lnTo>
                  <a:lnTo>
                    <a:pt x="1511" y="837"/>
                  </a:lnTo>
                  <a:lnTo>
                    <a:pt x="1509" y="840"/>
                  </a:lnTo>
                  <a:lnTo>
                    <a:pt x="1503" y="842"/>
                  </a:lnTo>
                  <a:lnTo>
                    <a:pt x="1503" y="842"/>
                  </a:lnTo>
                  <a:lnTo>
                    <a:pt x="1499" y="843"/>
                  </a:lnTo>
                  <a:lnTo>
                    <a:pt x="1499" y="843"/>
                  </a:lnTo>
                  <a:lnTo>
                    <a:pt x="1497" y="836"/>
                  </a:lnTo>
                  <a:lnTo>
                    <a:pt x="1497" y="829"/>
                  </a:lnTo>
                  <a:lnTo>
                    <a:pt x="1497" y="829"/>
                  </a:lnTo>
                  <a:lnTo>
                    <a:pt x="1499" y="822"/>
                  </a:lnTo>
                  <a:lnTo>
                    <a:pt x="1499" y="822"/>
                  </a:lnTo>
                  <a:lnTo>
                    <a:pt x="1499" y="820"/>
                  </a:lnTo>
                  <a:lnTo>
                    <a:pt x="1499" y="817"/>
                  </a:lnTo>
                  <a:lnTo>
                    <a:pt x="1499" y="817"/>
                  </a:lnTo>
                  <a:lnTo>
                    <a:pt x="1497" y="817"/>
                  </a:lnTo>
                  <a:lnTo>
                    <a:pt x="1494" y="816"/>
                  </a:lnTo>
                  <a:lnTo>
                    <a:pt x="1494" y="816"/>
                  </a:lnTo>
                  <a:lnTo>
                    <a:pt x="1491" y="817"/>
                  </a:lnTo>
                  <a:lnTo>
                    <a:pt x="1487" y="820"/>
                  </a:lnTo>
                  <a:lnTo>
                    <a:pt x="1487" y="820"/>
                  </a:lnTo>
                  <a:lnTo>
                    <a:pt x="1483" y="823"/>
                  </a:lnTo>
                  <a:lnTo>
                    <a:pt x="1477" y="825"/>
                  </a:lnTo>
                  <a:lnTo>
                    <a:pt x="1477" y="825"/>
                  </a:lnTo>
                  <a:lnTo>
                    <a:pt x="1471" y="827"/>
                  </a:lnTo>
                  <a:lnTo>
                    <a:pt x="1471" y="827"/>
                  </a:lnTo>
                  <a:lnTo>
                    <a:pt x="1471" y="827"/>
                  </a:lnTo>
                  <a:lnTo>
                    <a:pt x="1471" y="827"/>
                  </a:lnTo>
                  <a:lnTo>
                    <a:pt x="1471" y="825"/>
                  </a:lnTo>
                  <a:lnTo>
                    <a:pt x="1471" y="825"/>
                  </a:lnTo>
                  <a:lnTo>
                    <a:pt x="1471" y="825"/>
                  </a:lnTo>
                  <a:lnTo>
                    <a:pt x="1471" y="825"/>
                  </a:lnTo>
                  <a:lnTo>
                    <a:pt x="1477" y="820"/>
                  </a:lnTo>
                  <a:lnTo>
                    <a:pt x="1477" y="820"/>
                  </a:lnTo>
                  <a:lnTo>
                    <a:pt x="1480" y="816"/>
                  </a:lnTo>
                  <a:lnTo>
                    <a:pt x="1481" y="813"/>
                  </a:lnTo>
                  <a:lnTo>
                    <a:pt x="1481" y="813"/>
                  </a:lnTo>
                  <a:lnTo>
                    <a:pt x="1481" y="812"/>
                  </a:lnTo>
                  <a:lnTo>
                    <a:pt x="1483" y="810"/>
                  </a:lnTo>
                  <a:lnTo>
                    <a:pt x="1483" y="810"/>
                  </a:lnTo>
                  <a:lnTo>
                    <a:pt x="1487" y="810"/>
                  </a:lnTo>
                  <a:lnTo>
                    <a:pt x="1487" y="810"/>
                  </a:lnTo>
                  <a:lnTo>
                    <a:pt x="1493" y="807"/>
                  </a:lnTo>
                  <a:lnTo>
                    <a:pt x="1494" y="806"/>
                  </a:lnTo>
                  <a:lnTo>
                    <a:pt x="1496" y="803"/>
                  </a:lnTo>
                  <a:lnTo>
                    <a:pt x="1496" y="803"/>
                  </a:lnTo>
                  <a:lnTo>
                    <a:pt x="1497" y="797"/>
                  </a:lnTo>
                  <a:lnTo>
                    <a:pt x="1497" y="797"/>
                  </a:lnTo>
                  <a:lnTo>
                    <a:pt x="1499" y="795"/>
                  </a:lnTo>
                  <a:lnTo>
                    <a:pt x="1500" y="790"/>
                  </a:lnTo>
                  <a:lnTo>
                    <a:pt x="1500" y="790"/>
                  </a:lnTo>
                  <a:lnTo>
                    <a:pt x="1500" y="787"/>
                  </a:lnTo>
                  <a:lnTo>
                    <a:pt x="1500" y="787"/>
                  </a:lnTo>
                  <a:lnTo>
                    <a:pt x="1500" y="786"/>
                  </a:lnTo>
                  <a:lnTo>
                    <a:pt x="1499" y="782"/>
                  </a:lnTo>
                  <a:lnTo>
                    <a:pt x="1499" y="782"/>
                  </a:lnTo>
                  <a:lnTo>
                    <a:pt x="1496" y="777"/>
                  </a:lnTo>
                  <a:lnTo>
                    <a:pt x="1491" y="772"/>
                  </a:lnTo>
                  <a:lnTo>
                    <a:pt x="1486" y="769"/>
                  </a:lnTo>
                  <a:lnTo>
                    <a:pt x="1480" y="766"/>
                  </a:lnTo>
                  <a:lnTo>
                    <a:pt x="1480" y="766"/>
                  </a:lnTo>
                  <a:lnTo>
                    <a:pt x="1476" y="765"/>
                  </a:lnTo>
                  <a:lnTo>
                    <a:pt x="1476" y="765"/>
                  </a:lnTo>
                  <a:lnTo>
                    <a:pt x="1469" y="763"/>
                  </a:lnTo>
                  <a:lnTo>
                    <a:pt x="1469" y="763"/>
                  </a:lnTo>
                  <a:lnTo>
                    <a:pt x="1466" y="765"/>
                  </a:lnTo>
                  <a:lnTo>
                    <a:pt x="1463" y="767"/>
                  </a:lnTo>
                  <a:lnTo>
                    <a:pt x="1463" y="767"/>
                  </a:lnTo>
                  <a:lnTo>
                    <a:pt x="1461" y="773"/>
                  </a:lnTo>
                  <a:lnTo>
                    <a:pt x="1461" y="773"/>
                  </a:lnTo>
                  <a:lnTo>
                    <a:pt x="1461" y="777"/>
                  </a:lnTo>
                  <a:lnTo>
                    <a:pt x="1459" y="780"/>
                  </a:lnTo>
                  <a:lnTo>
                    <a:pt x="1459" y="780"/>
                  </a:lnTo>
                  <a:lnTo>
                    <a:pt x="1456" y="782"/>
                  </a:lnTo>
                  <a:lnTo>
                    <a:pt x="1453" y="783"/>
                  </a:lnTo>
                  <a:lnTo>
                    <a:pt x="1453" y="783"/>
                  </a:lnTo>
                  <a:lnTo>
                    <a:pt x="1450" y="785"/>
                  </a:lnTo>
                  <a:lnTo>
                    <a:pt x="1449" y="786"/>
                  </a:lnTo>
                  <a:lnTo>
                    <a:pt x="1446" y="789"/>
                  </a:lnTo>
                  <a:lnTo>
                    <a:pt x="1446" y="789"/>
                  </a:lnTo>
                  <a:lnTo>
                    <a:pt x="1444" y="792"/>
                  </a:lnTo>
                  <a:lnTo>
                    <a:pt x="1440" y="793"/>
                  </a:lnTo>
                  <a:lnTo>
                    <a:pt x="1436" y="795"/>
                  </a:lnTo>
                  <a:lnTo>
                    <a:pt x="1436" y="795"/>
                  </a:lnTo>
                  <a:lnTo>
                    <a:pt x="1431" y="793"/>
                  </a:lnTo>
                  <a:lnTo>
                    <a:pt x="1431" y="793"/>
                  </a:lnTo>
                  <a:lnTo>
                    <a:pt x="1427" y="795"/>
                  </a:lnTo>
                  <a:lnTo>
                    <a:pt x="1426" y="796"/>
                  </a:lnTo>
                  <a:lnTo>
                    <a:pt x="1423" y="799"/>
                  </a:lnTo>
                  <a:lnTo>
                    <a:pt x="1423" y="799"/>
                  </a:lnTo>
                  <a:close/>
                  <a:moveTo>
                    <a:pt x="2128" y="545"/>
                  </a:moveTo>
                  <a:lnTo>
                    <a:pt x="2128" y="545"/>
                  </a:lnTo>
                  <a:lnTo>
                    <a:pt x="2127" y="542"/>
                  </a:lnTo>
                  <a:lnTo>
                    <a:pt x="2127" y="542"/>
                  </a:lnTo>
                  <a:lnTo>
                    <a:pt x="2127" y="542"/>
                  </a:lnTo>
                  <a:lnTo>
                    <a:pt x="2127" y="542"/>
                  </a:lnTo>
                  <a:lnTo>
                    <a:pt x="2131" y="543"/>
                  </a:lnTo>
                  <a:lnTo>
                    <a:pt x="2134" y="542"/>
                  </a:lnTo>
                  <a:lnTo>
                    <a:pt x="2134" y="542"/>
                  </a:lnTo>
                  <a:lnTo>
                    <a:pt x="2137" y="542"/>
                  </a:lnTo>
                  <a:lnTo>
                    <a:pt x="2137" y="542"/>
                  </a:lnTo>
                  <a:lnTo>
                    <a:pt x="2140" y="542"/>
                  </a:lnTo>
                  <a:lnTo>
                    <a:pt x="2140" y="542"/>
                  </a:lnTo>
                  <a:lnTo>
                    <a:pt x="2136" y="543"/>
                  </a:lnTo>
                  <a:lnTo>
                    <a:pt x="2133" y="546"/>
                  </a:lnTo>
                  <a:lnTo>
                    <a:pt x="2133" y="546"/>
                  </a:lnTo>
                  <a:lnTo>
                    <a:pt x="2127" y="553"/>
                  </a:lnTo>
                  <a:lnTo>
                    <a:pt x="2124" y="556"/>
                  </a:lnTo>
                  <a:lnTo>
                    <a:pt x="2121" y="556"/>
                  </a:lnTo>
                  <a:lnTo>
                    <a:pt x="2121" y="556"/>
                  </a:lnTo>
                  <a:lnTo>
                    <a:pt x="2121" y="556"/>
                  </a:lnTo>
                  <a:lnTo>
                    <a:pt x="2121" y="556"/>
                  </a:lnTo>
                  <a:lnTo>
                    <a:pt x="2120" y="555"/>
                  </a:lnTo>
                  <a:lnTo>
                    <a:pt x="2120" y="555"/>
                  </a:lnTo>
                  <a:lnTo>
                    <a:pt x="2123" y="553"/>
                  </a:lnTo>
                  <a:lnTo>
                    <a:pt x="2123" y="553"/>
                  </a:lnTo>
                  <a:lnTo>
                    <a:pt x="2127" y="549"/>
                  </a:lnTo>
                  <a:lnTo>
                    <a:pt x="2128" y="547"/>
                  </a:lnTo>
                  <a:lnTo>
                    <a:pt x="2128" y="545"/>
                  </a:lnTo>
                  <a:lnTo>
                    <a:pt x="2128" y="545"/>
                  </a:lnTo>
                  <a:close/>
                  <a:moveTo>
                    <a:pt x="2156" y="539"/>
                  </a:moveTo>
                  <a:lnTo>
                    <a:pt x="2156" y="539"/>
                  </a:lnTo>
                  <a:lnTo>
                    <a:pt x="2150" y="540"/>
                  </a:lnTo>
                  <a:lnTo>
                    <a:pt x="2150" y="540"/>
                  </a:lnTo>
                  <a:lnTo>
                    <a:pt x="2143" y="542"/>
                  </a:lnTo>
                  <a:lnTo>
                    <a:pt x="2143" y="542"/>
                  </a:lnTo>
                  <a:lnTo>
                    <a:pt x="2144" y="540"/>
                  </a:lnTo>
                  <a:lnTo>
                    <a:pt x="2144" y="540"/>
                  </a:lnTo>
                  <a:lnTo>
                    <a:pt x="2150" y="537"/>
                  </a:lnTo>
                  <a:lnTo>
                    <a:pt x="2156" y="537"/>
                  </a:lnTo>
                  <a:lnTo>
                    <a:pt x="2156" y="537"/>
                  </a:lnTo>
                  <a:lnTo>
                    <a:pt x="2156" y="537"/>
                  </a:lnTo>
                  <a:lnTo>
                    <a:pt x="2156" y="537"/>
                  </a:lnTo>
                  <a:lnTo>
                    <a:pt x="2158" y="537"/>
                  </a:lnTo>
                  <a:lnTo>
                    <a:pt x="2158" y="537"/>
                  </a:lnTo>
                  <a:lnTo>
                    <a:pt x="2163" y="537"/>
                  </a:lnTo>
                  <a:lnTo>
                    <a:pt x="2163" y="537"/>
                  </a:lnTo>
                  <a:lnTo>
                    <a:pt x="2156" y="539"/>
                  </a:lnTo>
                  <a:lnTo>
                    <a:pt x="2156" y="539"/>
                  </a:lnTo>
                  <a:close/>
                  <a:moveTo>
                    <a:pt x="1897" y="116"/>
                  </a:moveTo>
                  <a:lnTo>
                    <a:pt x="1897" y="116"/>
                  </a:lnTo>
                  <a:lnTo>
                    <a:pt x="1897" y="116"/>
                  </a:lnTo>
                  <a:lnTo>
                    <a:pt x="1897" y="116"/>
                  </a:lnTo>
                  <a:lnTo>
                    <a:pt x="1897" y="116"/>
                  </a:lnTo>
                  <a:lnTo>
                    <a:pt x="1897" y="116"/>
                  </a:lnTo>
                  <a:lnTo>
                    <a:pt x="1897" y="116"/>
                  </a:lnTo>
                  <a:lnTo>
                    <a:pt x="1897" y="116"/>
                  </a:lnTo>
                  <a:close/>
                  <a:moveTo>
                    <a:pt x="1726" y="3432"/>
                  </a:moveTo>
                  <a:lnTo>
                    <a:pt x="1726" y="3432"/>
                  </a:lnTo>
                  <a:lnTo>
                    <a:pt x="1727" y="3435"/>
                  </a:lnTo>
                  <a:lnTo>
                    <a:pt x="1727" y="3437"/>
                  </a:lnTo>
                  <a:lnTo>
                    <a:pt x="1727" y="3437"/>
                  </a:lnTo>
                  <a:lnTo>
                    <a:pt x="1727" y="3437"/>
                  </a:lnTo>
                  <a:lnTo>
                    <a:pt x="1727" y="3437"/>
                  </a:lnTo>
                  <a:lnTo>
                    <a:pt x="1727" y="3437"/>
                  </a:lnTo>
                  <a:lnTo>
                    <a:pt x="1726" y="3435"/>
                  </a:lnTo>
                  <a:lnTo>
                    <a:pt x="1724" y="3432"/>
                  </a:lnTo>
                  <a:lnTo>
                    <a:pt x="1724" y="3432"/>
                  </a:lnTo>
                  <a:lnTo>
                    <a:pt x="1723" y="3429"/>
                  </a:lnTo>
                  <a:lnTo>
                    <a:pt x="1723" y="3429"/>
                  </a:lnTo>
                  <a:lnTo>
                    <a:pt x="1726" y="3432"/>
                  </a:lnTo>
                  <a:lnTo>
                    <a:pt x="1726" y="3432"/>
                  </a:lnTo>
                  <a:close/>
                  <a:moveTo>
                    <a:pt x="1756" y="3569"/>
                  </a:moveTo>
                  <a:lnTo>
                    <a:pt x="1756" y="3569"/>
                  </a:lnTo>
                  <a:lnTo>
                    <a:pt x="1751" y="3569"/>
                  </a:lnTo>
                  <a:lnTo>
                    <a:pt x="1750" y="3569"/>
                  </a:lnTo>
                  <a:lnTo>
                    <a:pt x="1750" y="3569"/>
                  </a:lnTo>
                  <a:lnTo>
                    <a:pt x="1756" y="3569"/>
                  </a:lnTo>
                  <a:lnTo>
                    <a:pt x="1756" y="3569"/>
                  </a:lnTo>
                  <a:close/>
                  <a:moveTo>
                    <a:pt x="1761" y="3581"/>
                  </a:moveTo>
                  <a:lnTo>
                    <a:pt x="1761" y="3581"/>
                  </a:lnTo>
                  <a:lnTo>
                    <a:pt x="1763" y="3579"/>
                  </a:lnTo>
                  <a:lnTo>
                    <a:pt x="1763" y="3579"/>
                  </a:lnTo>
                  <a:lnTo>
                    <a:pt x="1763" y="3579"/>
                  </a:lnTo>
                  <a:lnTo>
                    <a:pt x="1763" y="3579"/>
                  </a:lnTo>
                  <a:lnTo>
                    <a:pt x="1764" y="3582"/>
                  </a:lnTo>
                  <a:lnTo>
                    <a:pt x="1764" y="3588"/>
                  </a:lnTo>
                  <a:lnTo>
                    <a:pt x="1764" y="3588"/>
                  </a:lnTo>
                  <a:lnTo>
                    <a:pt x="1764" y="3588"/>
                  </a:lnTo>
                  <a:lnTo>
                    <a:pt x="1764" y="3588"/>
                  </a:lnTo>
                  <a:lnTo>
                    <a:pt x="1761" y="3588"/>
                  </a:lnTo>
                  <a:lnTo>
                    <a:pt x="1761" y="3588"/>
                  </a:lnTo>
                  <a:lnTo>
                    <a:pt x="1761" y="3582"/>
                  </a:lnTo>
                  <a:lnTo>
                    <a:pt x="1761" y="3581"/>
                  </a:lnTo>
                  <a:lnTo>
                    <a:pt x="1761" y="3581"/>
                  </a:lnTo>
                  <a:close/>
                  <a:moveTo>
                    <a:pt x="1778" y="3616"/>
                  </a:moveTo>
                  <a:lnTo>
                    <a:pt x="1778" y="3616"/>
                  </a:lnTo>
                  <a:lnTo>
                    <a:pt x="1778" y="3615"/>
                  </a:lnTo>
                  <a:lnTo>
                    <a:pt x="1778" y="3615"/>
                  </a:lnTo>
                  <a:lnTo>
                    <a:pt x="1780" y="3614"/>
                  </a:lnTo>
                  <a:lnTo>
                    <a:pt x="1780" y="3614"/>
                  </a:lnTo>
                  <a:lnTo>
                    <a:pt x="1781" y="3614"/>
                  </a:lnTo>
                  <a:lnTo>
                    <a:pt x="1781" y="3614"/>
                  </a:lnTo>
                  <a:lnTo>
                    <a:pt x="1784" y="3614"/>
                  </a:lnTo>
                  <a:lnTo>
                    <a:pt x="1784" y="3614"/>
                  </a:lnTo>
                  <a:lnTo>
                    <a:pt x="1787" y="3612"/>
                  </a:lnTo>
                  <a:lnTo>
                    <a:pt x="1787" y="3612"/>
                  </a:lnTo>
                  <a:lnTo>
                    <a:pt x="1788" y="3611"/>
                  </a:lnTo>
                  <a:lnTo>
                    <a:pt x="1788" y="3611"/>
                  </a:lnTo>
                  <a:lnTo>
                    <a:pt x="1788" y="3611"/>
                  </a:lnTo>
                  <a:lnTo>
                    <a:pt x="1791" y="3614"/>
                  </a:lnTo>
                  <a:lnTo>
                    <a:pt x="1793" y="3616"/>
                  </a:lnTo>
                  <a:lnTo>
                    <a:pt x="1793" y="3616"/>
                  </a:lnTo>
                  <a:lnTo>
                    <a:pt x="1793" y="3618"/>
                  </a:lnTo>
                  <a:lnTo>
                    <a:pt x="1793" y="3618"/>
                  </a:lnTo>
                  <a:lnTo>
                    <a:pt x="1790" y="3618"/>
                  </a:lnTo>
                  <a:lnTo>
                    <a:pt x="1790" y="3618"/>
                  </a:lnTo>
                  <a:lnTo>
                    <a:pt x="1787" y="3618"/>
                  </a:lnTo>
                  <a:lnTo>
                    <a:pt x="1786" y="3618"/>
                  </a:lnTo>
                  <a:lnTo>
                    <a:pt x="1786" y="3618"/>
                  </a:lnTo>
                  <a:lnTo>
                    <a:pt x="1784" y="3618"/>
                  </a:lnTo>
                  <a:lnTo>
                    <a:pt x="1784" y="3618"/>
                  </a:lnTo>
                  <a:lnTo>
                    <a:pt x="1780" y="3616"/>
                  </a:lnTo>
                  <a:lnTo>
                    <a:pt x="1780" y="3616"/>
                  </a:lnTo>
                  <a:lnTo>
                    <a:pt x="1777" y="3618"/>
                  </a:lnTo>
                  <a:lnTo>
                    <a:pt x="1777" y="3618"/>
                  </a:lnTo>
                  <a:lnTo>
                    <a:pt x="1778" y="3616"/>
                  </a:lnTo>
                  <a:lnTo>
                    <a:pt x="1778" y="3616"/>
                  </a:lnTo>
                  <a:close/>
                  <a:moveTo>
                    <a:pt x="1913" y="3361"/>
                  </a:moveTo>
                  <a:lnTo>
                    <a:pt x="1913" y="3361"/>
                  </a:lnTo>
                  <a:lnTo>
                    <a:pt x="1914" y="3362"/>
                  </a:lnTo>
                  <a:lnTo>
                    <a:pt x="1914" y="3362"/>
                  </a:lnTo>
                  <a:lnTo>
                    <a:pt x="1916" y="3364"/>
                  </a:lnTo>
                  <a:lnTo>
                    <a:pt x="1916" y="3364"/>
                  </a:lnTo>
                  <a:lnTo>
                    <a:pt x="1916" y="3365"/>
                  </a:lnTo>
                  <a:lnTo>
                    <a:pt x="1916" y="3365"/>
                  </a:lnTo>
                  <a:lnTo>
                    <a:pt x="1916" y="3365"/>
                  </a:lnTo>
                  <a:lnTo>
                    <a:pt x="1916" y="3365"/>
                  </a:lnTo>
                  <a:lnTo>
                    <a:pt x="1914" y="3365"/>
                  </a:lnTo>
                  <a:lnTo>
                    <a:pt x="1913" y="3365"/>
                  </a:lnTo>
                  <a:lnTo>
                    <a:pt x="1913" y="3365"/>
                  </a:lnTo>
                  <a:lnTo>
                    <a:pt x="1908" y="3364"/>
                  </a:lnTo>
                  <a:lnTo>
                    <a:pt x="1906" y="3364"/>
                  </a:lnTo>
                  <a:lnTo>
                    <a:pt x="1906" y="3364"/>
                  </a:lnTo>
                  <a:lnTo>
                    <a:pt x="1906" y="3364"/>
                  </a:lnTo>
                  <a:lnTo>
                    <a:pt x="1906" y="3364"/>
                  </a:lnTo>
                  <a:lnTo>
                    <a:pt x="1906" y="3364"/>
                  </a:lnTo>
                  <a:lnTo>
                    <a:pt x="1906" y="3364"/>
                  </a:lnTo>
                  <a:lnTo>
                    <a:pt x="1906" y="3362"/>
                  </a:lnTo>
                  <a:lnTo>
                    <a:pt x="1906" y="3362"/>
                  </a:lnTo>
                  <a:lnTo>
                    <a:pt x="1908" y="3359"/>
                  </a:lnTo>
                  <a:lnTo>
                    <a:pt x="1908" y="3359"/>
                  </a:lnTo>
                  <a:lnTo>
                    <a:pt x="1913" y="3361"/>
                  </a:lnTo>
                  <a:lnTo>
                    <a:pt x="1913" y="3361"/>
                  </a:lnTo>
                  <a:close/>
                  <a:moveTo>
                    <a:pt x="1944" y="712"/>
                  </a:moveTo>
                  <a:lnTo>
                    <a:pt x="1944" y="712"/>
                  </a:lnTo>
                  <a:lnTo>
                    <a:pt x="1944" y="712"/>
                  </a:lnTo>
                  <a:lnTo>
                    <a:pt x="1944" y="712"/>
                  </a:lnTo>
                  <a:lnTo>
                    <a:pt x="1943" y="712"/>
                  </a:lnTo>
                  <a:lnTo>
                    <a:pt x="1943" y="712"/>
                  </a:lnTo>
                  <a:lnTo>
                    <a:pt x="1940" y="707"/>
                  </a:lnTo>
                  <a:lnTo>
                    <a:pt x="1940" y="707"/>
                  </a:lnTo>
                  <a:lnTo>
                    <a:pt x="1934" y="703"/>
                  </a:lnTo>
                  <a:lnTo>
                    <a:pt x="1934" y="703"/>
                  </a:lnTo>
                  <a:lnTo>
                    <a:pt x="1933" y="703"/>
                  </a:lnTo>
                  <a:lnTo>
                    <a:pt x="1933" y="703"/>
                  </a:lnTo>
                  <a:lnTo>
                    <a:pt x="1934" y="703"/>
                  </a:lnTo>
                  <a:lnTo>
                    <a:pt x="1934" y="703"/>
                  </a:lnTo>
                  <a:lnTo>
                    <a:pt x="1940" y="705"/>
                  </a:lnTo>
                  <a:lnTo>
                    <a:pt x="1943" y="705"/>
                  </a:lnTo>
                  <a:lnTo>
                    <a:pt x="1943" y="705"/>
                  </a:lnTo>
                  <a:lnTo>
                    <a:pt x="1947" y="706"/>
                  </a:lnTo>
                  <a:lnTo>
                    <a:pt x="1947" y="706"/>
                  </a:lnTo>
                  <a:lnTo>
                    <a:pt x="1951" y="707"/>
                  </a:lnTo>
                  <a:lnTo>
                    <a:pt x="1951" y="707"/>
                  </a:lnTo>
                  <a:lnTo>
                    <a:pt x="1950" y="707"/>
                  </a:lnTo>
                  <a:lnTo>
                    <a:pt x="1950" y="707"/>
                  </a:lnTo>
                  <a:lnTo>
                    <a:pt x="1947" y="709"/>
                  </a:lnTo>
                  <a:lnTo>
                    <a:pt x="1944" y="712"/>
                  </a:lnTo>
                  <a:lnTo>
                    <a:pt x="1944" y="712"/>
                  </a:lnTo>
                  <a:close/>
                  <a:moveTo>
                    <a:pt x="1724" y="228"/>
                  </a:moveTo>
                  <a:lnTo>
                    <a:pt x="1724" y="228"/>
                  </a:lnTo>
                  <a:lnTo>
                    <a:pt x="1723" y="223"/>
                  </a:lnTo>
                  <a:lnTo>
                    <a:pt x="1721" y="219"/>
                  </a:lnTo>
                  <a:lnTo>
                    <a:pt x="1721" y="219"/>
                  </a:lnTo>
                  <a:lnTo>
                    <a:pt x="1730" y="225"/>
                  </a:lnTo>
                  <a:lnTo>
                    <a:pt x="1730" y="225"/>
                  </a:lnTo>
                  <a:lnTo>
                    <a:pt x="1738" y="229"/>
                  </a:lnTo>
                  <a:lnTo>
                    <a:pt x="1738" y="229"/>
                  </a:lnTo>
                  <a:lnTo>
                    <a:pt x="1724" y="228"/>
                  </a:lnTo>
                  <a:lnTo>
                    <a:pt x="1724" y="228"/>
                  </a:lnTo>
                  <a:close/>
                  <a:moveTo>
                    <a:pt x="2118" y="202"/>
                  </a:moveTo>
                  <a:lnTo>
                    <a:pt x="2118" y="202"/>
                  </a:lnTo>
                  <a:lnTo>
                    <a:pt x="2118" y="202"/>
                  </a:lnTo>
                  <a:lnTo>
                    <a:pt x="2118" y="202"/>
                  </a:lnTo>
                  <a:lnTo>
                    <a:pt x="2116" y="203"/>
                  </a:lnTo>
                  <a:lnTo>
                    <a:pt x="2116" y="203"/>
                  </a:lnTo>
                  <a:lnTo>
                    <a:pt x="2108" y="203"/>
                  </a:lnTo>
                  <a:lnTo>
                    <a:pt x="2108" y="203"/>
                  </a:lnTo>
                  <a:lnTo>
                    <a:pt x="2104" y="203"/>
                  </a:lnTo>
                  <a:lnTo>
                    <a:pt x="2104" y="203"/>
                  </a:lnTo>
                  <a:lnTo>
                    <a:pt x="2101" y="203"/>
                  </a:lnTo>
                  <a:lnTo>
                    <a:pt x="2101" y="203"/>
                  </a:lnTo>
                  <a:lnTo>
                    <a:pt x="2096" y="203"/>
                  </a:lnTo>
                  <a:lnTo>
                    <a:pt x="2096" y="203"/>
                  </a:lnTo>
                  <a:lnTo>
                    <a:pt x="2094" y="203"/>
                  </a:lnTo>
                  <a:lnTo>
                    <a:pt x="2094" y="203"/>
                  </a:lnTo>
                  <a:lnTo>
                    <a:pt x="2094" y="203"/>
                  </a:lnTo>
                  <a:lnTo>
                    <a:pt x="2094" y="203"/>
                  </a:lnTo>
                  <a:lnTo>
                    <a:pt x="2094" y="203"/>
                  </a:lnTo>
                  <a:lnTo>
                    <a:pt x="2094" y="203"/>
                  </a:lnTo>
                  <a:lnTo>
                    <a:pt x="2096" y="199"/>
                  </a:lnTo>
                  <a:lnTo>
                    <a:pt x="2098" y="196"/>
                  </a:lnTo>
                  <a:lnTo>
                    <a:pt x="2098" y="196"/>
                  </a:lnTo>
                  <a:lnTo>
                    <a:pt x="2100" y="193"/>
                  </a:lnTo>
                  <a:lnTo>
                    <a:pt x="2100" y="193"/>
                  </a:lnTo>
                  <a:lnTo>
                    <a:pt x="2101" y="193"/>
                  </a:lnTo>
                  <a:lnTo>
                    <a:pt x="2101" y="193"/>
                  </a:lnTo>
                  <a:lnTo>
                    <a:pt x="2104" y="192"/>
                  </a:lnTo>
                  <a:lnTo>
                    <a:pt x="2107" y="192"/>
                  </a:lnTo>
                  <a:lnTo>
                    <a:pt x="2107" y="192"/>
                  </a:lnTo>
                  <a:lnTo>
                    <a:pt x="2107" y="192"/>
                  </a:lnTo>
                  <a:lnTo>
                    <a:pt x="2108" y="193"/>
                  </a:lnTo>
                  <a:lnTo>
                    <a:pt x="2108" y="193"/>
                  </a:lnTo>
                  <a:lnTo>
                    <a:pt x="2110" y="196"/>
                  </a:lnTo>
                  <a:lnTo>
                    <a:pt x="2110" y="196"/>
                  </a:lnTo>
                  <a:lnTo>
                    <a:pt x="2114" y="199"/>
                  </a:lnTo>
                  <a:lnTo>
                    <a:pt x="2114" y="199"/>
                  </a:lnTo>
                  <a:lnTo>
                    <a:pt x="2117" y="200"/>
                  </a:lnTo>
                  <a:lnTo>
                    <a:pt x="2118" y="202"/>
                  </a:lnTo>
                  <a:lnTo>
                    <a:pt x="2118" y="202"/>
                  </a:lnTo>
                  <a:close/>
                  <a:moveTo>
                    <a:pt x="383" y="338"/>
                  </a:moveTo>
                  <a:lnTo>
                    <a:pt x="383" y="338"/>
                  </a:lnTo>
                  <a:lnTo>
                    <a:pt x="389" y="342"/>
                  </a:lnTo>
                  <a:lnTo>
                    <a:pt x="392" y="343"/>
                  </a:lnTo>
                  <a:lnTo>
                    <a:pt x="392" y="343"/>
                  </a:lnTo>
                  <a:lnTo>
                    <a:pt x="390" y="345"/>
                  </a:lnTo>
                  <a:lnTo>
                    <a:pt x="390" y="345"/>
                  </a:lnTo>
                  <a:lnTo>
                    <a:pt x="380" y="342"/>
                  </a:lnTo>
                  <a:lnTo>
                    <a:pt x="380" y="342"/>
                  </a:lnTo>
                  <a:lnTo>
                    <a:pt x="372" y="342"/>
                  </a:lnTo>
                  <a:lnTo>
                    <a:pt x="372" y="342"/>
                  </a:lnTo>
                  <a:lnTo>
                    <a:pt x="372" y="342"/>
                  </a:lnTo>
                  <a:lnTo>
                    <a:pt x="372" y="342"/>
                  </a:lnTo>
                  <a:lnTo>
                    <a:pt x="370" y="342"/>
                  </a:lnTo>
                  <a:lnTo>
                    <a:pt x="370" y="342"/>
                  </a:lnTo>
                  <a:lnTo>
                    <a:pt x="383" y="338"/>
                  </a:lnTo>
                  <a:lnTo>
                    <a:pt x="383" y="338"/>
                  </a:lnTo>
                  <a:close/>
                  <a:moveTo>
                    <a:pt x="1851" y="705"/>
                  </a:moveTo>
                  <a:lnTo>
                    <a:pt x="1851" y="705"/>
                  </a:lnTo>
                  <a:lnTo>
                    <a:pt x="1850" y="706"/>
                  </a:lnTo>
                  <a:lnTo>
                    <a:pt x="1850" y="706"/>
                  </a:lnTo>
                  <a:lnTo>
                    <a:pt x="1843" y="712"/>
                  </a:lnTo>
                  <a:lnTo>
                    <a:pt x="1843" y="712"/>
                  </a:lnTo>
                  <a:lnTo>
                    <a:pt x="1843" y="712"/>
                  </a:lnTo>
                  <a:lnTo>
                    <a:pt x="1843" y="710"/>
                  </a:lnTo>
                  <a:lnTo>
                    <a:pt x="1843" y="710"/>
                  </a:lnTo>
                  <a:lnTo>
                    <a:pt x="1846" y="705"/>
                  </a:lnTo>
                  <a:lnTo>
                    <a:pt x="1844" y="702"/>
                  </a:lnTo>
                  <a:lnTo>
                    <a:pt x="1844" y="702"/>
                  </a:lnTo>
                  <a:lnTo>
                    <a:pt x="1850" y="702"/>
                  </a:lnTo>
                  <a:lnTo>
                    <a:pt x="1854" y="702"/>
                  </a:lnTo>
                  <a:lnTo>
                    <a:pt x="1854" y="702"/>
                  </a:lnTo>
                  <a:lnTo>
                    <a:pt x="1851" y="705"/>
                  </a:lnTo>
                  <a:lnTo>
                    <a:pt x="1851" y="705"/>
                  </a:lnTo>
                  <a:close/>
                  <a:moveTo>
                    <a:pt x="559" y="373"/>
                  </a:moveTo>
                  <a:lnTo>
                    <a:pt x="559" y="373"/>
                  </a:lnTo>
                  <a:lnTo>
                    <a:pt x="561" y="373"/>
                  </a:lnTo>
                  <a:lnTo>
                    <a:pt x="561" y="373"/>
                  </a:lnTo>
                  <a:lnTo>
                    <a:pt x="570" y="373"/>
                  </a:lnTo>
                  <a:lnTo>
                    <a:pt x="570" y="373"/>
                  </a:lnTo>
                  <a:lnTo>
                    <a:pt x="569" y="375"/>
                  </a:lnTo>
                  <a:lnTo>
                    <a:pt x="569" y="375"/>
                  </a:lnTo>
                  <a:lnTo>
                    <a:pt x="561" y="376"/>
                  </a:lnTo>
                  <a:lnTo>
                    <a:pt x="561" y="376"/>
                  </a:lnTo>
                  <a:lnTo>
                    <a:pt x="559" y="378"/>
                  </a:lnTo>
                  <a:lnTo>
                    <a:pt x="559" y="378"/>
                  </a:lnTo>
                  <a:lnTo>
                    <a:pt x="559" y="375"/>
                  </a:lnTo>
                  <a:lnTo>
                    <a:pt x="559" y="375"/>
                  </a:lnTo>
                  <a:lnTo>
                    <a:pt x="559" y="373"/>
                  </a:lnTo>
                  <a:lnTo>
                    <a:pt x="559" y="373"/>
                  </a:lnTo>
                  <a:close/>
                  <a:moveTo>
                    <a:pt x="1564" y="1811"/>
                  </a:moveTo>
                  <a:lnTo>
                    <a:pt x="1566" y="1813"/>
                  </a:lnTo>
                  <a:lnTo>
                    <a:pt x="1566" y="1813"/>
                  </a:lnTo>
                  <a:lnTo>
                    <a:pt x="1570" y="1816"/>
                  </a:lnTo>
                  <a:lnTo>
                    <a:pt x="1571" y="1818"/>
                  </a:lnTo>
                  <a:lnTo>
                    <a:pt x="1573" y="1823"/>
                  </a:lnTo>
                  <a:lnTo>
                    <a:pt x="1571" y="1827"/>
                  </a:lnTo>
                  <a:lnTo>
                    <a:pt x="1571" y="1827"/>
                  </a:lnTo>
                  <a:lnTo>
                    <a:pt x="1569" y="1834"/>
                  </a:lnTo>
                  <a:lnTo>
                    <a:pt x="1566" y="1838"/>
                  </a:lnTo>
                  <a:lnTo>
                    <a:pt x="1563" y="1840"/>
                  </a:lnTo>
                  <a:lnTo>
                    <a:pt x="1560" y="1840"/>
                  </a:lnTo>
                  <a:lnTo>
                    <a:pt x="1560" y="1840"/>
                  </a:lnTo>
                  <a:lnTo>
                    <a:pt x="1560" y="1840"/>
                  </a:lnTo>
                  <a:lnTo>
                    <a:pt x="1560" y="1840"/>
                  </a:lnTo>
                  <a:lnTo>
                    <a:pt x="1560" y="1840"/>
                  </a:lnTo>
                  <a:lnTo>
                    <a:pt x="1560" y="1840"/>
                  </a:lnTo>
                  <a:lnTo>
                    <a:pt x="1559" y="1837"/>
                  </a:lnTo>
                  <a:lnTo>
                    <a:pt x="1556" y="1830"/>
                  </a:lnTo>
                  <a:lnTo>
                    <a:pt x="1556" y="1830"/>
                  </a:lnTo>
                  <a:lnTo>
                    <a:pt x="1551" y="1827"/>
                  </a:lnTo>
                  <a:lnTo>
                    <a:pt x="1551" y="1827"/>
                  </a:lnTo>
                  <a:lnTo>
                    <a:pt x="1549" y="1823"/>
                  </a:lnTo>
                  <a:lnTo>
                    <a:pt x="1550" y="1820"/>
                  </a:lnTo>
                  <a:lnTo>
                    <a:pt x="1550" y="1820"/>
                  </a:lnTo>
                  <a:lnTo>
                    <a:pt x="1554" y="1814"/>
                  </a:lnTo>
                  <a:lnTo>
                    <a:pt x="1554" y="1814"/>
                  </a:lnTo>
                  <a:lnTo>
                    <a:pt x="1559" y="1810"/>
                  </a:lnTo>
                  <a:lnTo>
                    <a:pt x="1560" y="1807"/>
                  </a:lnTo>
                  <a:lnTo>
                    <a:pt x="1561" y="1803"/>
                  </a:lnTo>
                  <a:lnTo>
                    <a:pt x="1561" y="1803"/>
                  </a:lnTo>
                  <a:lnTo>
                    <a:pt x="1563" y="1807"/>
                  </a:lnTo>
                  <a:lnTo>
                    <a:pt x="1564" y="1811"/>
                  </a:lnTo>
                  <a:lnTo>
                    <a:pt x="1564" y="1811"/>
                  </a:lnTo>
                  <a:close/>
                  <a:moveTo>
                    <a:pt x="1634" y="149"/>
                  </a:moveTo>
                  <a:lnTo>
                    <a:pt x="1634" y="149"/>
                  </a:lnTo>
                  <a:lnTo>
                    <a:pt x="1640" y="150"/>
                  </a:lnTo>
                  <a:lnTo>
                    <a:pt x="1646" y="152"/>
                  </a:lnTo>
                  <a:lnTo>
                    <a:pt x="1646" y="152"/>
                  </a:lnTo>
                  <a:lnTo>
                    <a:pt x="1640" y="153"/>
                  </a:lnTo>
                  <a:lnTo>
                    <a:pt x="1640" y="153"/>
                  </a:lnTo>
                  <a:lnTo>
                    <a:pt x="1634" y="155"/>
                  </a:lnTo>
                  <a:lnTo>
                    <a:pt x="1634" y="155"/>
                  </a:lnTo>
                  <a:lnTo>
                    <a:pt x="1634" y="153"/>
                  </a:lnTo>
                  <a:lnTo>
                    <a:pt x="1634" y="153"/>
                  </a:lnTo>
                  <a:lnTo>
                    <a:pt x="1634" y="152"/>
                  </a:lnTo>
                  <a:lnTo>
                    <a:pt x="1634" y="149"/>
                  </a:lnTo>
                  <a:lnTo>
                    <a:pt x="1634" y="149"/>
                  </a:lnTo>
                  <a:lnTo>
                    <a:pt x="1634" y="149"/>
                  </a:lnTo>
                  <a:lnTo>
                    <a:pt x="1634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31" name="Freeform 84"/>
            <p:cNvSpPr>
              <a:spLocks/>
            </p:cNvSpPr>
            <p:nvPr/>
          </p:nvSpPr>
          <p:spPr bwMode="auto">
            <a:xfrm>
              <a:off x="2339975" y="2981325"/>
              <a:ext cx="38100" cy="20638"/>
            </a:xfrm>
            <a:custGeom>
              <a:avLst/>
              <a:gdLst>
                <a:gd name="T0" fmla="*/ 45 w 47"/>
                <a:gd name="T1" fmla="*/ 10 h 26"/>
                <a:gd name="T2" fmla="*/ 45 w 47"/>
                <a:gd name="T3" fmla="*/ 10 h 26"/>
                <a:gd name="T4" fmla="*/ 37 w 47"/>
                <a:gd name="T5" fmla="*/ 7 h 26"/>
                <a:gd name="T6" fmla="*/ 37 w 47"/>
                <a:gd name="T7" fmla="*/ 7 h 26"/>
                <a:gd name="T8" fmla="*/ 32 w 47"/>
                <a:gd name="T9" fmla="*/ 4 h 26"/>
                <a:gd name="T10" fmla="*/ 32 w 47"/>
                <a:gd name="T11" fmla="*/ 4 h 26"/>
                <a:gd name="T12" fmla="*/ 25 w 47"/>
                <a:gd name="T13" fmla="*/ 3 h 26"/>
                <a:gd name="T14" fmla="*/ 25 w 47"/>
                <a:gd name="T15" fmla="*/ 3 h 26"/>
                <a:gd name="T16" fmla="*/ 16 w 47"/>
                <a:gd name="T17" fmla="*/ 0 h 26"/>
                <a:gd name="T18" fmla="*/ 16 w 47"/>
                <a:gd name="T19" fmla="*/ 0 h 26"/>
                <a:gd name="T20" fmla="*/ 7 w 47"/>
                <a:gd name="T21" fmla="*/ 0 h 26"/>
                <a:gd name="T22" fmla="*/ 5 w 47"/>
                <a:gd name="T23" fmla="*/ 1 h 26"/>
                <a:gd name="T24" fmla="*/ 3 w 47"/>
                <a:gd name="T25" fmla="*/ 3 h 26"/>
                <a:gd name="T26" fmla="*/ 3 w 47"/>
                <a:gd name="T27" fmla="*/ 3 h 26"/>
                <a:gd name="T28" fmla="*/ 2 w 47"/>
                <a:gd name="T29" fmla="*/ 6 h 26"/>
                <a:gd name="T30" fmla="*/ 0 w 47"/>
                <a:gd name="T31" fmla="*/ 8 h 26"/>
                <a:gd name="T32" fmla="*/ 2 w 47"/>
                <a:gd name="T33" fmla="*/ 17 h 26"/>
                <a:gd name="T34" fmla="*/ 2 w 47"/>
                <a:gd name="T35" fmla="*/ 17 h 26"/>
                <a:gd name="T36" fmla="*/ 5 w 47"/>
                <a:gd name="T37" fmla="*/ 20 h 26"/>
                <a:gd name="T38" fmla="*/ 9 w 47"/>
                <a:gd name="T39" fmla="*/ 23 h 26"/>
                <a:gd name="T40" fmla="*/ 16 w 47"/>
                <a:gd name="T41" fmla="*/ 24 h 26"/>
                <a:gd name="T42" fmla="*/ 23 w 47"/>
                <a:gd name="T43" fmla="*/ 26 h 26"/>
                <a:gd name="T44" fmla="*/ 23 w 47"/>
                <a:gd name="T45" fmla="*/ 26 h 26"/>
                <a:gd name="T46" fmla="*/ 29 w 47"/>
                <a:gd name="T47" fmla="*/ 24 h 26"/>
                <a:gd name="T48" fmla="*/ 35 w 47"/>
                <a:gd name="T49" fmla="*/ 24 h 26"/>
                <a:gd name="T50" fmla="*/ 40 w 47"/>
                <a:gd name="T51" fmla="*/ 21 h 26"/>
                <a:gd name="T52" fmla="*/ 45 w 47"/>
                <a:gd name="T53" fmla="*/ 18 h 26"/>
                <a:gd name="T54" fmla="*/ 45 w 47"/>
                <a:gd name="T55" fmla="*/ 18 h 26"/>
                <a:gd name="T56" fmla="*/ 47 w 47"/>
                <a:gd name="T57" fmla="*/ 16 h 26"/>
                <a:gd name="T58" fmla="*/ 47 w 47"/>
                <a:gd name="T59" fmla="*/ 11 h 26"/>
                <a:gd name="T60" fmla="*/ 47 w 47"/>
                <a:gd name="T61" fmla="*/ 10 h 26"/>
                <a:gd name="T62" fmla="*/ 45 w 47"/>
                <a:gd name="T63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" h="26">
                  <a:moveTo>
                    <a:pt x="45" y="10"/>
                  </a:moveTo>
                  <a:lnTo>
                    <a:pt x="45" y="10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7" y="0"/>
                  </a:lnTo>
                  <a:lnTo>
                    <a:pt x="5" y="1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6"/>
                  </a:lnTo>
                  <a:lnTo>
                    <a:pt x="0" y="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5" y="20"/>
                  </a:lnTo>
                  <a:lnTo>
                    <a:pt x="9" y="23"/>
                  </a:lnTo>
                  <a:lnTo>
                    <a:pt x="16" y="24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9" y="24"/>
                  </a:lnTo>
                  <a:lnTo>
                    <a:pt x="35" y="24"/>
                  </a:lnTo>
                  <a:lnTo>
                    <a:pt x="40" y="21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7" y="16"/>
                  </a:lnTo>
                  <a:lnTo>
                    <a:pt x="47" y="11"/>
                  </a:lnTo>
                  <a:lnTo>
                    <a:pt x="47" y="10"/>
                  </a:lnTo>
                  <a:lnTo>
                    <a:pt x="4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32" name="Freeform 85"/>
            <p:cNvSpPr>
              <a:spLocks/>
            </p:cNvSpPr>
            <p:nvPr/>
          </p:nvSpPr>
          <p:spPr bwMode="auto">
            <a:xfrm>
              <a:off x="2192338" y="2946400"/>
              <a:ext cx="130175" cy="60325"/>
            </a:xfrm>
            <a:custGeom>
              <a:avLst/>
              <a:gdLst>
                <a:gd name="T0" fmla="*/ 17 w 162"/>
                <a:gd name="T1" fmla="*/ 67 h 77"/>
                <a:gd name="T2" fmla="*/ 23 w 162"/>
                <a:gd name="T3" fmla="*/ 64 h 77"/>
                <a:gd name="T4" fmla="*/ 25 w 162"/>
                <a:gd name="T5" fmla="*/ 62 h 77"/>
                <a:gd name="T6" fmla="*/ 31 w 162"/>
                <a:gd name="T7" fmla="*/ 60 h 77"/>
                <a:gd name="T8" fmla="*/ 45 w 162"/>
                <a:gd name="T9" fmla="*/ 62 h 77"/>
                <a:gd name="T10" fmla="*/ 57 w 162"/>
                <a:gd name="T11" fmla="*/ 68 h 77"/>
                <a:gd name="T12" fmla="*/ 58 w 162"/>
                <a:gd name="T13" fmla="*/ 68 h 77"/>
                <a:gd name="T14" fmla="*/ 67 w 162"/>
                <a:gd name="T15" fmla="*/ 65 h 77"/>
                <a:gd name="T16" fmla="*/ 71 w 162"/>
                <a:gd name="T17" fmla="*/ 75 h 77"/>
                <a:gd name="T18" fmla="*/ 78 w 162"/>
                <a:gd name="T19" fmla="*/ 77 h 77"/>
                <a:gd name="T20" fmla="*/ 84 w 162"/>
                <a:gd name="T21" fmla="*/ 71 h 77"/>
                <a:gd name="T22" fmla="*/ 88 w 162"/>
                <a:gd name="T23" fmla="*/ 61 h 77"/>
                <a:gd name="T24" fmla="*/ 95 w 162"/>
                <a:gd name="T25" fmla="*/ 55 h 77"/>
                <a:gd name="T26" fmla="*/ 97 w 162"/>
                <a:gd name="T27" fmla="*/ 55 h 77"/>
                <a:gd name="T28" fmla="*/ 107 w 162"/>
                <a:gd name="T29" fmla="*/ 57 h 77"/>
                <a:gd name="T30" fmla="*/ 115 w 162"/>
                <a:gd name="T31" fmla="*/ 55 h 77"/>
                <a:gd name="T32" fmla="*/ 118 w 162"/>
                <a:gd name="T33" fmla="*/ 51 h 77"/>
                <a:gd name="T34" fmla="*/ 122 w 162"/>
                <a:gd name="T35" fmla="*/ 51 h 77"/>
                <a:gd name="T36" fmla="*/ 127 w 162"/>
                <a:gd name="T37" fmla="*/ 51 h 77"/>
                <a:gd name="T38" fmla="*/ 144 w 162"/>
                <a:gd name="T39" fmla="*/ 55 h 77"/>
                <a:gd name="T40" fmla="*/ 145 w 162"/>
                <a:gd name="T41" fmla="*/ 57 h 77"/>
                <a:gd name="T42" fmla="*/ 151 w 162"/>
                <a:gd name="T43" fmla="*/ 61 h 77"/>
                <a:gd name="T44" fmla="*/ 154 w 162"/>
                <a:gd name="T45" fmla="*/ 60 h 77"/>
                <a:gd name="T46" fmla="*/ 157 w 162"/>
                <a:gd name="T47" fmla="*/ 55 h 77"/>
                <a:gd name="T48" fmla="*/ 160 w 162"/>
                <a:gd name="T49" fmla="*/ 51 h 77"/>
                <a:gd name="T50" fmla="*/ 162 w 162"/>
                <a:gd name="T51" fmla="*/ 44 h 77"/>
                <a:gd name="T52" fmla="*/ 158 w 162"/>
                <a:gd name="T53" fmla="*/ 37 h 77"/>
                <a:gd name="T54" fmla="*/ 154 w 162"/>
                <a:gd name="T55" fmla="*/ 32 h 77"/>
                <a:gd name="T56" fmla="*/ 145 w 162"/>
                <a:gd name="T57" fmla="*/ 31 h 77"/>
                <a:gd name="T58" fmla="*/ 144 w 162"/>
                <a:gd name="T59" fmla="*/ 30 h 77"/>
                <a:gd name="T60" fmla="*/ 144 w 162"/>
                <a:gd name="T61" fmla="*/ 27 h 77"/>
                <a:gd name="T62" fmla="*/ 142 w 162"/>
                <a:gd name="T63" fmla="*/ 21 h 77"/>
                <a:gd name="T64" fmla="*/ 135 w 162"/>
                <a:gd name="T65" fmla="*/ 20 h 77"/>
                <a:gd name="T66" fmla="*/ 130 w 162"/>
                <a:gd name="T67" fmla="*/ 20 h 77"/>
                <a:gd name="T68" fmla="*/ 125 w 162"/>
                <a:gd name="T69" fmla="*/ 18 h 77"/>
                <a:gd name="T70" fmla="*/ 117 w 162"/>
                <a:gd name="T71" fmla="*/ 12 h 77"/>
                <a:gd name="T72" fmla="*/ 105 w 162"/>
                <a:gd name="T73" fmla="*/ 8 h 77"/>
                <a:gd name="T74" fmla="*/ 100 w 162"/>
                <a:gd name="T75" fmla="*/ 5 h 77"/>
                <a:gd name="T76" fmla="*/ 94 w 162"/>
                <a:gd name="T77" fmla="*/ 2 h 77"/>
                <a:gd name="T78" fmla="*/ 87 w 162"/>
                <a:gd name="T79" fmla="*/ 1 h 77"/>
                <a:gd name="T80" fmla="*/ 82 w 162"/>
                <a:gd name="T81" fmla="*/ 4 h 77"/>
                <a:gd name="T82" fmla="*/ 82 w 162"/>
                <a:gd name="T83" fmla="*/ 4 h 77"/>
                <a:gd name="T84" fmla="*/ 63 w 162"/>
                <a:gd name="T85" fmla="*/ 7 h 77"/>
                <a:gd name="T86" fmla="*/ 53 w 162"/>
                <a:gd name="T87" fmla="*/ 4 h 77"/>
                <a:gd name="T88" fmla="*/ 43 w 162"/>
                <a:gd name="T89" fmla="*/ 0 h 77"/>
                <a:gd name="T90" fmla="*/ 34 w 162"/>
                <a:gd name="T91" fmla="*/ 4 h 77"/>
                <a:gd name="T92" fmla="*/ 30 w 162"/>
                <a:gd name="T93" fmla="*/ 12 h 77"/>
                <a:gd name="T94" fmla="*/ 35 w 162"/>
                <a:gd name="T95" fmla="*/ 20 h 77"/>
                <a:gd name="T96" fmla="*/ 43 w 162"/>
                <a:gd name="T97" fmla="*/ 22 h 77"/>
                <a:gd name="T98" fmla="*/ 45 w 162"/>
                <a:gd name="T99" fmla="*/ 31 h 77"/>
                <a:gd name="T100" fmla="*/ 48 w 162"/>
                <a:gd name="T101" fmla="*/ 41 h 77"/>
                <a:gd name="T102" fmla="*/ 51 w 162"/>
                <a:gd name="T103" fmla="*/ 47 h 77"/>
                <a:gd name="T104" fmla="*/ 47 w 162"/>
                <a:gd name="T105" fmla="*/ 47 h 77"/>
                <a:gd name="T106" fmla="*/ 30 w 162"/>
                <a:gd name="T107" fmla="*/ 45 h 77"/>
                <a:gd name="T108" fmla="*/ 20 w 162"/>
                <a:gd name="T109" fmla="*/ 44 h 77"/>
                <a:gd name="T110" fmla="*/ 7 w 162"/>
                <a:gd name="T111" fmla="*/ 41 h 77"/>
                <a:gd name="T112" fmla="*/ 1 w 162"/>
                <a:gd name="T113" fmla="*/ 44 h 77"/>
                <a:gd name="T114" fmla="*/ 1 w 162"/>
                <a:gd name="T115" fmla="*/ 51 h 77"/>
                <a:gd name="T116" fmla="*/ 7 w 162"/>
                <a:gd name="T117" fmla="*/ 6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2" h="77">
                  <a:moveTo>
                    <a:pt x="14" y="65"/>
                  </a:moveTo>
                  <a:lnTo>
                    <a:pt x="14" y="65"/>
                  </a:lnTo>
                  <a:lnTo>
                    <a:pt x="17" y="67"/>
                  </a:lnTo>
                  <a:lnTo>
                    <a:pt x="18" y="65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4" y="62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8" y="61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8" y="61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63" y="67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8" y="71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1" y="74"/>
                  </a:lnTo>
                  <a:lnTo>
                    <a:pt x="84" y="71"/>
                  </a:lnTo>
                  <a:lnTo>
                    <a:pt x="88" y="64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91" y="55"/>
                  </a:lnTo>
                  <a:lnTo>
                    <a:pt x="92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7" y="55"/>
                  </a:lnTo>
                  <a:lnTo>
                    <a:pt x="97" y="55"/>
                  </a:lnTo>
                  <a:lnTo>
                    <a:pt x="101" y="55"/>
                  </a:lnTo>
                  <a:lnTo>
                    <a:pt x="101" y="55"/>
                  </a:lnTo>
                  <a:lnTo>
                    <a:pt x="107" y="57"/>
                  </a:lnTo>
                  <a:lnTo>
                    <a:pt x="112" y="57"/>
                  </a:lnTo>
                  <a:lnTo>
                    <a:pt x="112" y="57"/>
                  </a:lnTo>
                  <a:lnTo>
                    <a:pt x="115" y="55"/>
                  </a:lnTo>
                  <a:lnTo>
                    <a:pt x="117" y="54"/>
                  </a:lnTo>
                  <a:lnTo>
                    <a:pt x="117" y="54"/>
                  </a:lnTo>
                  <a:lnTo>
                    <a:pt x="118" y="51"/>
                  </a:lnTo>
                  <a:lnTo>
                    <a:pt x="118" y="51"/>
                  </a:lnTo>
                  <a:lnTo>
                    <a:pt x="122" y="51"/>
                  </a:lnTo>
                  <a:lnTo>
                    <a:pt x="122" y="51"/>
                  </a:lnTo>
                  <a:lnTo>
                    <a:pt x="125" y="51"/>
                  </a:lnTo>
                  <a:lnTo>
                    <a:pt x="125" y="51"/>
                  </a:lnTo>
                  <a:lnTo>
                    <a:pt x="127" y="51"/>
                  </a:lnTo>
                  <a:lnTo>
                    <a:pt x="127" y="51"/>
                  </a:lnTo>
                  <a:lnTo>
                    <a:pt x="138" y="52"/>
                  </a:lnTo>
                  <a:lnTo>
                    <a:pt x="144" y="55"/>
                  </a:lnTo>
                  <a:lnTo>
                    <a:pt x="144" y="55"/>
                  </a:lnTo>
                  <a:lnTo>
                    <a:pt x="145" y="57"/>
                  </a:lnTo>
                  <a:lnTo>
                    <a:pt x="145" y="57"/>
                  </a:lnTo>
                  <a:lnTo>
                    <a:pt x="147" y="60"/>
                  </a:lnTo>
                  <a:lnTo>
                    <a:pt x="148" y="60"/>
                  </a:lnTo>
                  <a:lnTo>
                    <a:pt x="151" y="61"/>
                  </a:lnTo>
                  <a:lnTo>
                    <a:pt x="151" y="61"/>
                  </a:lnTo>
                  <a:lnTo>
                    <a:pt x="151" y="61"/>
                  </a:lnTo>
                  <a:lnTo>
                    <a:pt x="154" y="60"/>
                  </a:lnTo>
                  <a:lnTo>
                    <a:pt x="155" y="58"/>
                  </a:lnTo>
                  <a:lnTo>
                    <a:pt x="157" y="55"/>
                  </a:lnTo>
                  <a:lnTo>
                    <a:pt x="157" y="55"/>
                  </a:lnTo>
                  <a:lnTo>
                    <a:pt x="158" y="52"/>
                  </a:lnTo>
                  <a:lnTo>
                    <a:pt x="158" y="52"/>
                  </a:lnTo>
                  <a:lnTo>
                    <a:pt x="160" y="51"/>
                  </a:lnTo>
                  <a:lnTo>
                    <a:pt x="160" y="51"/>
                  </a:lnTo>
                  <a:lnTo>
                    <a:pt x="161" y="48"/>
                  </a:lnTo>
                  <a:lnTo>
                    <a:pt x="162" y="44"/>
                  </a:lnTo>
                  <a:lnTo>
                    <a:pt x="162" y="44"/>
                  </a:lnTo>
                  <a:lnTo>
                    <a:pt x="161" y="40"/>
                  </a:lnTo>
                  <a:lnTo>
                    <a:pt x="158" y="37"/>
                  </a:lnTo>
                  <a:lnTo>
                    <a:pt x="158" y="35"/>
                  </a:lnTo>
                  <a:lnTo>
                    <a:pt x="158" y="35"/>
                  </a:lnTo>
                  <a:lnTo>
                    <a:pt x="154" y="32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45" y="31"/>
                  </a:lnTo>
                  <a:lnTo>
                    <a:pt x="145" y="31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4" y="27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2" y="21"/>
                  </a:lnTo>
                  <a:lnTo>
                    <a:pt x="140" y="20"/>
                  </a:lnTo>
                  <a:lnTo>
                    <a:pt x="135" y="20"/>
                  </a:lnTo>
                  <a:lnTo>
                    <a:pt x="135" y="20"/>
                  </a:lnTo>
                  <a:lnTo>
                    <a:pt x="132" y="20"/>
                  </a:lnTo>
                  <a:lnTo>
                    <a:pt x="132" y="20"/>
                  </a:lnTo>
                  <a:lnTo>
                    <a:pt x="130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5" y="18"/>
                  </a:lnTo>
                  <a:lnTo>
                    <a:pt x="121" y="17"/>
                  </a:lnTo>
                  <a:lnTo>
                    <a:pt x="121" y="17"/>
                  </a:lnTo>
                  <a:lnTo>
                    <a:pt x="117" y="12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4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77" y="7"/>
                  </a:lnTo>
                  <a:lnTo>
                    <a:pt x="71" y="8"/>
                  </a:lnTo>
                  <a:lnTo>
                    <a:pt x="63" y="7"/>
                  </a:lnTo>
                  <a:lnTo>
                    <a:pt x="54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48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4" y="4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0" y="12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5" y="20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43" y="22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5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51" y="45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48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38" y="47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3" y="42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0" y="47"/>
                  </a:lnTo>
                  <a:lnTo>
                    <a:pt x="1" y="51"/>
                  </a:lnTo>
                  <a:lnTo>
                    <a:pt x="1" y="51"/>
                  </a:lnTo>
                  <a:lnTo>
                    <a:pt x="3" y="55"/>
                  </a:lnTo>
                  <a:lnTo>
                    <a:pt x="7" y="60"/>
                  </a:lnTo>
                  <a:lnTo>
                    <a:pt x="14" y="65"/>
                  </a:lnTo>
                  <a:lnTo>
                    <a:pt x="14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33" name="Freeform 86"/>
            <p:cNvSpPr>
              <a:spLocks/>
            </p:cNvSpPr>
            <p:nvPr/>
          </p:nvSpPr>
          <p:spPr bwMode="auto">
            <a:xfrm>
              <a:off x="2112963" y="2979738"/>
              <a:ext cx="46038" cy="22225"/>
            </a:xfrm>
            <a:custGeom>
              <a:avLst/>
              <a:gdLst>
                <a:gd name="T0" fmla="*/ 39 w 59"/>
                <a:gd name="T1" fmla="*/ 5 h 28"/>
                <a:gd name="T2" fmla="*/ 39 w 59"/>
                <a:gd name="T3" fmla="*/ 5 h 28"/>
                <a:gd name="T4" fmla="*/ 32 w 59"/>
                <a:gd name="T5" fmla="*/ 2 h 28"/>
                <a:gd name="T6" fmla="*/ 32 w 59"/>
                <a:gd name="T7" fmla="*/ 2 h 28"/>
                <a:gd name="T8" fmla="*/ 26 w 59"/>
                <a:gd name="T9" fmla="*/ 0 h 28"/>
                <a:gd name="T10" fmla="*/ 22 w 59"/>
                <a:gd name="T11" fmla="*/ 0 h 28"/>
                <a:gd name="T12" fmla="*/ 16 w 59"/>
                <a:gd name="T13" fmla="*/ 2 h 28"/>
                <a:gd name="T14" fmla="*/ 12 w 59"/>
                <a:gd name="T15" fmla="*/ 3 h 28"/>
                <a:gd name="T16" fmla="*/ 12 w 59"/>
                <a:gd name="T17" fmla="*/ 3 h 28"/>
                <a:gd name="T18" fmla="*/ 9 w 59"/>
                <a:gd name="T19" fmla="*/ 3 h 28"/>
                <a:gd name="T20" fmla="*/ 9 w 59"/>
                <a:gd name="T21" fmla="*/ 3 h 28"/>
                <a:gd name="T22" fmla="*/ 3 w 59"/>
                <a:gd name="T23" fmla="*/ 6 h 28"/>
                <a:gd name="T24" fmla="*/ 0 w 59"/>
                <a:gd name="T25" fmla="*/ 9 h 28"/>
                <a:gd name="T26" fmla="*/ 0 w 59"/>
                <a:gd name="T27" fmla="*/ 13 h 28"/>
                <a:gd name="T28" fmla="*/ 0 w 59"/>
                <a:gd name="T29" fmla="*/ 13 h 28"/>
                <a:gd name="T30" fmla="*/ 2 w 59"/>
                <a:gd name="T31" fmla="*/ 15 h 28"/>
                <a:gd name="T32" fmla="*/ 2 w 59"/>
                <a:gd name="T33" fmla="*/ 15 h 28"/>
                <a:gd name="T34" fmla="*/ 7 w 59"/>
                <a:gd name="T35" fmla="*/ 18 h 28"/>
                <a:gd name="T36" fmla="*/ 9 w 59"/>
                <a:gd name="T37" fmla="*/ 19 h 28"/>
                <a:gd name="T38" fmla="*/ 9 w 59"/>
                <a:gd name="T39" fmla="*/ 19 h 28"/>
                <a:gd name="T40" fmla="*/ 15 w 59"/>
                <a:gd name="T41" fmla="*/ 22 h 28"/>
                <a:gd name="T42" fmla="*/ 15 w 59"/>
                <a:gd name="T43" fmla="*/ 22 h 28"/>
                <a:gd name="T44" fmla="*/ 22 w 59"/>
                <a:gd name="T45" fmla="*/ 25 h 28"/>
                <a:gd name="T46" fmla="*/ 27 w 59"/>
                <a:gd name="T47" fmla="*/ 28 h 28"/>
                <a:gd name="T48" fmla="*/ 27 w 59"/>
                <a:gd name="T49" fmla="*/ 28 h 28"/>
                <a:gd name="T50" fmla="*/ 32 w 59"/>
                <a:gd name="T51" fmla="*/ 28 h 28"/>
                <a:gd name="T52" fmla="*/ 32 w 59"/>
                <a:gd name="T53" fmla="*/ 28 h 28"/>
                <a:gd name="T54" fmla="*/ 39 w 59"/>
                <a:gd name="T55" fmla="*/ 26 h 28"/>
                <a:gd name="T56" fmla="*/ 39 w 59"/>
                <a:gd name="T57" fmla="*/ 26 h 28"/>
                <a:gd name="T58" fmla="*/ 42 w 59"/>
                <a:gd name="T59" fmla="*/ 26 h 28"/>
                <a:gd name="T60" fmla="*/ 42 w 59"/>
                <a:gd name="T61" fmla="*/ 26 h 28"/>
                <a:gd name="T62" fmla="*/ 49 w 59"/>
                <a:gd name="T63" fmla="*/ 26 h 28"/>
                <a:gd name="T64" fmla="*/ 49 w 59"/>
                <a:gd name="T65" fmla="*/ 26 h 28"/>
                <a:gd name="T66" fmla="*/ 56 w 59"/>
                <a:gd name="T67" fmla="*/ 28 h 28"/>
                <a:gd name="T68" fmla="*/ 57 w 59"/>
                <a:gd name="T69" fmla="*/ 26 h 28"/>
                <a:gd name="T70" fmla="*/ 59 w 59"/>
                <a:gd name="T71" fmla="*/ 25 h 28"/>
                <a:gd name="T72" fmla="*/ 59 w 59"/>
                <a:gd name="T73" fmla="*/ 25 h 28"/>
                <a:gd name="T74" fmla="*/ 59 w 59"/>
                <a:gd name="T75" fmla="*/ 20 h 28"/>
                <a:gd name="T76" fmla="*/ 59 w 59"/>
                <a:gd name="T77" fmla="*/ 16 h 28"/>
                <a:gd name="T78" fmla="*/ 56 w 59"/>
                <a:gd name="T79" fmla="*/ 12 h 28"/>
                <a:gd name="T80" fmla="*/ 50 w 59"/>
                <a:gd name="T81" fmla="*/ 9 h 28"/>
                <a:gd name="T82" fmla="*/ 50 w 59"/>
                <a:gd name="T83" fmla="*/ 9 h 28"/>
                <a:gd name="T84" fmla="*/ 39 w 59"/>
                <a:gd name="T85" fmla="*/ 5 h 28"/>
                <a:gd name="T86" fmla="*/ 39 w 59"/>
                <a:gd name="T87" fmla="*/ 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" h="28">
                  <a:moveTo>
                    <a:pt x="39" y="5"/>
                  </a:moveTo>
                  <a:lnTo>
                    <a:pt x="39" y="5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7" y="18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22" y="25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9" y="26"/>
                  </a:lnTo>
                  <a:lnTo>
                    <a:pt x="39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0"/>
                  </a:lnTo>
                  <a:lnTo>
                    <a:pt x="59" y="16"/>
                  </a:lnTo>
                  <a:lnTo>
                    <a:pt x="56" y="12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39" y="5"/>
                  </a:lnTo>
                  <a:lnTo>
                    <a:pt x="39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34" name="Freeform 88"/>
            <p:cNvSpPr>
              <a:spLocks/>
            </p:cNvSpPr>
            <p:nvPr/>
          </p:nvSpPr>
          <p:spPr bwMode="auto">
            <a:xfrm>
              <a:off x="2028825" y="2901950"/>
              <a:ext cx="12700" cy="17463"/>
            </a:xfrm>
            <a:custGeom>
              <a:avLst/>
              <a:gdLst>
                <a:gd name="T0" fmla="*/ 8 w 17"/>
                <a:gd name="T1" fmla="*/ 0 h 23"/>
                <a:gd name="T2" fmla="*/ 8 w 17"/>
                <a:gd name="T3" fmla="*/ 0 h 23"/>
                <a:gd name="T4" fmla="*/ 5 w 17"/>
                <a:gd name="T5" fmla="*/ 1 h 23"/>
                <a:gd name="T6" fmla="*/ 2 w 17"/>
                <a:gd name="T7" fmla="*/ 4 h 23"/>
                <a:gd name="T8" fmla="*/ 1 w 17"/>
                <a:gd name="T9" fmla="*/ 7 h 23"/>
                <a:gd name="T10" fmla="*/ 0 w 17"/>
                <a:gd name="T11" fmla="*/ 11 h 23"/>
                <a:gd name="T12" fmla="*/ 0 w 17"/>
                <a:gd name="T13" fmla="*/ 11 h 23"/>
                <a:gd name="T14" fmla="*/ 1 w 17"/>
                <a:gd name="T15" fmla="*/ 16 h 23"/>
                <a:gd name="T16" fmla="*/ 2 w 17"/>
                <a:gd name="T17" fmla="*/ 18 h 23"/>
                <a:gd name="T18" fmla="*/ 2 w 17"/>
                <a:gd name="T19" fmla="*/ 18 h 23"/>
                <a:gd name="T20" fmla="*/ 5 w 17"/>
                <a:gd name="T21" fmla="*/ 21 h 23"/>
                <a:gd name="T22" fmla="*/ 8 w 17"/>
                <a:gd name="T23" fmla="*/ 23 h 23"/>
                <a:gd name="T24" fmla="*/ 10 w 17"/>
                <a:gd name="T25" fmla="*/ 23 h 23"/>
                <a:gd name="T26" fmla="*/ 10 w 17"/>
                <a:gd name="T27" fmla="*/ 20 h 23"/>
                <a:gd name="T28" fmla="*/ 10 w 17"/>
                <a:gd name="T29" fmla="*/ 20 h 23"/>
                <a:gd name="T30" fmla="*/ 12 w 17"/>
                <a:gd name="T31" fmla="*/ 18 h 23"/>
                <a:gd name="T32" fmla="*/ 15 w 17"/>
                <a:gd name="T33" fmla="*/ 16 h 23"/>
                <a:gd name="T34" fmla="*/ 17 w 17"/>
                <a:gd name="T35" fmla="*/ 13 h 23"/>
                <a:gd name="T36" fmla="*/ 17 w 17"/>
                <a:gd name="T37" fmla="*/ 10 h 23"/>
                <a:gd name="T38" fmla="*/ 17 w 17"/>
                <a:gd name="T39" fmla="*/ 10 h 23"/>
                <a:gd name="T40" fmla="*/ 17 w 17"/>
                <a:gd name="T41" fmla="*/ 7 h 23"/>
                <a:gd name="T42" fmla="*/ 14 w 17"/>
                <a:gd name="T43" fmla="*/ 6 h 23"/>
                <a:gd name="T44" fmla="*/ 10 w 17"/>
                <a:gd name="T45" fmla="*/ 3 h 23"/>
                <a:gd name="T46" fmla="*/ 10 w 17"/>
                <a:gd name="T47" fmla="*/ 0 h 23"/>
                <a:gd name="T48" fmla="*/ 8 w 17"/>
                <a:gd name="T4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" h="23">
                  <a:moveTo>
                    <a:pt x="8" y="0"/>
                  </a:moveTo>
                  <a:lnTo>
                    <a:pt x="8" y="0"/>
                  </a:lnTo>
                  <a:lnTo>
                    <a:pt x="5" y="1"/>
                  </a:lnTo>
                  <a:lnTo>
                    <a:pt x="2" y="4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16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21"/>
                  </a:lnTo>
                  <a:lnTo>
                    <a:pt x="8" y="23"/>
                  </a:lnTo>
                  <a:lnTo>
                    <a:pt x="10" y="23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2" y="18"/>
                  </a:lnTo>
                  <a:lnTo>
                    <a:pt x="15" y="16"/>
                  </a:lnTo>
                  <a:lnTo>
                    <a:pt x="17" y="13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4" y="6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35" name="Freeform 89"/>
            <p:cNvSpPr>
              <a:spLocks/>
            </p:cNvSpPr>
            <p:nvPr/>
          </p:nvSpPr>
          <p:spPr bwMode="auto">
            <a:xfrm>
              <a:off x="1416050" y="2160588"/>
              <a:ext cx="39688" cy="49213"/>
            </a:xfrm>
            <a:custGeom>
              <a:avLst/>
              <a:gdLst>
                <a:gd name="T0" fmla="*/ 37 w 50"/>
                <a:gd name="T1" fmla="*/ 3 h 63"/>
                <a:gd name="T2" fmla="*/ 32 w 50"/>
                <a:gd name="T3" fmla="*/ 1 h 63"/>
                <a:gd name="T4" fmla="*/ 26 w 50"/>
                <a:gd name="T5" fmla="*/ 0 h 63"/>
                <a:gd name="T6" fmla="*/ 14 w 50"/>
                <a:gd name="T7" fmla="*/ 3 h 63"/>
                <a:gd name="T8" fmla="*/ 9 w 50"/>
                <a:gd name="T9" fmla="*/ 11 h 63"/>
                <a:gd name="T10" fmla="*/ 9 w 50"/>
                <a:gd name="T11" fmla="*/ 13 h 63"/>
                <a:gd name="T12" fmla="*/ 4 w 50"/>
                <a:gd name="T13" fmla="*/ 24 h 63"/>
                <a:gd name="T14" fmla="*/ 4 w 50"/>
                <a:gd name="T15" fmla="*/ 26 h 63"/>
                <a:gd name="T16" fmla="*/ 3 w 50"/>
                <a:gd name="T17" fmla="*/ 27 h 63"/>
                <a:gd name="T18" fmla="*/ 3 w 50"/>
                <a:gd name="T19" fmla="*/ 30 h 63"/>
                <a:gd name="T20" fmla="*/ 0 w 50"/>
                <a:gd name="T21" fmla="*/ 34 h 63"/>
                <a:gd name="T22" fmla="*/ 2 w 50"/>
                <a:gd name="T23" fmla="*/ 46 h 63"/>
                <a:gd name="T24" fmla="*/ 2 w 50"/>
                <a:gd name="T25" fmla="*/ 50 h 63"/>
                <a:gd name="T26" fmla="*/ 2 w 50"/>
                <a:gd name="T27" fmla="*/ 54 h 63"/>
                <a:gd name="T28" fmla="*/ 4 w 50"/>
                <a:gd name="T29" fmla="*/ 57 h 63"/>
                <a:gd name="T30" fmla="*/ 10 w 50"/>
                <a:gd name="T31" fmla="*/ 61 h 63"/>
                <a:gd name="T32" fmla="*/ 13 w 50"/>
                <a:gd name="T33" fmla="*/ 63 h 63"/>
                <a:gd name="T34" fmla="*/ 16 w 50"/>
                <a:gd name="T35" fmla="*/ 61 h 63"/>
                <a:gd name="T36" fmla="*/ 16 w 50"/>
                <a:gd name="T37" fmla="*/ 60 h 63"/>
                <a:gd name="T38" fmla="*/ 16 w 50"/>
                <a:gd name="T39" fmla="*/ 53 h 63"/>
                <a:gd name="T40" fmla="*/ 16 w 50"/>
                <a:gd name="T41" fmla="*/ 47 h 63"/>
                <a:gd name="T42" fmla="*/ 16 w 50"/>
                <a:gd name="T43" fmla="*/ 47 h 63"/>
                <a:gd name="T44" fmla="*/ 20 w 50"/>
                <a:gd name="T45" fmla="*/ 46 h 63"/>
                <a:gd name="T46" fmla="*/ 22 w 50"/>
                <a:gd name="T47" fmla="*/ 43 h 63"/>
                <a:gd name="T48" fmla="*/ 22 w 50"/>
                <a:gd name="T49" fmla="*/ 40 h 63"/>
                <a:gd name="T50" fmla="*/ 22 w 50"/>
                <a:gd name="T51" fmla="*/ 37 h 63"/>
                <a:gd name="T52" fmla="*/ 23 w 50"/>
                <a:gd name="T53" fmla="*/ 36 h 63"/>
                <a:gd name="T54" fmla="*/ 26 w 50"/>
                <a:gd name="T55" fmla="*/ 33 h 63"/>
                <a:gd name="T56" fmla="*/ 27 w 50"/>
                <a:gd name="T57" fmla="*/ 28 h 63"/>
                <a:gd name="T58" fmla="*/ 27 w 50"/>
                <a:gd name="T59" fmla="*/ 26 h 63"/>
                <a:gd name="T60" fmla="*/ 32 w 50"/>
                <a:gd name="T61" fmla="*/ 20 h 63"/>
                <a:gd name="T62" fmla="*/ 37 w 50"/>
                <a:gd name="T63" fmla="*/ 16 h 63"/>
                <a:gd name="T64" fmla="*/ 40 w 50"/>
                <a:gd name="T65" fmla="*/ 14 h 63"/>
                <a:gd name="T66" fmla="*/ 49 w 50"/>
                <a:gd name="T67" fmla="*/ 7 h 63"/>
                <a:gd name="T68" fmla="*/ 50 w 50"/>
                <a:gd name="T69" fmla="*/ 1 h 63"/>
                <a:gd name="T70" fmla="*/ 47 w 50"/>
                <a:gd name="T71" fmla="*/ 1 h 63"/>
                <a:gd name="T72" fmla="*/ 42 w 50"/>
                <a:gd name="T73" fmla="*/ 3 h 63"/>
                <a:gd name="T74" fmla="*/ 37 w 50"/>
                <a:gd name="T75" fmla="*/ 3 h 63"/>
                <a:gd name="T76" fmla="*/ 37 w 50"/>
                <a:gd name="T77" fmla="*/ 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0" h="63">
                  <a:moveTo>
                    <a:pt x="37" y="3"/>
                  </a:moveTo>
                  <a:lnTo>
                    <a:pt x="37" y="3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9" y="0"/>
                  </a:lnTo>
                  <a:lnTo>
                    <a:pt x="14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40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50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7" y="60"/>
                  </a:lnTo>
                  <a:lnTo>
                    <a:pt x="10" y="61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1"/>
                  </a:lnTo>
                  <a:lnTo>
                    <a:pt x="16" y="61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7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2" y="43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4" y="34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32" y="20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7" y="10"/>
                  </a:lnTo>
                  <a:lnTo>
                    <a:pt x="49" y="7"/>
                  </a:lnTo>
                  <a:lnTo>
                    <a:pt x="50" y="4"/>
                  </a:lnTo>
                  <a:lnTo>
                    <a:pt x="50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36" name="Freeform 90"/>
            <p:cNvSpPr>
              <a:spLocks/>
            </p:cNvSpPr>
            <p:nvPr/>
          </p:nvSpPr>
          <p:spPr bwMode="auto">
            <a:xfrm>
              <a:off x="1447800" y="2087563"/>
              <a:ext cx="19050" cy="26988"/>
            </a:xfrm>
            <a:custGeom>
              <a:avLst/>
              <a:gdLst>
                <a:gd name="T0" fmla="*/ 22 w 24"/>
                <a:gd name="T1" fmla="*/ 3 h 35"/>
                <a:gd name="T2" fmla="*/ 22 w 24"/>
                <a:gd name="T3" fmla="*/ 3 h 35"/>
                <a:gd name="T4" fmla="*/ 20 w 24"/>
                <a:gd name="T5" fmla="*/ 2 h 35"/>
                <a:gd name="T6" fmla="*/ 20 w 24"/>
                <a:gd name="T7" fmla="*/ 2 h 35"/>
                <a:gd name="T8" fmla="*/ 17 w 24"/>
                <a:gd name="T9" fmla="*/ 0 h 35"/>
                <a:gd name="T10" fmla="*/ 14 w 24"/>
                <a:gd name="T11" fmla="*/ 0 h 35"/>
                <a:gd name="T12" fmla="*/ 14 w 24"/>
                <a:gd name="T13" fmla="*/ 0 h 35"/>
                <a:gd name="T14" fmla="*/ 13 w 24"/>
                <a:gd name="T15" fmla="*/ 2 h 35"/>
                <a:gd name="T16" fmla="*/ 12 w 24"/>
                <a:gd name="T17" fmla="*/ 3 h 35"/>
                <a:gd name="T18" fmla="*/ 12 w 24"/>
                <a:gd name="T19" fmla="*/ 8 h 35"/>
                <a:gd name="T20" fmla="*/ 12 w 24"/>
                <a:gd name="T21" fmla="*/ 8 h 35"/>
                <a:gd name="T22" fmla="*/ 10 w 24"/>
                <a:gd name="T23" fmla="*/ 9 h 35"/>
                <a:gd name="T24" fmla="*/ 10 w 24"/>
                <a:gd name="T25" fmla="*/ 9 h 35"/>
                <a:gd name="T26" fmla="*/ 7 w 24"/>
                <a:gd name="T27" fmla="*/ 10 h 35"/>
                <a:gd name="T28" fmla="*/ 7 w 24"/>
                <a:gd name="T29" fmla="*/ 10 h 35"/>
                <a:gd name="T30" fmla="*/ 4 w 24"/>
                <a:gd name="T31" fmla="*/ 13 h 35"/>
                <a:gd name="T32" fmla="*/ 2 w 24"/>
                <a:gd name="T33" fmla="*/ 18 h 35"/>
                <a:gd name="T34" fmla="*/ 2 w 24"/>
                <a:gd name="T35" fmla="*/ 18 h 35"/>
                <a:gd name="T36" fmla="*/ 2 w 24"/>
                <a:gd name="T37" fmla="*/ 22 h 35"/>
                <a:gd name="T38" fmla="*/ 2 w 24"/>
                <a:gd name="T39" fmla="*/ 22 h 35"/>
                <a:gd name="T40" fmla="*/ 2 w 24"/>
                <a:gd name="T41" fmla="*/ 25 h 35"/>
                <a:gd name="T42" fmla="*/ 2 w 24"/>
                <a:gd name="T43" fmla="*/ 25 h 35"/>
                <a:gd name="T44" fmla="*/ 0 w 24"/>
                <a:gd name="T45" fmla="*/ 26 h 35"/>
                <a:gd name="T46" fmla="*/ 0 w 24"/>
                <a:gd name="T47" fmla="*/ 26 h 35"/>
                <a:gd name="T48" fmla="*/ 0 w 24"/>
                <a:gd name="T49" fmla="*/ 30 h 35"/>
                <a:gd name="T50" fmla="*/ 0 w 24"/>
                <a:gd name="T51" fmla="*/ 33 h 35"/>
                <a:gd name="T52" fmla="*/ 2 w 24"/>
                <a:gd name="T53" fmla="*/ 35 h 35"/>
                <a:gd name="T54" fmla="*/ 2 w 24"/>
                <a:gd name="T55" fmla="*/ 35 h 35"/>
                <a:gd name="T56" fmla="*/ 4 w 24"/>
                <a:gd name="T57" fmla="*/ 35 h 35"/>
                <a:gd name="T58" fmla="*/ 4 w 24"/>
                <a:gd name="T59" fmla="*/ 35 h 35"/>
                <a:gd name="T60" fmla="*/ 7 w 24"/>
                <a:gd name="T61" fmla="*/ 35 h 35"/>
                <a:gd name="T62" fmla="*/ 9 w 24"/>
                <a:gd name="T63" fmla="*/ 33 h 35"/>
                <a:gd name="T64" fmla="*/ 13 w 24"/>
                <a:gd name="T65" fmla="*/ 30 h 35"/>
                <a:gd name="T66" fmla="*/ 13 w 24"/>
                <a:gd name="T67" fmla="*/ 30 h 35"/>
                <a:gd name="T68" fmla="*/ 13 w 24"/>
                <a:gd name="T69" fmla="*/ 29 h 35"/>
                <a:gd name="T70" fmla="*/ 13 w 24"/>
                <a:gd name="T71" fmla="*/ 29 h 35"/>
                <a:gd name="T72" fmla="*/ 17 w 24"/>
                <a:gd name="T73" fmla="*/ 26 h 35"/>
                <a:gd name="T74" fmla="*/ 17 w 24"/>
                <a:gd name="T75" fmla="*/ 26 h 35"/>
                <a:gd name="T76" fmla="*/ 22 w 24"/>
                <a:gd name="T77" fmla="*/ 22 h 35"/>
                <a:gd name="T78" fmla="*/ 22 w 24"/>
                <a:gd name="T79" fmla="*/ 22 h 35"/>
                <a:gd name="T80" fmla="*/ 24 w 24"/>
                <a:gd name="T81" fmla="*/ 16 h 35"/>
                <a:gd name="T82" fmla="*/ 24 w 24"/>
                <a:gd name="T83" fmla="*/ 9 h 35"/>
                <a:gd name="T84" fmla="*/ 24 w 24"/>
                <a:gd name="T85" fmla="*/ 9 h 35"/>
                <a:gd name="T86" fmla="*/ 23 w 24"/>
                <a:gd name="T87" fmla="*/ 5 h 35"/>
                <a:gd name="T88" fmla="*/ 22 w 24"/>
                <a:gd name="T89" fmla="*/ 3 h 35"/>
                <a:gd name="T90" fmla="*/ 22 w 24"/>
                <a:gd name="T91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" h="35">
                  <a:moveTo>
                    <a:pt x="22" y="3"/>
                  </a:moveTo>
                  <a:lnTo>
                    <a:pt x="22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3" y="2"/>
                  </a:lnTo>
                  <a:lnTo>
                    <a:pt x="12" y="3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4" y="13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0" y="33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7" y="35"/>
                  </a:lnTo>
                  <a:lnTo>
                    <a:pt x="9" y="33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4" y="16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3" y="5"/>
                  </a:lnTo>
                  <a:lnTo>
                    <a:pt x="22" y="3"/>
                  </a:lnTo>
                  <a:lnTo>
                    <a:pt x="2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37" name="Freeform 91"/>
            <p:cNvSpPr>
              <a:spLocks/>
            </p:cNvSpPr>
            <p:nvPr/>
          </p:nvSpPr>
          <p:spPr bwMode="auto">
            <a:xfrm>
              <a:off x="1471613" y="2095500"/>
              <a:ext cx="15875" cy="15875"/>
            </a:xfrm>
            <a:custGeom>
              <a:avLst/>
              <a:gdLst>
                <a:gd name="T0" fmla="*/ 0 w 20"/>
                <a:gd name="T1" fmla="*/ 14 h 21"/>
                <a:gd name="T2" fmla="*/ 0 w 20"/>
                <a:gd name="T3" fmla="*/ 14 h 21"/>
                <a:gd name="T4" fmla="*/ 0 w 20"/>
                <a:gd name="T5" fmla="*/ 17 h 21"/>
                <a:gd name="T6" fmla="*/ 2 w 20"/>
                <a:gd name="T7" fmla="*/ 20 h 21"/>
                <a:gd name="T8" fmla="*/ 4 w 20"/>
                <a:gd name="T9" fmla="*/ 21 h 21"/>
                <a:gd name="T10" fmla="*/ 7 w 20"/>
                <a:gd name="T11" fmla="*/ 21 h 21"/>
                <a:gd name="T12" fmla="*/ 7 w 20"/>
                <a:gd name="T13" fmla="*/ 21 h 21"/>
                <a:gd name="T14" fmla="*/ 9 w 20"/>
                <a:gd name="T15" fmla="*/ 21 h 21"/>
                <a:gd name="T16" fmla="*/ 10 w 20"/>
                <a:gd name="T17" fmla="*/ 21 h 21"/>
                <a:gd name="T18" fmla="*/ 10 w 20"/>
                <a:gd name="T19" fmla="*/ 21 h 21"/>
                <a:gd name="T20" fmla="*/ 10 w 20"/>
                <a:gd name="T21" fmla="*/ 21 h 21"/>
                <a:gd name="T22" fmla="*/ 12 w 20"/>
                <a:gd name="T23" fmla="*/ 19 h 21"/>
                <a:gd name="T24" fmla="*/ 12 w 20"/>
                <a:gd name="T25" fmla="*/ 19 h 21"/>
                <a:gd name="T26" fmla="*/ 12 w 20"/>
                <a:gd name="T27" fmla="*/ 17 h 21"/>
                <a:gd name="T28" fmla="*/ 12 w 20"/>
                <a:gd name="T29" fmla="*/ 17 h 21"/>
                <a:gd name="T30" fmla="*/ 13 w 20"/>
                <a:gd name="T31" fmla="*/ 17 h 21"/>
                <a:gd name="T32" fmla="*/ 13 w 20"/>
                <a:gd name="T33" fmla="*/ 17 h 21"/>
                <a:gd name="T34" fmla="*/ 14 w 20"/>
                <a:gd name="T35" fmla="*/ 17 h 21"/>
                <a:gd name="T36" fmla="*/ 14 w 20"/>
                <a:gd name="T37" fmla="*/ 17 h 21"/>
                <a:gd name="T38" fmla="*/ 17 w 20"/>
                <a:gd name="T39" fmla="*/ 16 h 21"/>
                <a:gd name="T40" fmla="*/ 19 w 20"/>
                <a:gd name="T41" fmla="*/ 13 h 21"/>
                <a:gd name="T42" fmla="*/ 20 w 20"/>
                <a:gd name="T43" fmla="*/ 10 h 21"/>
                <a:gd name="T44" fmla="*/ 20 w 20"/>
                <a:gd name="T45" fmla="*/ 7 h 21"/>
                <a:gd name="T46" fmla="*/ 20 w 20"/>
                <a:gd name="T47" fmla="*/ 7 h 21"/>
                <a:gd name="T48" fmla="*/ 19 w 20"/>
                <a:gd name="T49" fmla="*/ 4 h 21"/>
                <a:gd name="T50" fmla="*/ 17 w 20"/>
                <a:gd name="T51" fmla="*/ 1 h 21"/>
                <a:gd name="T52" fmla="*/ 14 w 20"/>
                <a:gd name="T53" fmla="*/ 1 h 21"/>
                <a:gd name="T54" fmla="*/ 12 w 20"/>
                <a:gd name="T55" fmla="*/ 0 h 21"/>
                <a:gd name="T56" fmla="*/ 12 w 20"/>
                <a:gd name="T57" fmla="*/ 0 h 21"/>
                <a:gd name="T58" fmla="*/ 6 w 20"/>
                <a:gd name="T59" fmla="*/ 1 h 21"/>
                <a:gd name="T60" fmla="*/ 3 w 20"/>
                <a:gd name="T61" fmla="*/ 4 h 21"/>
                <a:gd name="T62" fmla="*/ 3 w 20"/>
                <a:gd name="T63" fmla="*/ 6 h 21"/>
                <a:gd name="T64" fmla="*/ 3 w 20"/>
                <a:gd name="T65" fmla="*/ 6 h 21"/>
                <a:gd name="T66" fmla="*/ 3 w 20"/>
                <a:gd name="T67" fmla="*/ 6 h 21"/>
                <a:gd name="T68" fmla="*/ 2 w 20"/>
                <a:gd name="T69" fmla="*/ 9 h 21"/>
                <a:gd name="T70" fmla="*/ 2 w 20"/>
                <a:gd name="T71" fmla="*/ 9 h 21"/>
                <a:gd name="T72" fmla="*/ 0 w 20"/>
                <a:gd name="T73" fmla="*/ 11 h 21"/>
                <a:gd name="T74" fmla="*/ 0 w 20"/>
                <a:gd name="T75" fmla="*/ 14 h 21"/>
                <a:gd name="T76" fmla="*/ 0 w 20"/>
                <a:gd name="T7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0" h="21">
                  <a:moveTo>
                    <a:pt x="0" y="14"/>
                  </a:moveTo>
                  <a:lnTo>
                    <a:pt x="0" y="14"/>
                  </a:lnTo>
                  <a:lnTo>
                    <a:pt x="0" y="17"/>
                  </a:lnTo>
                  <a:lnTo>
                    <a:pt x="2" y="20"/>
                  </a:lnTo>
                  <a:lnTo>
                    <a:pt x="4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7" y="16"/>
                  </a:lnTo>
                  <a:lnTo>
                    <a:pt x="19" y="13"/>
                  </a:lnTo>
                  <a:lnTo>
                    <a:pt x="20" y="10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4"/>
                  </a:lnTo>
                  <a:lnTo>
                    <a:pt x="17" y="1"/>
                  </a:lnTo>
                  <a:lnTo>
                    <a:pt x="14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6" y="1"/>
                  </a:lnTo>
                  <a:lnTo>
                    <a:pt x="3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38" name="Freeform 92"/>
            <p:cNvSpPr>
              <a:spLocks/>
            </p:cNvSpPr>
            <p:nvPr/>
          </p:nvSpPr>
          <p:spPr bwMode="auto">
            <a:xfrm>
              <a:off x="1458913" y="2117725"/>
              <a:ext cx="19050" cy="23813"/>
            </a:xfrm>
            <a:custGeom>
              <a:avLst/>
              <a:gdLst>
                <a:gd name="T0" fmla="*/ 14 w 24"/>
                <a:gd name="T1" fmla="*/ 0 h 30"/>
                <a:gd name="T2" fmla="*/ 14 w 24"/>
                <a:gd name="T3" fmla="*/ 0 h 30"/>
                <a:gd name="T4" fmla="*/ 10 w 24"/>
                <a:gd name="T5" fmla="*/ 1 h 30"/>
                <a:gd name="T6" fmla="*/ 7 w 24"/>
                <a:gd name="T7" fmla="*/ 4 h 30"/>
                <a:gd name="T8" fmla="*/ 7 w 24"/>
                <a:gd name="T9" fmla="*/ 4 h 30"/>
                <a:gd name="T10" fmla="*/ 6 w 24"/>
                <a:gd name="T11" fmla="*/ 5 h 30"/>
                <a:gd name="T12" fmla="*/ 6 w 24"/>
                <a:gd name="T13" fmla="*/ 5 h 30"/>
                <a:gd name="T14" fmla="*/ 3 w 24"/>
                <a:gd name="T15" fmla="*/ 7 h 30"/>
                <a:gd name="T16" fmla="*/ 1 w 24"/>
                <a:gd name="T17" fmla="*/ 10 h 30"/>
                <a:gd name="T18" fmla="*/ 1 w 24"/>
                <a:gd name="T19" fmla="*/ 10 h 30"/>
                <a:gd name="T20" fmla="*/ 0 w 24"/>
                <a:gd name="T21" fmla="*/ 11 h 30"/>
                <a:gd name="T22" fmla="*/ 0 w 24"/>
                <a:gd name="T23" fmla="*/ 11 h 30"/>
                <a:gd name="T24" fmla="*/ 0 w 24"/>
                <a:gd name="T25" fmla="*/ 17 h 30"/>
                <a:gd name="T26" fmla="*/ 0 w 24"/>
                <a:gd name="T27" fmla="*/ 22 h 30"/>
                <a:gd name="T28" fmla="*/ 3 w 24"/>
                <a:gd name="T29" fmla="*/ 27 h 30"/>
                <a:gd name="T30" fmla="*/ 4 w 24"/>
                <a:gd name="T31" fmla="*/ 28 h 30"/>
                <a:gd name="T32" fmla="*/ 7 w 24"/>
                <a:gd name="T33" fmla="*/ 30 h 30"/>
                <a:gd name="T34" fmla="*/ 7 w 24"/>
                <a:gd name="T35" fmla="*/ 30 h 30"/>
                <a:gd name="T36" fmla="*/ 9 w 24"/>
                <a:gd name="T37" fmla="*/ 30 h 30"/>
                <a:gd name="T38" fmla="*/ 9 w 24"/>
                <a:gd name="T39" fmla="*/ 30 h 30"/>
                <a:gd name="T40" fmla="*/ 11 w 24"/>
                <a:gd name="T41" fmla="*/ 28 h 30"/>
                <a:gd name="T42" fmla="*/ 11 w 24"/>
                <a:gd name="T43" fmla="*/ 28 h 30"/>
                <a:gd name="T44" fmla="*/ 13 w 24"/>
                <a:gd name="T45" fmla="*/ 27 h 30"/>
                <a:gd name="T46" fmla="*/ 13 w 24"/>
                <a:gd name="T47" fmla="*/ 24 h 30"/>
                <a:gd name="T48" fmla="*/ 13 w 24"/>
                <a:gd name="T49" fmla="*/ 24 h 30"/>
                <a:gd name="T50" fmla="*/ 13 w 24"/>
                <a:gd name="T51" fmla="*/ 21 h 30"/>
                <a:gd name="T52" fmla="*/ 13 w 24"/>
                <a:gd name="T53" fmla="*/ 21 h 30"/>
                <a:gd name="T54" fmla="*/ 13 w 24"/>
                <a:gd name="T55" fmla="*/ 21 h 30"/>
                <a:gd name="T56" fmla="*/ 13 w 24"/>
                <a:gd name="T57" fmla="*/ 21 h 30"/>
                <a:gd name="T58" fmla="*/ 13 w 24"/>
                <a:gd name="T59" fmla="*/ 21 h 30"/>
                <a:gd name="T60" fmla="*/ 13 w 24"/>
                <a:gd name="T61" fmla="*/ 21 h 30"/>
                <a:gd name="T62" fmla="*/ 14 w 24"/>
                <a:gd name="T63" fmla="*/ 21 h 30"/>
                <a:gd name="T64" fmla="*/ 14 w 24"/>
                <a:gd name="T65" fmla="*/ 21 h 30"/>
                <a:gd name="T66" fmla="*/ 20 w 24"/>
                <a:gd name="T67" fmla="*/ 17 h 30"/>
                <a:gd name="T68" fmla="*/ 20 w 24"/>
                <a:gd name="T69" fmla="*/ 17 h 30"/>
                <a:gd name="T70" fmla="*/ 23 w 24"/>
                <a:gd name="T71" fmla="*/ 14 h 30"/>
                <a:gd name="T72" fmla="*/ 24 w 24"/>
                <a:gd name="T73" fmla="*/ 11 h 30"/>
                <a:gd name="T74" fmla="*/ 24 w 24"/>
                <a:gd name="T75" fmla="*/ 8 h 30"/>
                <a:gd name="T76" fmla="*/ 23 w 24"/>
                <a:gd name="T77" fmla="*/ 5 h 30"/>
                <a:gd name="T78" fmla="*/ 23 w 24"/>
                <a:gd name="T79" fmla="*/ 5 h 30"/>
                <a:gd name="T80" fmla="*/ 20 w 24"/>
                <a:gd name="T81" fmla="*/ 1 h 30"/>
                <a:gd name="T82" fmla="*/ 16 w 24"/>
                <a:gd name="T83" fmla="*/ 0 h 30"/>
                <a:gd name="T84" fmla="*/ 14 w 24"/>
                <a:gd name="T8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" h="30">
                  <a:moveTo>
                    <a:pt x="14" y="0"/>
                  </a:moveTo>
                  <a:lnTo>
                    <a:pt x="14" y="0"/>
                  </a:lnTo>
                  <a:lnTo>
                    <a:pt x="10" y="1"/>
                  </a:lnTo>
                  <a:lnTo>
                    <a:pt x="7" y="4"/>
                  </a:lnTo>
                  <a:lnTo>
                    <a:pt x="7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0" y="22"/>
                  </a:lnTo>
                  <a:lnTo>
                    <a:pt x="3" y="27"/>
                  </a:lnTo>
                  <a:lnTo>
                    <a:pt x="4" y="28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3" y="27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3" y="14"/>
                  </a:lnTo>
                  <a:lnTo>
                    <a:pt x="24" y="11"/>
                  </a:lnTo>
                  <a:lnTo>
                    <a:pt x="24" y="8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0" y="1"/>
                  </a:lnTo>
                  <a:lnTo>
                    <a:pt x="16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39" name="Freeform 93"/>
            <p:cNvSpPr>
              <a:spLocks/>
            </p:cNvSpPr>
            <p:nvPr/>
          </p:nvSpPr>
          <p:spPr bwMode="auto">
            <a:xfrm>
              <a:off x="1127125" y="2063750"/>
              <a:ext cx="77788" cy="42863"/>
            </a:xfrm>
            <a:custGeom>
              <a:avLst/>
              <a:gdLst>
                <a:gd name="T0" fmla="*/ 93 w 97"/>
                <a:gd name="T1" fmla="*/ 0 h 54"/>
                <a:gd name="T2" fmla="*/ 81 w 97"/>
                <a:gd name="T3" fmla="*/ 4 h 54"/>
                <a:gd name="T4" fmla="*/ 79 w 97"/>
                <a:gd name="T5" fmla="*/ 6 h 54"/>
                <a:gd name="T6" fmla="*/ 64 w 97"/>
                <a:gd name="T7" fmla="*/ 11 h 54"/>
                <a:gd name="T8" fmla="*/ 61 w 97"/>
                <a:gd name="T9" fmla="*/ 13 h 54"/>
                <a:gd name="T10" fmla="*/ 57 w 97"/>
                <a:gd name="T11" fmla="*/ 14 h 54"/>
                <a:gd name="T12" fmla="*/ 53 w 97"/>
                <a:gd name="T13" fmla="*/ 17 h 54"/>
                <a:gd name="T14" fmla="*/ 51 w 97"/>
                <a:gd name="T15" fmla="*/ 19 h 54"/>
                <a:gd name="T16" fmla="*/ 50 w 97"/>
                <a:gd name="T17" fmla="*/ 20 h 54"/>
                <a:gd name="T18" fmla="*/ 46 w 97"/>
                <a:gd name="T19" fmla="*/ 20 h 54"/>
                <a:gd name="T20" fmla="*/ 43 w 97"/>
                <a:gd name="T21" fmla="*/ 20 h 54"/>
                <a:gd name="T22" fmla="*/ 43 w 97"/>
                <a:gd name="T23" fmla="*/ 20 h 54"/>
                <a:gd name="T24" fmla="*/ 36 w 97"/>
                <a:gd name="T25" fmla="*/ 24 h 54"/>
                <a:gd name="T26" fmla="*/ 36 w 97"/>
                <a:gd name="T27" fmla="*/ 24 h 54"/>
                <a:gd name="T28" fmla="*/ 33 w 97"/>
                <a:gd name="T29" fmla="*/ 26 h 54"/>
                <a:gd name="T30" fmla="*/ 27 w 97"/>
                <a:gd name="T31" fmla="*/ 27 h 54"/>
                <a:gd name="T32" fmla="*/ 26 w 97"/>
                <a:gd name="T33" fmla="*/ 27 h 54"/>
                <a:gd name="T34" fmla="*/ 24 w 97"/>
                <a:gd name="T35" fmla="*/ 26 h 54"/>
                <a:gd name="T36" fmla="*/ 21 w 97"/>
                <a:gd name="T37" fmla="*/ 26 h 54"/>
                <a:gd name="T38" fmla="*/ 16 w 97"/>
                <a:gd name="T39" fmla="*/ 29 h 54"/>
                <a:gd name="T40" fmla="*/ 14 w 97"/>
                <a:gd name="T41" fmla="*/ 30 h 54"/>
                <a:gd name="T42" fmla="*/ 10 w 97"/>
                <a:gd name="T43" fmla="*/ 31 h 54"/>
                <a:gd name="T44" fmla="*/ 4 w 97"/>
                <a:gd name="T45" fmla="*/ 36 h 54"/>
                <a:gd name="T46" fmla="*/ 0 w 97"/>
                <a:gd name="T47" fmla="*/ 41 h 54"/>
                <a:gd name="T48" fmla="*/ 0 w 97"/>
                <a:gd name="T49" fmla="*/ 47 h 54"/>
                <a:gd name="T50" fmla="*/ 3 w 97"/>
                <a:gd name="T51" fmla="*/ 51 h 54"/>
                <a:gd name="T52" fmla="*/ 9 w 97"/>
                <a:gd name="T53" fmla="*/ 54 h 54"/>
                <a:gd name="T54" fmla="*/ 11 w 97"/>
                <a:gd name="T55" fmla="*/ 54 h 54"/>
                <a:gd name="T56" fmla="*/ 16 w 97"/>
                <a:gd name="T57" fmla="*/ 53 h 54"/>
                <a:gd name="T58" fmla="*/ 17 w 97"/>
                <a:gd name="T59" fmla="*/ 50 h 54"/>
                <a:gd name="T60" fmla="*/ 20 w 97"/>
                <a:gd name="T61" fmla="*/ 49 h 54"/>
                <a:gd name="T62" fmla="*/ 27 w 97"/>
                <a:gd name="T63" fmla="*/ 47 h 54"/>
                <a:gd name="T64" fmla="*/ 29 w 97"/>
                <a:gd name="T65" fmla="*/ 47 h 54"/>
                <a:gd name="T66" fmla="*/ 41 w 97"/>
                <a:gd name="T67" fmla="*/ 43 h 54"/>
                <a:gd name="T68" fmla="*/ 47 w 97"/>
                <a:gd name="T69" fmla="*/ 40 h 54"/>
                <a:gd name="T70" fmla="*/ 54 w 97"/>
                <a:gd name="T71" fmla="*/ 39 h 54"/>
                <a:gd name="T72" fmla="*/ 61 w 97"/>
                <a:gd name="T73" fmla="*/ 37 h 54"/>
                <a:gd name="T74" fmla="*/ 66 w 97"/>
                <a:gd name="T75" fmla="*/ 33 h 54"/>
                <a:gd name="T76" fmla="*/ 73 w 97"/>
                <a:gd name="T77" fmla="*/ 23 h 54"/>
                <a:gd name="T78" fmla="*/ 74 w 97"/>
                <a:gd name="T79" fmla="*/ 20 h 54"/>
                <a:gd name="T80" fmla="*/ 81 w 97"/>
                <a:gd name="T81" fmla="*/ 17 h 54"/>
                <a:gd name="T82" fmla="*/ 84 w 97"/>
                <a:gd name="T83" fmla="*/ 17 h 54"/>
                <a:gd name="T84" fmla="*/ 87 w 97"/>
                <a:gd name="T85" fmla="*/ 17 h 54"/>
                <a:gd name="T86" fmla="*/ 91 w 97"/>
                <a:gd name="T87" fmla="*/ 17 h 54"/>
                <a:gd name="T88" fmla="*/ 96 w 97"/>
                <a:gd name="T89" fmla="*/ 14 h 54"/>
                <a:gd name="T90" fmla="*/ 97 w 97"/>
                <a:gd name="T91" fmla="*/ 11 h 54"/>
                <a:gd name="T92" fmla="*/ 97 w 97"/>
                <a:gd name="T93" fmla="*/ 10 h 54"/>
                <a:gd name="T94" fmla="*/ 97 w 97"/>
                <a:gd name="T95" fmla="*/ 9 h 54"/>
                <a:gd name="T96" fmla="*/ 97 w 97"/>
                <a:gd name="T97" fmla="*/ 7 h 54"/>
                <a:gd name="T98" fmla="*/ 97 w 97"/>
                <a:gd name="T99" fmla="*/ 3 h 54"/>
                <a:gd name="T100" fmla="*/ 97 w 97"/>
                <a:gd name="T101" fmla="*/ 1 h 54"/>
                <a:gd name="T102" fmla="*/ 93 w 97"/>
                <a:gd name="T10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7" h="54">
                  <a:moveTo>
                    <a:pt x="93" y="0"/>
                  </a:moveTo>
                  <a:lnTo>
                    <a:pt x="93" y="0"/>
                  </a:lnTo>
                  <a:lnTo>
                    <a:pt x="87" y="1"/>
                  </a:lnTo>
                  <a:lnTo>
                    <a:pt x="81" y="4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3" y="10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1" y="13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4" y="16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0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39" y="21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0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4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4" y="36"/>
                  </a:lnTo>
                  <a:lnTo>
                    <a:pt x="1" y="39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7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4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6" y="53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3" y="47"/>
                  </a:lnTo>
                  <a:lnTo>
                    <a:pt x="27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34" y="47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7" y="40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7" y="39"/>
                  </a:lnTo>
                  <a:lnTo>
                    <a:pt x="61" y="37"/>
                  </a:lnTo>
                  <a:lnTo>
                    <a:pt x="66" y="33"/>
                  </a:lnTo>
                  <a:lnTo>
                    <a:pt x="66" y="33"/>
                  </a:lnTo>
                  <a:lnTo>
                    <a:pt x="70" y="29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4" y="20"/>
                  </a:lnTo>
                  <a:lnTo>
                    <a:pt x="76" y="19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91" y="17"/>
                  </a:lnTo>
                  <a:lnTo>
                    <a:pt x="94" y="16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7" y="11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3"/>
                  </a:lnTo>
                  <a:lnTo>
                    <a:pt x="97" y="1"/>
                  </a:lnTo>
                  <a:lnTo>
                    <a:pt x="97" y="1"/>
                  </a:lnTo>
                  <a:lnTo>
                    <a:pt x="96" y="1"/>
                  </a:lnTo>
                  <a:lnTo>
                    <a:pt x="93" y="0"/>
                  </a:lnTo>
                  <a:lnTo>
                    <a:pt x="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40" name="Freeform 94"/>
            <p:cNvSpPr>
              <a:spLocks/>
            </p:cNvSpPr>
            <p:nvPr/>
          </p:nvSpPr>
          <p:spPr bwMode="auto">
            <a:xfrm>
              <a:off x="990600" y="2025650"/>
              <a:ext cx="34925" cy="14288"/>
            </a:xfrm>
            <a:custGeom>
              <a:avLst/>
              <a:gdLst>
                <a:gd name="T0" fmla="*/ 4 w 44"/>
                <a:gd name="T1" fmla="*/ 16 h 19"/>
                <a:gd name="T2" fmla="*/ 4 w 44"/>
                <a:gd name="T3" fmla="*/ 16 h 19"/>
                <a:gd name="T4" fmla="*/ 10 w 44"/>
                <a:gd name="T5" fmla="*/ 19 h 19"/>
                <a:gd name="T6" fmla="*/ 15 w 44"/>
                <a:gd name="T7" fmla="*/ 19 h 19"/>
                <a:gd name="T8" fmla="*/ 15 w 44"/>
                <a:gd name="T9" fmla="*/ 19 h 19"/>
                <a:gd name="T10" fmla="*/ 20 w 44"/>
                <a:gd name="T11" fmla="*/ 19 h 19"/>
                <a:gd name="T12" fmla="*/ 20 w 44"/>
                <a:gd name="T13" fmla="*/ 19 h 19"/>
                <a:gd name="T14" fmla="*/ 31 w 44"/>
                <a:gd name="T15" fmla="*/ 17 h 19"/>
                <a:gd name="T16" fmla="*/ 37 w 44"/>
                <a:gd name="T17" fmla="*/ 14 h 19"/>
                <a:gd name="T18" fmla="*/ 41 w 44"/>
                <a:gd name="T19" fmla="*/ 11 h 19"/>
                <a:gd name="T20" fmla="*/ 41 w 44"/>
                <a:gd name="T21" fmla="*/ 11 h 19"/>
                <a:gd name="T22" fmla="*/ 44 w 44"/>
                <a:gd name="T23" fmla="*/ 7 h 19"/>
                <a:gd name="T24" fmla="*/ 44 w 44"/>
                <a:gd name="T25" fmla="*/ 3 h 19"/>
                <a:gd name="T26" fmla="*/ 44 w 44"/>
                <a:gd name="T27" fmla="*/ 0 h 19"/>
                <a:gd name="T28" fmla="*/ 41 w 44"/>
                <a:gd name="T29" fmla="*/ 0 h 19"/>
                <a:gd name="T30" fmla="*/ 41 w 44"/>
                <a:gd name="T31" fmla="*/ 0 h 19"/>
                <a:gd name="T32" fmla="*/ 32 w 44"/>
                <a:gd name="T33" fmla="*/ 0 h 19"/>
                <a:gd name="T34" fmla="*/ 22 w 44"/>
                <a:gd name="T35" fmla="*/ 3 h 19"/>
                <a:gd name="T36" fmla="*/ 22 w 44"/>
                <a:gd name="T37" fmla="*/ 3 h 19"/>
                <a:gd name="T38" fmla="*/ 18 w 44"/>
                <a:gd name="T39" fmla="*/ 3 h 19"/>
                <a:gd name="T40" fmla="*/ 18 w 44"/>
                <a:gd name="T41" fmla="*/ 3 h 19"/>
                <a:gd name="T42" fmla="*/ 11 w 44"/>
                <a:gd name="T43" fmla="*/ 3 h 19"/>
                <a:gd name="T44" fmla="*/ 11 w 44"/>
                <a:gd name="T45" fmla="*/ 3 h 19"/>
                <a:gd name="T46" fmla="*/ 2 w 44"/>
                <a:gd name="T47" fmla="*/ 1 h 19"/>
                <a:gd name="T48" fmla="*/ 0 w 44"/>
                <a:gd name="T49" fmla="*/ 1 h 19"/>
                <a:gd name="T50" fmla="*/ 0 w 44"/>
                <a:gd name="T51" fmla="*/ 4 h 19"/>
                <a:gd name="T52" fmla="*/ 0 w 44"/>
                <a:gd name="T53" fmla="*/ 6 h 19"/>
                <a:gd name="T54" fmla="*/ 0 w 44"/>
                <a:gd name="T55" fmla="*/ 6 h 19"/>
                <a:gd name="T56" fmla="*/ 1 w 44"/>
                <a:gd name="T57" fmla="*/ 11 h 19"/>
                <a:gd name="T58" fmla="*/ 2 w 44"/>
                <a:gd name="T59" fmla="*/ 13 h 19"/>
                <a:gd name="T60" fmla="*/ 4 w 44"/>
                <a:gd name="T61" fmla="*/ 16 h 19"/>
                <a:gd name="T62" fmla="*/ 4 w 44"/>
                <a:gd name="T63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4" h="19">
                  <a:moveTo>
                    <a:pt x="4" y="16"/>
                  </a:moveTo>
                  <a:lnTo>
                    <a:pt x="4" y="16"/>
                  </a:lnTo>
                  <a:lnTo>
                    <a:pt x="10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31" y="17"/>
                  </a:lnTo>
                  <a:lnTo>
                    <a:pt x="37" y="14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4" y="7"/>
                  </a:lnTo>
                  <a:lnTo>
                    <a:pt x="44" y="3"/>
                  </a:lnTo>
                  <a:lnTo>
                    <a:pt x="44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32" y="0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11"/>
                  </a:lnTo>
                  <a:lnTo>
                    <a:pt x="2" y="13"/>
                  </a:lnTo>
                  <a:lnTo>
                    <a:pt x="4" y="16"/>
                  </a:lnTo>
                  <a:lnTo>
                    <a:pt x="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41" name="Freeform 95"/>
            <p:cNvSpPr>
              <a:spLocks/>
            </p:cNvSpPr>
            <p:nvPr/>
          </p:nvSpPr>
          <p:spPr bwMode="auto">
            <a:xfrm>
              <a:off x="889000" y="2119313"/>
              <a:ext cx="107950" cy="38100"/>
            </a:xfrm>
            <a:custGeom>
              <a:avLst/>
              <a:gdLst>
                <a:gd name="T0" fmla="*/ 119 w 136"/>
                <a:gd name="T1" fmla="*/ 0 h 48"/>
                <a:gd name="T2" fmla="*/ 109 w 136"/>
                <a:gd name="T3" fmla="*/ 3 h 48"/>
                <a:gd name="T4" fmla="*/ 91 w 136"/>
                <a:gd name="T5" fmla="*/ 8 h 48"/>
                <a:gd name="T6" fmla="*/ 84 w 136"/>
                <a:gd name="T7" fmla="*/ 9 h 48"/>
                <a:gd name="T8" fmla="*/ 77 w 136"/>
                <a:gd name="T9" fmla="*/ 15 h 48"/>
                <a:gd name="T10" fmla="*/ 74 w 136"/>
                <a:gd name="T11" fmla="*/ 18 h 48"/>
                <a:gd name="T12" fmla="*/ 64 w 136"/>
                <a:gd name="T13" fmla="*/ 20 h 48"/>
                <a:gd name="T14" fmla="*/ 50 w 136"/>
                <a:gd name="T15" fmla="*/ 26 h 48"/>
                <a:gd name="T16" fmla="*/ 44 w 136"/>
                <a:gd name="T17" fmla="*/ 28 h 48"/>
                <a:gd name="T18" fmla="*/ 33 w 136"/>
                <a:gd name="T19" fmla="*/ 28 h 48"/>
                <a:gd name="T20" fmla="*/ 26 w 136"/>
                <a:gd name="T21" fmla="*/ 29 h 48"/>
                <a:gd name="T22" fmla="*/ 19 w 136"/>
                <a:gd name="T23" fmla="*/ 30 h 48"/>
                <a:gd name="T24" fmla="*/ 14 w 136"/>
                <a:gd name="T25" fmla="*/ 33 h 48"/>
                <a:gd name="T26" fmla="*/ 9 w 136"/>
                <a:gd name="T27" fmla="*/ 36 h 48"/>
                <a:gd name="T28" fmla="*/ 3 w 136"/>
                <a:gd name="T29" fmla="*/ 39 h 48"/>
                <a:gd name="T30" fmla="*/ 0 w 136"/>
                <a:gd name="T31" fmla="*/ 48 h 48"/>
                <a:gd name="T32" fmla="*/ 3 w 136"/>
                <a:gd name="T33" fmla="*/ 48 h 48"/>
                <a:gd name="T34" fmla="*/ 11 w 136"/>
                <a:gd name="T35" fmla="*/ 46 h 48"/>
                <a:gd name="T36" fmla="*/ 16 w 136"/>
                <a:gd name="T37" fmla="*/ 45 h 48"/>
                <a:gd name="T38" fmla="*/ 23 w 136"/>
                <a:gd name="T39" fmla="*/ 45 h 48"/>
                <a:gd name="T40" fmla="*/ 34 w 136"/>
                <a:gd name="T41" fmla="*/ 43 h 48"/>
                <a:gd name="T42" fmla="*/ 37 w 136"/>
                <a:gd name="T43" fmla="*/ 42 h 48"/>
                <a:gd name="T44" fmla="*/ 41 w 136"/>
                <a:gd name="T45" fmla="*/ 42 h 48"/>
                <a:gd name="T46" fmla="*/ 46 w 136"/>
                <a:gd name="T47" fmla="*/ 40 h 48"/>
                <a:gd name="T48" fmla="*/ 47 w 136"/>
                <a:gd name="T49" fmla="*/ 35 h 48"/>
                <a:gd name="T50" fmla="*/ 49 w 136"/>
                <a:gd name="T51" fmla="*/ 35 h 48"/>
                <a:gd name="T52" fmla="*/ 53 w 136"/>
                <a:gd name="T53" fmla="*/ 33 h 48"/>
                <a:gd name="T54" fmla="*/ 60 w 136"/>
                <a:gd name="T55" fmla="*/ 35 h 48"/>
                <a:gd name="T56" fmla="*/ 67 w 136"/>
                <a:gd name="T57" fmla="*/ 33 h 48"/>
                <a:gd name="T58" fmla="*/ 73 w 136"/>
                <a:gd name="T59" fmla="*/ 32 h 48"/>
                <a:gd name="T60" fmla="*/ 79 w 136"/>
                <a:gd name="T61" fmla="*/ 30 h 48"/>
                <a:gd name="T62" fmla="*/ 84 w 136"/>
                <a:gd name="T63" fmla="*/ 26 h 48"/>
                <a:gd name="T64" fmla="*/ 87 w 136"/>
                <a:gd name="T65" fmla="*/ 26 h 48"/>
                <a:gd name="T66" fmla="*/ 94 w 136"/>
                <a:gd name="T67" fmla="*/ 25 h 48"/>
                <a:gd name="T68" fmla="*/ 100 w 136"/>
                <a:gd name="T69" fmla="*/ 22 h 48"/>
                <a:gd name="T70" fmla="*/ 103 w 136"/>
                <a:gd name="T71" fmla="*/ 20 h 48"/>
                <a:gd name="T72" fmla="*/ 106 w 136"/>
                <a:gd name="T73" fmla="*/ 25 h 48"/>
                <a:gd name="T74" fmla="*/ 114 w 136"/>
                <a:gd name="T75" fmla="*/ 28 h 48"/>
                <a:gd name="T76" fmla="*/ 121 w 136"/>
                <a:gd name="T77" fmla="*/ 25 h 48"/>
                <a:gd name="T78" fmla="*/ 126 w 136"/>
                <a:gd name="T79" fmla="*/ 23 h 48"/>
                <a:gd name="T80" fmla="*/ 134 w 136"/>
                <a:gd name="T81" fmla="*/ 18 h 48"/>
                <a:gd name="T82" fmla="*/ 136 w 136"/>
                <a:gd name="T83" fmla="*/ 8 h 48"/>
                <a:gd name="T84" fmla="*/ 131 w 136"/>
                <a:gd name="T8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6" h="48">
                  <a:moveTo>
                    <a:pt x="127" y="0"/>
                  </a:moveTo>
                  <a:lnTo>
                    <a:pt x="127" y="0"/>
                  </a:lnTo>
                  <a:lnTo>
                    <a:pt x="119" y="0"/>
                  </a:lnTo>
                  <a:lnTo>
                    <a:pt x="110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1" y="6"/>
                  </a:lnTo>
                  <a:lnTo>
                    <a:pt x="93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86" y="8"/>
                  </a:lnTo>
                  <a:lnTo>
                    <a:pt x="84" y="9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0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0" y="22"/>
                  </a:lnTo>
                  <a:lnTo>
                    <a:pt x="54" y="23"/>
                  </a:lnTo>
                  <a:lnTo>
                    <a:pt x="50" y="26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4" y="28"/>
                  </a:lnTo>
                  <a:lnTo>
                    <a:pt x="39" y="26"/>
                  </a:lnTo>
                  <a:lnTo>
                    <a:pt x="39" y="26"/>
                  </a:lnTo>
                  <a:lnTo>
                    <a:pt x="33" y="28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6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6" y="38"/>
                  </a:lnTo>
                  <a:lnTo>
                    <a:pt x="3" y="39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9" y="48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6" y="45"/>
                  </a:lnTo>
                  <a:lnTo>
                    <a:pt x="20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3" y="42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7" y="38"/>
                  </a:lnTo>
                  <a:lnTo>
                    <a:pt x="47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3" y="32"/>
                  </a:lnTo>
                  <a:lnTo>
                    <a:pt x="73" y="32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4" y="25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6" y="25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9" y="28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30" y="22"/>
                  </a:lnTo>
                  <a:lnTo>
                    <a:pt x="133" y="20"/>
                  </a:lnTo>
                  <a:lnTo>
                    <a:pt x="134" y="18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1" y="0"/>
                  </a:lnTo>
                  <a:lnTo>
                    <a:pt x="127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42" name="Freeform 96"/>
            <p:cNvSpPr>
              <a:spLocks/>
            </p:cNvSpPr>
            <p:nvPr/>
          </p:nvSpPr>
          <p:spPr bwMode="auto">
            <a:xfrm>
              <a:off x="2297113" y="1754188"/>
              <a:ext cx="92075" cy="52388"/>
            </a:xfrm>
            <a:custGeom>
              <a:avLst/>
              <a:gdLst>
                <a:gd name="T0" fmla="*/ 43 w 116"/>
                <a:gd name="T1" fmla="*/ 10 h 67"/>
                <a:gd name="T2" fmla="*/ 43 w 116"/>
                <a:gd name="T3" fmla="*/ 14 h 67"/>
                <a:gd name="T4" fmla="*/ 47 w 116"/>
                <a:gd name="T5" fmla="*/ 19 h 67"/>
                <a:gd name="T6" fmla="*/ 49 w 116"/>
                <a:gd name="T7" fmla="*/ 20 h 67"/>
                <a:gd name="T8" fmla="*/ 44 w 116"/>
                <a:gd name="T9" fmla="*/ 23 h 67"/>
                <a:gd name="T10" fmla="*/ 41 w 116"/>
                <a:gd name="T11" fmla="*/ 24 h 67"/>
                <a:gd name="T12" fmla="*/ 39 w 116"/>
                <a:gd name="T13" fmla="*/ 27 h 67"/>
                <a:gd name="T14" fmla="*/ 34 w 116"/>
                <a:gd name="T15" fmla="*/ 29 h 67"/>
                <a:gd name="T16" fmla="*/ 27 w 116"/>
                <a:gd name="T17" fmla="*/ 24 h 67"/>
                <a:gd name="T18" fmla="*/ 23 w 116"/>
                <a:gd name="T19" fmla="*/ 20 h 67"/>
                <a:gd name="T20" fmla="*/ 14 w 116"/>
                <a:gd name="T21" fmla="*/ 20 h 67"/>
                <a:gd name="T22" fmla="*/ 1 w 116"/>
                <a:gd name="T23" fmla="*/ 26 h 67"/>
                <a:gd name="T24" fmla="*/ 0 w 116"/>
                <a:gd name="T25" fmla="*/ 30 h 67"/>
                <a:gd name="T26" fmla="*/ 4 w 116"/>
                <a:gd name="T27" fmla="*/ 37 h 67"/>
                <a:gd name="T28" fmla="*/ 13 w 116"/>
                <a:gd name="T29" fmla="*/ 42 h 67"/>
                <a:gd name="T30" fmla="*/ 19 w 116"/>
                <a:gd name="T31" fmla="*/ 44 h 67"/>
                <a:gd name="T32" fmla="*/ 21 w 116"/>
                <a:gd name="T33" fmla="*/ 52 h 67"/>
                <a:gd name="T34" fmla="*/ 26 w 116"/>
                <a:gd name="T35" fmla="*/ 60 h 67"/>
                <a:gd name="T36" fmla="*/ 40 w 116"/>
                <a:gd name="T37" fmla="*/ 67 h 67"/>
                <a:gd name="T38" fmla="*/ 44 w 116"/>
                <a:gd name="T39" fmla="*/ 66 h 67"/>
                <a:gd name="T40" fmla="*/ 53 w 116"/>
                <a:gd name="T41" fmla="*/ 60 h 67"/>
                <a:gd name="T42" fmla="*/ 60 w 116"/>
                <a:gd name="T43" fmla="*/ 57 h 67"/>
                <a:gd name="T44" fmla="*/ 64 w 116"/>
                <a:gd name="T45" fmla="*/ 57 h 67"/>
                <a:gd name="T46" fmla="*/ 69 w 116"/>
                <a:gd name="T47" fmla="*/ 59 h 67"/>
                <a:gd name="T48" fmla="*/ 74 w 116"/>
                <a:gd name="T49" fmla="*/ 57 h 67"/>
                <a:gd name="T50" fmla="*/ 79 w 116"/>
                <a:gd name="T51" fmla="*/ 56 h 67"/>
                <a:gd name="T52" fmla="*/ 83 w 116"/>
                <a:gd name="T53" fmla="*/ 56 h 67"/>
                <a:gd name="T54" fmla="*/ 87 w 116"/>
                <a:gd name="T55" fmla="*/ 54 h 67"/>
                <a:gd name="T56" fmla="*/ 90 w 116"/>
                <a:gd name="T57" fmla="*/ 52 h 67"/>
                <a:gd name="T58" fmla="*/ 90 w 116"/>
                <a:gd name="T59" fmla="*/ 50 h 67"/>
                <a:gd name="T60" fmla="*/ 94 w 116"/>
                <a:gd name="T61" fmla="*/ 47 h 67"/>
                <a:gd name="T62" fmla="*/ 99 w 116"/>
                <a:gd name="T63" fmla="*/ 46 h 67"/>
                <a:gd name="T64" fmla="*/ 101 w 116"/>
                <a:gd name="T65" fmla="*/ 42 h 67"/>
                <a:gd name="T66" fmla="*/ 103 w 116"/>
                <a:gd name="T67" fmla="*/ 40 h 67"/>
                <a:gd name="T68" fmla="*/ 107 w 116"/>
                <a:gd name="T69" fmla="*/ 39 h 67"/>
                <a:gd name="T70" fmla="*/ 109 w 116"/>
                <a:gd name="T71" fmla="*/ 33 h 67"/>
                <a:gd name="T72" fmla="*/ 106 w 116"/>
                <a:gd name="T73" fmla="*/ 30 h 67"/>
                <a:gd name="T74" fmla="*/ 104 w 116"/>
                <a:gd name="T75" fmla="*/ 29 h 67"/>
                <a:gd name="T76" fmla="*/ 101 w 116"/>
                <a:gd name="T77" fmla="*/ 24 h 67"/>
                <a:gd name="T78" fmla="*/ 104 w 116"/>
                <a:gd name="T79" fmla="*/ 22 h 67"/>
                <a:gd name="T80" fmla="*/ 109 w 116"/>
                <a:gd name="T81" fmla="*/ 19 h 67"/>
                <a:gd name="T82" fmla="*/ 114 w 116"/>
                <a:gd name="T83" fmla="*/ 17 h 67"/>
                <a:gd name="T84" fmla="*/ 116 w 116"/>
                <a:gd name="T85" fmla="*/ 13 h 67"/>
                <a:gd name="T86" fmla="*/ 113 w 116"/>
                <a:gd name="T87" fmla="*/ 7 h 67"/>
                <a:gd name="T88" fmla="*/ 107 w 116"/>
                <a:gd name="T89" fmla="*/ 4 h 67"/>
                <a:gd name="T90" fmla="*/ 100 w 116"/>
                <a:gd name="T91" fmla="*/ 0 h 67"/>
                <a:gd name="T92" fmla="*/ 93 w 116"/>
                <a:gd name="T93" fmla="*/ 2 h 67"/>
                <a:gd name="T94" fmla="*/ 81 w 116"/>
                <a:gd name="T95" fmla="*/ 4 h 67"/>
                <a:gd name="T96" fmla="*/ 77 w 116"/>
                <a:gd name="T97" fmla="*/ 3 h 67"/>
                <a:gd name="T98" fmla="*/ 64 w 116"/>
                <a:gd name="T99" fmla="*/ 3 h 67"/>
                <a:gd name="T100" fmla="*/ 59 w 116"/>
                <a:gd name="T101" fmla="*/ 6 h 67"/>
                <a:gd name="T102" fmla="*/ 54 w 116"/>
                <a:gd name="T103" fmla="*/ 6 h 67"/>
                <a:gd name="T104" fmla="*/ 44 w 116"/>
                <a:gd name="T105" fmla="*/ 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6" h="67">
                  <a:moveTo>
                    <a:pt x="44" y="7"/>
                  </a:moveTo>
                  <a:lnTo>
                    <a:pt x="44" y="7"/>
                  </a:lnTo>
                  <a:lnTo>
                    <a:pt x="43" y="10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3" y="14"/>
                  </a:lnTo>
                  <a:lnTo>
                    <a:pt x="46" y="17"/>
                  </a:lnTo>
                  <a:lnTo>
                    <a:pt x="46" y="17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2"/>
                  </a:lnTo>
                  <a:lnTo>
                    <a:pt x="23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4" y="20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" y="26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1" y="33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9" y="40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9" y="44"/>
                  </a:lnTo>
                  <a:lnTo>
                    <a:pt x="20" y="46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6" y="60"/>
                  </a:lnTo>
                  <a:lnTo>
                    <a:pt x="30" y="64"/>
                  </a:lnTo>
                  <a:lnTo>
                    <a:pt x="34" y="66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9" y="64"/>
                  </a:lnTo>
                  <a:lnTo>
                    <a:pt x="51" y="60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6" y="57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4" y="57"/>
                  </a:lnTo>
                  <a:lnTo>
                    <a:pt x="64" y="57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9" y="56"/>
                  </a:lnTo>
                  <a:lnTo>
                    <a:pt x="79" y="56"/>
                  </a:lnTo>
                  <a:lnTo>
                    <a:pt x="79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6" y="56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90" y="53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4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9" y="46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3" y="40"/>
                  </a:lnTo>
                  <a:lnTo>
                    <a:pt x="103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7" y="39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3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4" y="26"/>
                  </a:lnTo>
                  <a:lnTo>
                    <a:pt x="104" y="26"/>
                  </a:lnTo>
                  <a:lnTo>
                    <a:pt x="101" y="24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4" y="22"/>
                  </a:lnTo>
                  <a:lnTo>
                    <a:pt x="107" y="19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14" y="17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6" y="13"/>
                  </a:lnTo>
                  <a:lnTo>
                    <a:pt x="116" y="10"/>
                  </a:lnTo>
                  <a:lnTo>
                    <a:pt x="116" y="10"/>
                  </a:lnTo>
                  <a:lnTo>
                    <a:pt x="113" y="7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07" y="4"/>
                  </a:lnTo>
                  <a:lnTo>
                    <a:pt x="107" y="4"/>
                  </a:lnTo>
                  <a:lnTo>
                    <a:pt x="104" y="2"/>
                  </a:lnTo>
                  <a:lnTo>
                    <a:pt x="100" y="0"/>
                  </a:lnTo>
                  <a:lnTo>
                    <a:pt x="97" y="0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87" y="3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4" y="3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49" y="6"/>
                  </a:lnTo>
                  <a:lnTo>
                    <a:pt x="44" y="7"/>
                  </a:lnTo>
                  <a:lnTo>
                    <a:pt x="44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43" name="Freeform 97"/>
            <p:cNvSpPr>
              <a:spLocks/>
            </p:cNvSpPr>
            <p:nvPr/>
          </p:nvSpPr>
          <p:spPr bwMode="auto">
            <a:xfrm>
              <a:off x="2390775" y="1749425"/>
              <a:ext cx="104775" cy="44450"/>
            </a:xfrm>
            <a:custGeom>
              <a:avLst/>
              <a:gdLst>
                <a:gd name="T0" fmla="*/ 0 w 131"/>
                <a:gd name="T1" fmla="*/ 52 h 58"/>
                <a:gd name="T2" fmla="*/ 5 w 131"/>
                <a:gd name="T3" fmla="*/ 55 h 58"/>
                <a:gd name="T4" fmla="*/ 8 w 131"/>
                <a:gd name="T5" fmla="*/ 55 h 58"/>
                <a:gd name="T6" fmla="*/ 11 w 131"/>
                <a:gd name="T7" fmla="*/ 56 h 58"/>
                <a:gd name="T8" fmla="*/ 12 w 131"/>
                <a:gd name="T9" fmla="*/ 56 h 58"/>
                <a:gd name="T10" fmla="*/ 17 w 131"/>
                <a:gd name="T11" fmla="*/ 58 h 58"/>
                <a:gd name="T12" fmla="*/ 18 w 131"/>
                <a:gd name="T13" fmla="*/ 58 h 58"/>
                <a:gd name="T14" fmla="*/ 22 w 131"/>
                <a:gd name="T15" fmla="*/ 56 h 58"/>
                <a:gd name="T16" fmla="*/ 25 w 131"/>
                <a:gd name="T17" fmla="*/ 53 h 58"/>
                <a:gd name="T18" fmla="*/ 30 w 131"/>
                <a:gd name="T19" fmla="*/ 50 h 58"/>
                <a:gd name="T20" fmla="*/ 32 w 131"/>
                <a:gd name="T21" fmla="*/ 50 h 58"/>
                <a:gd name="T22" fmla="*/ 40 w 131"/>
                <a:gd name="T23" fmla="*/ 49 h 58"/>
                <a:gd name="T24" fmla="*/ 41 w 131"/>
                <a:gd name="T25" fmla="*/ 46 h 58"/>
                <a:gd name="T26" fmla="*/ 42 w 131"/>
                <a:gd name="T27" fmla="*/ 43 h 58"/>
                <a:gd name="T28" fmla="*/ 42 w 131"/>
                <a:gd name="T29" fmla="*/ 40 h 58"/>
                <a:gd name="T30" fmla="*/ 47 w 131"/>
                <a:gd name="T31" fmla="*/ 39 h 58"/>
                <a:gd name="T32" fmla="*/ 48 w 131"/>
                <a:gd name="T33" fmla="*/ 39 h 58"/>
                <a:gd name="T34" fmla="*/ 55 w 131"/>
                <a:gd name="T35" fmla="*/ 40 h 58"/>
                <a:gd name="T36" fmla="*/ 60 w 131"/>
                <a:gd name="T37" fmla="*/ 40 h 58"/>
                <a:gd name="T38" fmla="*/ 64 w 131"/>
                <a:gd name="T39" fmla="*/ 42 h 58"/>
                <a:gd name="T40" fmla="*/ 77 w 131"/>
                <a:gd name="T41" fmla="*/ 39 h 58"/>
                <a:gd name="T42" fmla="*/ 90 w 131"/>
                <a:gd name="T43" fmla="*/ 33 h 58"/>
                <a:gd name="T44" fmla="*/ 98 w 131"/>
                <a:gd name="T45" fmla="*/ 28 h 58"/>
                <a:gd name="T46" fmla="*/ 100 w 131"/>
                <a:gd name="T47" fmla="*/ 26 h 58"/>
                <a:gd name="T48" fmla="*/ 108 w 131"/>
                <a:gd name="T49" fmla="*/ 23 h 58"/>
                <a:gd name="T50" fmla="*/ 110 w 131"/>
                <a:gd name="T51" fmla="*/ 23 h 58"/>
                <a:gd name="T52" fmla="*/ 127 w 131"/>
                <a:gd name="T53" fmla="*/ 16 h 58"/>
                <a:gd name="T54" fmla="*/ 131 w 131"/>
                <a:gd name="T55" fmla="*/ 10 h 58"/>
                <a:gd name="T56" fmla="*/ 130 w 131"/>
                <a:gd name="T57" fmla="*/ 8 h 58"/>
                <a:gd name="T58" fmla="*/ 121 w 131"/>
                <a:gd name="T59" fmla="*/ 6 h 58"/>
                <a:gd name="T60" fmla="*/ 112 w 131"/>
                <a:gd name="T61" fmla="*/ 6 h 58"/>
                <a:gd name="T62" fmla="*/ 108 w 131"/>
                <a:gd name="T63" fmla="*/ 6 h 58"/>
                <a:gd name="T64" fmla="*/ 100 w 131"/>
                <a:gd name="T65" fmla="*/ 5 h 58"/>
                <a:gd name="T66" fmla="*/ 92 w 131"/>
                <a:gd name="T67" fmla="*/ 2 h 58"/>
                <a:gd name="T68" fmla="*/ 72 w 131"/>
                <a:gd name="T69" fmla="*/ 2 h 58"/>
                <a:gd name="T70" fmla="*/ 61 w 131"/>
                <a:gd name="T71" fmla="*/ 3 h 58"/>
                <a:gd name="T72" fmla="*/ 55 w 131"/>
                <a:gd name="T73" fmla="*/ 3 h 58"/>
                <a:gd name="T74" fmla="*/ 52 w 131"/>
                <a:gd name="T75" fmla="*/ 5 h 58"/>
                <a:gd name="T76" fmla="*/ 48 w 131"/>
                <a:gd name="T77" fmla="*/ 5 h 58"/>
                <a:gd name="T78" fmla="*/ 45 w 131"/>
                <a:gd name="T79" fmla="*/ 8 h 58"/>
                <a:gd name="T80" fmla="*/ 45 w 131"/>
                <a:gd name="T81" fmla="*/ 9 h 58"/>
                <a:gd name="T82" fmla="*/ 40 w 131"/>
                <a:gd name="T83" fmla="*/ 10 h 58"/>
                <a:gd name="T84" fmla="*/ 31 w 131"/>
                <a:gd name="T85" fmla="*/ 12 h 58"/>
                <a:gd name="T86" fmla="*/ 18 w 131"/>
                <a:gd name="T87" fmla="*/ 19 h 58"/>
                <a:gd name="T88" fmla="*/ 12 w 131"/>
                <a:gd name="T89" fmla="*/ 26 h 58"/>
                <a:gd name="T90" fmla="*/ 10 w 131"/>
                <a:gd name="T91" fmla="*/ 30 h 58"/>
                <a:gd name="T92" fmla="*/ 5 w 131"/>
                <a:gd name="T93" fmla="*/ 36 h 58"/>
                <a:gd name="T94" fmla="*/ 2 w 131"/>
                <a:gd name="T95" fmla="*/ 39 h 58"/>
                <a:gd name="T96" fmla="*/ 2 w 131"/>
                <a:gd name="T97" fmla="*/ 45 h 58"/>
                <a:gd name="T98" fmla="*/ 1 w 131"/>
                <a:gd name="T99" fmla="*/ 48 h 58"/>
                <a:gd name="T100" fmla="*/ 1 w 131"/>
                <a:gd name="T101" fmla="*/ 49 h 58"/>
                <a:gd name="T102" fmla="*/ 0 w 131"/>
                <a:gd name="T103" fmla="*/ 5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1" h="58">
                  <a:moveTo>
                    <a:pt x="0" y="52"/>
                  </a:moveTo>
                  <a:lnTo>
                    <a:pt x="0" y="52"/>
                  </a:lnTo>
                  <a:lnTo>
                    <a:pt x="2" y="53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22" y="56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7" y="49"/>
                  </a:lnTo>
                  <a:lnTo>
                    <a:pt x="40" y="49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4" y="39"/>
                  </a:lnTo>
                  <a:lnTo>
                    <a:pt x="47" y="39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70" y="40"/>
                  </a:lnTo>
                  <a:lnTo>
                    <a:pt x="77" y="39"/>
                  </a:lnTo>
                  <a:lnTo>
                    <a:pt x="87" y="33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98" y="28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4" y="25"/>
                  </a:lnTo>
                  <a:lnTo>
                    <a:pt x="108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20" y="20"/>
                  </a:lnTo>
                  <a:lnTo>
                    <a:pt x="127" y="16"/>
                  </a:lnTo>
                  <a:lnTo>
                    <a:pt x="130" y="13"/>
                  </a:lnTo>
                  <a:lnTo>
                    <a:pt x="131" y="10"/>
                  </a:lnTo>
                  <a:lnTo>
                    <a:pt x="131" y="9"/>
                  </a:lnTo>
                  <a:lnTo>
                    <a:pt x="130" y="8"/>
                  </a:lnTo>
                  <a:lnTo>
                    <a:pt x="130" y="8"/>
                  </a:lnTo>
                  <a:lnTo>
                    <a:pt x="121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4" y="6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92" y="2"/>
                  </a:lnTo>
                  <a:lnTo>
                    <a:pt x="82" y="0"/>
                  </a:lnTo>
                  <a:lnTo>
                    <a:pt x="72" y="2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58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2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2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31" y="12"/>
                  </a:lnTo>
                  <a:lnTo>
                    <a:pt x="25" y="15"/>
                  </a:lnTo>
                  <a:lnTo>
                    <a:pt x="18" y="19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2" y="39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9"/>
                  </a:lnTo>
                  <a:lnTo>
                    <a:pt x="0" y="52"/>
                  </a:lnTo>
                  <a:lnTo>
                    <a:pt x="0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44" name="Freeform 98"/>
            <p:cNvSpPr>
              <a:spLocks/>
            </p:cNvSpPr>
            <p:nvPr/>
          </p:nvSpPr>
          <p:spPr bwMode="auto">
            <a:xfrm>
              <a:off x="2432050" y="1722438"/>
              <a:ext cx="46038" cy="23813"/>
            </a:xfrm>
            <a:custGeom>
              <a:avLst/>
              <a:gdLst>
                <a:gd name="T0" fmla="*/ 10 w 59"/>
                <a:gd name="T1" fmla="*/ 24 h 30"/>
                <a:gd name="T2" fmla="*/ 10 w 59"/>
                <a:gd name="T3" fmla="*/ 24 h 30"/>
                <a:gd name="T4" fmla="*/ 16 w 59"/>
                <a:gd name="T5" fmla="*/ 29 h 30"/>
                <a:gd name="T6" fmla="*/ 21 w 59"/>
                <a:gd name="T7" fmla="*/ 30 h 30"/>
                <a:gd name="T8" fmla="*/ 29 w 59"/>
                <a:gd name="T9" fmla="*/ 30 h 30"/>
                <a:gd name="T10" fmla="*/ 29 w 59"/>
                <a:gd name="T11" fmla="*/ 30 h 30"/>
                <a:gd name="T12" fmla="*/ 30 w 59"/>
                <a:gd name="T13" fmla="*/ 30 h 30"/>
                <a:gd name="T14" fmla="*/ 30 w 59"/>
                <a:gd name="T15" fmla="*/ 30 h 30"/>
                <a:gd name="T16" fmla="*/ 41 w 59"/>
                <a:gd name="T17" fmla="*/ 29 h 30"/>
                <a:gd name="T18" fmla="*/ 51 w 59"/>
                <a:gd name="T19" fmla="*/ 26 h 30"/>
                <a:gd name="T20" fmla="*/ 51 w 59"/>
                <a:gd name="T21" fmla="*/ 26 h 30"/>
                <a:gd name="T22" fmla="*/ 56 w 59"/>
                <a:gd name="T23" fmla="*/ 23 h 30"/>
                <a:gd name="T24" fmla="*/ 57 w 59"/>
                <a:gd name="T25" fmla="*/ 20 h 30"/>
                <a:gd name="T26" fmla="*/ 59 w 59"/>
                <a:gd name="T27" fmla="*/ 17 h 30"/>
                <a:gd name="T28" fmla="*/ 59 w 59"/>
                <a:gd name="T29" fmla="*/ 13 h 30"/>
                <a:gd name="T30" fmla="*/ 59 w 59"/>
                <a:gd name="T31" fmla="*/ 13 h 30"/>
                <a:gd name="T32" fmla="*/ 56 w 59"/>
                <a:gd name="T33" fmla="*/ 7 h 30"/>
                <a:gd name="T34" fmla="*/ 51 w 59"/>
                <a:gd name="T35" fmla="*/ 3 h 30"/>
                <a:gd name="T36" fmla="*/ 46 w 59"/>
                <a:gd name="T37" fmla="*/ 0 h 30"/>
                <a:gd name="T38" fmla="*/ 40 w 59"/>
                <a:gd name="T39" fmla="*/ 0 h 30"/>
                <a:gd name="T40" fmla="*/ 40 w 59"/>
                <a:gd name="T41" fmla="*/ 0 h 30"/>
                <a:gd name="T42" fmla="*/ 37 w 59"/>
                <a:gd name="T43" fmla="*/ 0 h 30"/>
                <a:gd name="T44" fmla="*/ 37 w 59"/>
                <a:gd name="T45" fmla="*/ 0 h 30"/>
                <a:gd name="T46" fmla="*/ 30 w 59"/>
                <a:gd name="T47" fmla="*/ 2 h 30"/>
                <a:gd name="T48" fmla="*/ 30 w 59"/>
                <a:gd name="T49" fmla="*/ 2 h 30"/>
                <a:gd name="T50" fmla="*/ 21 w 59"/>
                <a:gd name="T51" fmla="*/ 3 h 30"/>
                <a:gd name="T52" fmla="*/ 21 w 59"/>
                <a:gd name="T53" fmla="*/ 3 h 30"/>
                <a:gd name="T54" fmla="*/ 17 w 59"/>
                <a:gd name="T55" fmla="*/ 3 h 30"/>
                <a:gd name="T56" fmla="*/ 17 w 59"/>
                <a:gd name="T57" fmla="*/ 3 h 30"/>
                <a:gd name="T58" fmla="*/ 13 w 59"/>
                <a:gd name="T59" fmla="*/ 3 h 30"/>
                <a:gd name="T60" fmla="*/ 7 w 59"/>
                <a:gd name="T61" fmla="*/ 4 h 30"/>
                <a:gd name="T62" fmla="*/ 7 w 59"/>
                <a:gd name="T63" fmla="*/ 4 h 30"/>
                <a:gd name="T64" fmla="*/ 4 w 59"/>
                <a:gd name="T65" fmla="*/ 6 h 30"/>
                <a:gd name="T66" fmla="*/ 3 w 59"/>
                <a:gd name="T67" fmla="*/ 9 h 30"/>
                <a:gd name="T68" fmla="*/ 3 w 59"/>
                <a:gd name="T69" fmla="*/ 9 h 30"/>
                <a:gd name="T70" fmla="*/ 3 w 59"/>
                <a:gd name="T71" fmla="*/ 10 h 30"/>
                <a:gd name="T72" fmla="*/ 3 w 59"/>
                <a:gd name="T73" fmla="*/ 10 h 30"/>
                <a:gd name="T74" fmla="*/ 1 w 59"/>
                <a:gd name="T75" fmla="*/ 12 h 30"/>
                <a:gd name="T76" fmla="*/ 1 w 59"/>
                <a:gd name="T77" fmla="*/ 12 h 30"/>
                <a:gd name="T78" fmla="*/ 0 w 59"/>
                <a:gd name="T79" fmla="*/ 16 h 30"/>
                <a:gd name="T80" fmla="*/ 0 w 59"/>
                <a:gd name="T81" fmla="*/ 16 h 30"/>
                <a:gd name="T82" fmla="*/ 0 w 59"/>
                <a:gd name="T83" fmla="*/ 17 h 30"/>
                <a:gd name="T84" fmla="*/ 1 w 59"/>
                <a:gd name="T85" fmla="*/ 20 h 30"/>
                <a:gd name="T86" fmla="*/ 1 w 59"/>
                <a:gd name="T87" fmla="*/ 20 h 30"/>
                <a:gd name="T88" fmla="*/ 4 w 59"/>
                <a:gd name="T89" fmla="*/ 23 h 30"/>
                <a:gd name="T90" fmla="*/ 10 w 59"/>
                <a:gd name="T91" fmla="*/ 23 h 30"/>
                <a:gd name="T92" fmla="*/ 10 w 59"/>
                <a:gd name="T93" fmla="*/ 23 h 30"/>
                <a:gd name="T94" fmla="*/ 10 w 59"/>
                <a:gd name="T95" fmla="*/ 24 h 30"/>
                <a:gd name="T96" fmla="*/ 10 w 59"/>
                <a:gd name="T9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9" h="30">
                  <a:moveTo>
                    <a:pt x="10" y="24"/>
                  </a:moveTo>
                  <a:lnTo>
                    <a:pt x="10" y="24"/>
                  </a:lnTo>
                  <a:lnTo>
                    <a:pt x="16" y="29"/>
                  </a:lnTo>
                  <a:lnTo>
                    <a:pt x="21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41" y="29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6" y="23"/>
                  </a:lnTo>
                  <a:lnTo>
                    <a:pt x="57" y="20"/>
                  </a:lnTo>
                  <a:lnTo>
                    <a:pt x="59" y="17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6" y="7"/>
                  </a:lnTo>
                  <a:lnTo>
                    <a:pt x="51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3" y="3"/>
                  </a:lnTo>
                  <a:lnTo>
                    <a:pt x="7" y="4"/>
                  </a:lnTo>
                  <a:lnTo>
                    <a:pt x="7" y="4"/>
                  </a:lnTo>
                  <a:lnTo>
                    <a:pt x="4" y="6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4"/>
                  </a:lnTo>
                  <a:lnTo>
                    <a:pt x="1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45" name="Freeform 99"/>
            <p:cNvSpPr>
              <a:spLocks noEditPoints="1"/>
            </p:cNvSpPr>
            <p:nvPr/>
          </p:nvSpPr>
          <p:spPr bwMode="auto">
            <a:xfrm>
              <a:off x="2093913" y="1690688"/>
              <a:ext cx="231775" cy="60325"/>
            </a:xfrm>
            <a:custGeom>
              <a:avLst/>
              <a:gdLst>
                <a:gd name="T0" fmla="*/ 16 w 292"/>
                <a:gd name="T1" fmla="*/ 37 h 77"/>
                <a:gd name="T2" fmla="*/ 23 w 292"/>
                <a:gd name="T3" fmla="*/ 42 h 77"/>
                <a:gd name="T4" fmla="*/ 35 w 292"/>
                <a:gd name="T5" fmla="*/ 37 h 77"/>
                <a:gd name="T6" fmla="*/ 39 w 292"/>
                <a:gd name="T7" fmla="*/ 37 h 77"/>
                <a:gd name="T8" fmla="*/ 50 w 292"/>
                <a:gd name="T9" fmla="*/ 40 h 77"/>
                <a:gd name="T10" fmla="*/ 49 w 292"/>
                <a:gd name="T11" fmla="*/ 49 h 77"/>
                <a:gd name="T12" fmla="*/ 65 w 292"/>
                <a:gd name="T13" fmla="*/ 49 h 77"/>
                <a:gd name="T14" fmla="*/ 66 w 292"/>
                <a:gd name="T15" fmla="*/ 50 h 77"/>
                <a:gd name="T16" fmla="*/ 90 w 292"/>
                <a:gd name="T17" fmla="*/ 62 h 77"/>
                <a:gd name="T18" fmla="*/ 105 w 292"/>
                <a:gd name="T19" fmla="*/ 60 h 77"/>
                <a:gd name="T20" fmla="*/ 128 w 292"/>
                <a:gd name="T21" fmla="*/ 53 h 77"/>
                <a:gd name="T22" fmla="*/ 108 w 292"/>
                <a:gd name="T23" fmla="*/ 59 h 77"/>
                <a:gd name="T24" fmla="*/ 103 w 292"/>
                <a:gd name="T25" fmla="*/ 69 h 77"/>
                <a:gd name="T26" fmla="*/ 120 w 292"/>
                <a:gd name="T27" fmla="*/ 76 h 77"/>
                <a:gd name="T28" fmla="*/ 138 w 292"/>
                <a:gd name="T29" fmla="*/ 74 h 77"/>
                <a:gd name="T30" fmla="*/ 166 w 292"/>
                <a:gd name="T31" fmla="*/ 66 h 77"/>
                <a:gd name="T32" fmla="*/ 222 w 292"/>
                <a:gd name="T33" fmla="*/ 63 h 77"/>
                <a:gd name="T34" fmla="*/ 265 w 292"/>
                <a:gd name="T35" fmla="*/ 57 h 77"/>
                <a:gd name="T36" fmla="*/ 289 w 292"/>
                <a:gd name="T37" fmla="*/ 47 h 77"/>
                <a:gd name="T38" fmla="*/ 289 w 292"/>
                <a:gd name="T39" fmla="*/ 37 h 77"/>
                <a:gd name="T40" fmla="*/ 263 w 292"/>
                <a:gd name="T41" fmla="*/ 37 h 77"/>
                <a:gd name="T42" fmla="*/ 263 w 292"/>
                <a:gd name="T43" fmla="*/ 29 h 77"/>
                <a:gd name="T44" fmla="*/ 270 w 292"/>
                <a:gd name="T45" fmla="*/ 22 h 77"/>
                <a:gd name="T46" fmla="*/ 266 w 292"/>
                <a:gd name="T47" fmla="*/ 15 h 77"/>
                <a:gd name="T48" fmla="*/ 245 w 292"/>
                <a:gd name="T49" fmla="*/ 20 h 77"/>
                <a:gd name="T50" fmla="*/ 223 w 292"/>
                <a:gd name="T51" fmla="*/ 25 h 77"/>
                <a:gd name="T52" fmla="*/ 222 w 292"/>
                <a:gd name="T53" fmla="*/ 33 h 77"/>
                <a:gd name="T54" fmla="*/ 219 w 292"/>
                <a:gd name="T55" fmla="*/ 42 h 77"/>
                <a:gd name="T56" fmla="*/ 217 w 292"/>
                <a:gd name="T57" fmla="*/ 44 h 77"/>
                <a:gd name="T58" fmla="*/ 190 w 292"/>
                <a:gd name="T59" fmla="*/ 42 h 77"/>
                <a:gd name="T60" fmla="*/ 163 w 292"/>
                <a:gd name="T61" fmla="*/ 27 h 77"/>
                <a:gd name="T62" fmla="*/ 152 w 292"/>
                <a:gd name="T63" fmla="*/ 23 h 77"/>
                <a:gd name="T64" fmla="*/ 138 w 292"/>
                <a:gd name="T65" fmla="*/ 23 h 77"/>
                <a:gd name="T66" fmla="*/ 143 w 292"/>
                <a:gd name="T67" fmla="*/ 19 h 77"/>
                <a:gd name="T68" fmla="*/ 156 w 292"/>
                <a:gd name="T69" fmla="*/ 12 h 77"/>
                <a:gd name="T70" fmla="*/ 168 w 292"/>
                <a:gd name="T71" fmla="*/ 6 h 77"/>
                <a:gd name="T72" fmla="*/ 163 w 292"/>
                <a:gd name="T73" fmla="*/ 0 h 77"/>
                <a:gd name="T74" fmla="*/ 149 w 292"/>
                <a:gd name="T75" fmla="*/ 2 h 77"/>
                <a:gd name="T76" fmla="*/ 129 w 292"/>
                <a:gd name="T77" fmla="*/ 5 h 77"/>
                <a:gd name="T78" fmla="*/ 105 w 292"/>
                <a:gd name="T79" fmla="*/ 9 h 77"/>
                <a:gd name="T80" fmla="*/ 90 w 292"/>
                <a:gd name="T81" fmla="*/ 10 h 77"/>
                <a:gd name="T82" fmla="*/ 63 w 292"/>
                <a:gd name="T83" fmla="*/ 15 h 77"/>
                <a:gd name="T84" fmla="*/ 48 w 292"/>
                <a:gd name="T85" fmla="*/ 17 h 77"/>
                <a:gd name="T86" fmla="*/ 36 w 292"/>
                <a:gd name="T87" fmla="*/ 23 h 77"/>
                <a:gd name="T88" fmla="*/ 19 w 292"/>
                <a:gd name="T89" fmla="*/ 26 h 77"/>
                <a:gd name="T90" fmla="*/ 3 w 292"/>
                <a:gd name="T91" fmla="*/ 36 h 77"/>
                <a:gd name="T92" fmla="*/ 95 w 292"/>
                <a:gd name="T93" fmla="*/ 32 h 77"/>
                <a:gd name="T94" fmla="*/ 85 w 292"/>
                <a:gd name="T95" fmla="*/ 32 h 77"/>
                <a:gd name="T96" fmla="*/ 79 w 292"/>
                <a:gd name="T97" fmla="*/ 32 h 77"/>
                <a:gd name="T98" fmla="*/ 95 w 292"/>
                <a:gd name="T99" fmla="*/ 27 h 77"/>
                <a:gd name="T100" fmla="*/ 102 w 292"/>
                <a:gd name="T101" fmla="*/ 32 h 77"/>
                <a:gd name="T102" fmla="*/ 86 w 292"/>
                <a:gd name="T103" fmla="*/ 40 h 77"/>
                <a:gd name="T104" fmla="*/ 120 w 292"/>
                <a:gd name="T105" fmla="*/ 29 h 77"/>
                <a:gd name="T106" fmla="*/ 115 w 292"/>
                <a:gd name="T107" fmla="*/ 29 h 77"/>
                <a:gd name="T108" fmla="*/ 129 w 292"/>
                <a:gd name="T109" fmla="*/ 27 h 77"/>
                <a:gd name="T110" fmla="*/ 59 w 292"/>
                <a:gd name="T111" fmla="*/ 37 h 77"/>
                <a:gd name="T112" fmla="*/ 68 w 292"/>
                <a:gd name="T113" fmla="*/ 34 h 77"/>
                <a:gd name="T114" fmla="*/ 63 w 292"/>
                <a:gd name="T115" fmla="*/ 3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2" h="77">
                  <a:moveTo>
                    <a:pt x="5" y="37"/>
                  </a:moveTo>
                  <a:lnTo>
                    <a:pt x="5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8" y="40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3" y="42"/>
                  </a:lnTo>
                  <a:lnTo>
                    <a:pt x="23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3" y="39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42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4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9" y="49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5" y="50"/>
                  </a:lnTo>
                  <a:lnTo>
                    <a:pt x="55" y="50"/>
                  </a:lnTo>
                  <a:lnTo>
                    <a:pt x="60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9" y="47"/>
                  </a:lnTo>
                  <a:lnTo>
                    <a:pt x="69" y="47"/>
                  </a:lnTo>
                  <a:lnTo>
                    <a:pt x="68" y="49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9" y="54"/>
                  </a:lnTo>
                  <a:lnTo>
                    <a:pt x="73" y="57"/>
                  </a:lnTo>
                  <a:lnTo>
                    <a:pt x="79" y="60"/>
                  </a:lnTo>
                  <a:lnTo>
                    <a:pt x="85" y="60"/>
                  </a:lnTo>
                  <a:lnTo>
                    <a:pt x="85" y="60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100" y="62"/>
                  </a:lnTo>
                  <a:lnTo>
                    <a:pt x="105" y="60"/>
                  </a:lnTo>
                  <a:lnTo>
                    <a:pt x="105" y="60"/>
                  </a:lnTo>
                  <a:lnTo>
                    <a:pt x="105" y="60"/>
                  </a:lnTo>
                  <a:lnTo>
                    <a:pt x="116" y="56"/>
                  </a:lnTo>
                  <a:lnTo>
                    <a:pt x="125" y="53"/>
                  </a:lnTo>
                  <a:lnTo>
                    <a:pt x="125" y="53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3" y="54"/>
                  </a:lnTo>
                  <a:lnTo>
                    <a:pt x="118" y="56"/>
                  </a:lnTo>
                  <a:lnTo>
                    <a:pt x="118" y="56"/>
                  </a:lnTo>
                  <a:lnTo>
                    <a:pt x="108" y="59"/>
                  </a:lnTo>
                  <a:lnTo>
                    <a:pt x="105" y="62"/>
                  </a:lnTo>
                  <a:lnTo>
                    <a:pt x="103" y="64"/>
                  </a:lnTo>
                  <a:lnTo>
                    <a:pt x="103" y="64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9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9" y="74"/>
                  </a:lnTo>
                  <a:lnTo>
                    <a:pt x="113" y="74"/>
                  </a:lnTo>
                  <a:lnTo>
                    <a:pt x="113" y="74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8" y="77"/>
                  </a:lnTo>
                  <a:lnTo>
                    <a:pt x="128" y="77"/>
                  </a:lnTo>
                  <a:lnTo>
                    <a:pt x="128" y="77"/>
                  </a:lnTo>
                  <a:lnTo>
                    <a:pt x="132" y="76"/>
                  </a:lnTo>
                  <a:lnTo>
                    <a:pt x="138" y="74"/>
                  </a:lnTo>
                  <a:lnTo>
                    <a:pt x="138" y="74"/>
                  </a:lnTo>
                  <a:lnTo>
                    <a:pt x="143" y="73"/>
                  </a:lnTo>
                  <a:lnTo>
                    <a:pt x="143" y="73"/>
                  </a:lnTo>
                  <a:lnTo>
                    <a:pt x="152" y="69"/>
                  </a:lnTo>
                  <a:lnTo>
                    <a:pt x="166" y="66"/>
                  </a:lnTo>
                  <a:lnTo>
                    <a:pt x="166" y="66"/>
                  </a:lnTo>
                  <a:lnTo>
                    <a:pt x="186" y="63"/>
                  </a:lnTo>
                  <a:lnTo>
                    <a:pt x="202" y="62"/>
                  </a:lnTo>
                  <a:lnTo>
                    <a:pt x="202" y="62"/>
                  </a:lnTo>
                  <a:lnTo>
                    <a:pt x="210" y="63"/>
                  </a:lnTo>
                  <a:lnTo>
                    <a:pt x="210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39" y="63"/>
                  </a:lnTo>
                  <a:lnTo>
                    <a:pt x="239" y="63"/>
                  </a:lnTo>
                  <a:lnTo>
                    <a:pt x="257" y="59"/>
                  </a:lnTo>
                  <a:lnTo>
                    <a:pt x="265" y="57"/>
                  </a:lnTo>
                  <a:lnTo>
                    <a:pt x="265" y="57"/>
                  </a:lnTo>
                  <a:lnTo>
                    <a:pt x="267" y="56"/>
                  </a:lnTo>
                  <a:lnTo>
                    <a:pt x="267" y="56"/>
                  </a:lnTo>
                  <a:lnTo>
                    <a:pt x="272" y="54"/>
                  </a:lnTo>
                  <a:lnTo>
                    <a:pt x="272" y="54"/>
                  </a:lnTo>
                  <a:lnTo>
                    <a:pt x="283" y="52"/>
                  </a:lnTo>
                  <a:lnTo>
                    <a:pt x="289" y="47"/>
                  </a:lnTo>
                  <a:lnTo>
                    <a:pt x="292" y="43"/>
                  </a:lnTo>
                  <a:lnTo>
                    <a:pt x="292" y="43"/>
                  </a:lnTo>
                  <a:lnTo>
                    <a:pt x="292" y="40"/>
                  </a:lnTo>
                  <a:lnTo>
                    <a:pt x="292" y="39"/>
                  </a:lnTo>
                  <a:lnTo>
                    <a:pt x="292" y="39"/>
                  </a:lnTo>
                  <a:lnTo>
                    <a:pt x="289" y="37"/>
                  </a:lnTo>
                  <a:lnTo>
                    <a:pt x="285" y="36"/>
                  </a:lnTo>
                  <a:lnTo>
                    <a:pt x="285" y="36"/>
                  </a:lnTo>
                  <a:lnTo>
                    <a:pt x="276" y="37"/>
                  </a:lnTo>
                  <a:lnTo>
                    <a:pt x="276" y="37"/>
                  </a:lnTo>
                  <a:lnTo>
                    <a:pt x="269" y="37"/>
                  </a:lnTo>
                  <a:lnTo>
                    <a:pt x="263" y="37"/>
                  </a:lnTo>
                  <a:lnTo>
                    <a:pt x="263" y="37"/>
                  </a:lnTo>
                  <a:lnTo>
                    <a:pt x="257" y="36"/>
                  </a:lnTo>
                  <a:lnTo>
                    <a:pt x="257" y="36"/>
                  </a:lnTo>
                  <a:lnTo>
                    <a:pt x="259" y="34"/>
                  </a:lnTo>
                  <a:lnTo>
                    <a:pt x="259" y="34"/>
                  </a:lnTo>
                  <a:lnTo>
                    <a:pt x="263" y="29"/>
                  </a:lnTo>
                  <a:lnTo>
                    <a:pt x="265" y="25"/>
                  </a:lnTo>
                  <a:lnTo>
                    <a:pt x="265" y="25"/>
                  </a:lnTo>
                  <a:lnTo>
                    <a:pt x="265" y="23"/>
                  </a:lnTo>
                  <a:lnTo>
                    <a:pt x="265" y="23"/>
                  </a:lnTo>
                  <a:lnTo>
                    <a:pt x="267" y="23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70" y="20"/>
                  </a:lnTo>
                  <a:lnTo>
                    <a:pt x="270" y="17"/>
                  </a:lnTo>
                  <a:lnTo>
                    <a:pt x="270" y="17"/>
                  </a:lnTo>
                  <a:lnTo>
                    <a:pt x="267" y="16"/>
                  </a:lnTo>
                  <a:lnTo>
                    <a:pt x="266" y="15"/>
                  </a:lnTo>
                  <a:lnTo>
                    <a:pt x="266" y="15"/>
                  </a:lnTo>
                  <a:lnTo>
                    <a:pt x="259" y="16"/>
                  </a:lnTo>
                  <a:lnTo>
                    <a:pt x="250" y="19"/>
                  </a:lnTo>
                  <a:lnTo>
                    <a:pt x="250" y="19"/>
                  </a:lnTo>
                  <a:lnTo>
                    <a:pt x="245" y="20"/>
                  </a:lnTo>
                  <a:lnTo>
                    <a:pt x="245" y="20"/>
                  </a:lnTo>
                  <a:lnTo>
                    <a:pt x="235" y="22"/>
                  </a:lnTo>
                  <a:lnTo>
                    <a:pt x="235" y="22"/>
                  </a:lnTo>
                  <a:lnTo>
                    <a:pt x="226" y="22"/>
                  </a:lnTo>
                  <a:lnTo>
                    <a:pt x="225" y="23"/>
                  </a:lnTo>
                  <a:lnTo>
                    <a:pt x="223" y="25"/>
                  </a:lnTo>
                  <a:lnTo>
                    <a:pt x="223" y="25"/>
                  </a:lnTo>
                  <a:lnTo>
                    <a:pt x="223" y="27"/>
                  </a:lnTo>
                  <a:lnTo>
                    <a:pt x="226" y="29"/>
                  </a:lnTo>
                  <a:lnTo>
                    <a:pt x="226" y="29"/>
                  </a:lnTo>
                  <a:lnTo>
                    <a:pt x="230" y="33"/>
                  </a:lnTo>
                  <a:lnTo>
                    <a:pt x="230" y="33"/>
                  </a:lnTo>
                  <a:lnTo>
                    <a:pt x="222" y="33"/>
                  </a:lnTo>
                  <a:lnTo>
                    <a:pt x="217" y="36"/>
                  </a:lnTo>
                  <a:lnTo>
                    <a:pt x="216" y="37"/>
                  </a:lnTo>
                  <a:lnTo>
                    <a:pt x="215" y="39"/>
                  </a:lnTo>
                  <a:lnTo>
                    <a:pt x="215" y="39"/>
                  </a:lnTo>
                  <a:lnTo>
                    <a:pt x="216" y="40"/>
                  </a:lnTo>
                  <a:lnTo>
                    <a:pt x="219" y="42"/>
                  </a:lnTo>
                  <a:lnTo>
                    <a:pt x="219" y="42"/>
                  </a:lnTo>
                  <a:lnTo>
                    <a:pt x="222" y="43"/>
                  </a:lnTo>
                  <a:lnTo>
                    <a:pt x="223" y="46"/>
                  </a:lnTo>
                  <a:lnTo>
                    <a:pt x="223" y="46"/>
                  </a:lnTo>
                  <a:lnTo>
                    <a:pt x="220" y="46"/>
                  </a:lnTo>
                  <a:lnTo>
                    <a:pt x="217" y="44"/>
                  </a:lnTo>
                  <a:lnTo>
                    <a:pt x="217" y="44"/>
                  </a:lnTo>
                  <a:lnTo>
                    <a:pt x="196" y="43"/>
                  </a:lnTo>
                  <a:lnTo>
                    <a:pt x="190" y="42"/>
                  </a:lnTo>
                  <a:lnTo>
                    <a:pt x="190" y="42"/>
                  </a:lnTo>
                  <a:lnTo>
                    <a:pt x="190" y="42"/>
                  </a:lnTo>
                  <a:lnTo>
                    <a:pt x="190" y="42"/>
                  </a:lnTo>
                  <a:lnTo>
                    <a:pt x="190" y="37"/>
                  </a:lnTo>
                  <a:lnTo>
                    <a:pt x="188" y="33"/>
                  </a:lnTo>
                  <a:lnTo>
                    <a:pt x="183" y="32"/>
                  </a:lnTo>
                  <a:lnTo>
                    <a:pt x="179" y="29"/>
                  </a:lnTo>
                  <a:lnTo>
                    <a:pt x="163" y="27"/>
                  </a:lnTo>
                  <a:lnTo>
                    <a:pt x="163" y="27"/>
                  </a:lnTo>
                  <a:lnTo>
                    <a:pt x="160" y="25"/>
                  </a:lnTo>
                  <a:lnTo>
                    <a:pt x="159" y="23"/>
                  </a:lnTo>
                  <a:lnTo>
                    <a:pt x="155" y="23"/>
                  </a:lnTo>
                  <a:lnTo>
                    <a:pt x="155" y="23"/>
                  </a:lnTo>
                  <a:lnTo>
                    <a:pt x="152" y="23"/>
                  </a:lnTo>
                  <a:lnTo>
                    <a:pt x="152" y="23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38" y="23"/>
                  </a:lnTo>
                  <a:lnTo>
                    <a:pt x="138" y="23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40" y="19"/>
                  </a:lnTo>
                  <a:lnTo>
                    <a:pt x="140" y="19"/>
                  </a:lnTo>
                  <a:lnTo>
                    <a:pt x="143" y="19"/>
                  </a:lnTo>
                  <a:lnTo>
                    <a:pt x="143" y="19"/>
                  </a:lnTo>
                  <a:lnTo>
                    <a:pt x="145" y="19"/>
                  </a:lnTo>
                  <a:lnTo>
                    <a:pt x="145" y="19"/>
                  </a:lnTo>
                  <a:lnTo>
                    <a:pt x="149" y="16"/>
                  </a:lnTo>
                  <a:lnTo>
                    <a:pt x="153" y="15"/>
                  </a:lnTo>
                  <a:lnTo>
                    <a:pt x="153" y="15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2"/>
                  </a:lnTo>
                  <a:lnTo>
                    <a:pt x="165" y="10"/>
                  </a:lnTo>
                  <a:lnTo>
                    <a:pt x="166" y="9"/>
                  </a:lnTo>
                  <a:lnTo>
                    <a:pt x="168" y="6"/>
                  </a:lnTo>
                  <a:lnTo>
                    <a:pt x="168" y="6"/>
                  </a:lnTo>
                  <a:lnTo>
                    <a:pt x="168" y="5"/>
                  </a:lnTo>
                  <a:lnTo>
                    <a:pt x="168" y="3"/>
                  </a:lnTo>
                  <a:lnTo>
                    <a:pt x="168" y="3"/>
                  </a:lnTo>
                  <a:lnTo>
                    <a:pt x="166" y="2"/>
                  </a:lnTo>
                  <a:lnTo>
                    <a:pt x="163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49" y="2"/>
                  </a:lnTo>
                  <a:lnTo>
                    <a:pt x="149" y="2"/>
                  </a:lnTo>
                  <a:lnTo>
                    <a:pt x="145" y="5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33" y="5"/>
                  </a:lnTo>
                  <a:lnTo>
                    <a:pt x="133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6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72" y="13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55" y="17"/>
                  </a:lnTo>
                  <a:lnTo>
                    <a:pt x="49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2" y="19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29" y="25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8" y="27"/>
                  </a:lnTo>
                  <a:lnTo>
                    <a:pt x="3" y="29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5" y="37"/>
                  </a:lnTo>
                  <a:lnTo>
                    <a:pt x="5" y="37"/>
                  </a:lnTo>
                  <a:close/>
                  <a:moveTo>
                    <a:pt x="93" y="36"/>
                  </a:moveTo>
                  <a:lnTo>
                    <a:pt x="93" y="36"/>
                  </a:lnTo>
                  <a:lnTo>
                    <a:pt x="95" y="34"/>
                  </a:lnTo>
                  <a:lnTo>
                    <a:pt x="95" y="32"/>
                  </a:lnTo>
                  <a:lnTo>
                    <a:pt x="95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89" y="30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9" y="27"/>
                  </a:lnTo>
                  <a:lnTo>
                    <a:pt x="93" y="27"/>
                  </a:lnTo>
                  <a:lnTo>
                    <a:pt x="95" y="27"/>
                  </a:lnTo>
                  <a:lnTo>
                    <a:pt x="95" y="27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3" y="37"/>
                  </a:lnTo>
                  <a:lnTo>
                    <a:pt x="93" y="36"/>
                  </a:lnTo>
                  <a:close/>
                  <a:moveTo>
                    <a:pt x="86" y="40"/>
                  </a:moveTo>
                  <a:lnTo>
                    <a:pt x="86" y="40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86" y="40"/>
                  </a:lnTo>
                  <a:lnTo>
                    <a:pt x="86" y="40"/>
                  </a:lnTo>
                  <a:close/>
                  <a:moveTo>
                    <a:pt x="120" y="29"/>
                  </a:moveTo>
                  <a:lnTo>
                    <a:pt x="120" y="29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3" y="30"/>
                  </a:lnTo>
                  <a:lnTo>
                    <a:pt x="113" y="30"/>
                  </a:lnTo>
                  <a:lnTo>
                    <a:pt x="115" y="29"/>
                  </a:lnTo>
                  <a:lnTo>
                    <a:pt x="115" y="29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5" y="27"/>
                  </a:lnTo>
                  <a:lnTo>
                    <a:pt x="125" y="27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0" y="29"/>
                  </a:lnTo>
                  <a:lnTo>
                    <a:pt x="120" y="29"/>
                  </a:lnTo>
                  <a:close/>
                  <a:moveTo>
                    <a:pt x="59" y="37"/>
                  </a:moveTo>
                  <a:lnTo>
                    <a:pt x="59" y="37"/>
                  </a:lnTo>
                  <a:lnTo>
                    <a:pt x="62" y="36"/>
                  </a:lnTo>
                  <a:lnTo>
                    <a:pt x="65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9" y="37"/>
                  </a:lnTo>
                  <a:lnTo>
                    <a:pt x="59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46" name="Freeform 100"/>
            <p:cNvSpPr>
              <a:spLocks/>
            </p:cNvSpPr>
            <p:nvPr/>
          </p:nvSpPr>
          <p:spPr bwMode="auto">
            <a:xfrm>
              <a:off x="2287588" y="1666875"/>
              <a:ext cx="55563" cy="15875"/>
            </a:xfrm>
            <a:custGeom>
              <a:avLst/>
              <a:gdLst>
                <a:gd name="T0" fmla="*/ 14 w 70"/>
                <a:gd name="T1" fmla="*/ 17 h 18"/>
                <a:gd name="T2" fmla="*/ 17 w 70"/>
                <a:gd name="T3" fmla="*/ 17 h 18"/>
                <a:gd name="T4" fmla="*/ 17 w 70"/>
                <a:gd name="T5" fmla="*/ 17 h 18"/>
                <a:gd name="T6" fmla="*/ 19 w 70"/>
                <a:gd name="T7" fmla="*/ 17 h 18"/>
                <a:gd name="T8" fmla="*/ 19 w 70"/>
                <a:gd name="T9" fmla="*/ 17 h 18"/>
                <a:gd name="T10" fmla="*/ 36 w 70"/>
                <a:gd name="T11" fmla="*/ 18 h 18"/>
                <a:gd name="T12" fmla="*/ 36 w 70"/>
                <a:gd name="T13" fmla="*/ 18 h 18"/>
                <a:gd name="T14" fmla="*/ 49 w 70"/>
                <a:gd name="T15" fmla="*/ 18 h 18"/>
                <a:gd name="T16" fmla="*/ 49 w 70"/>
                <a:gd name="T17" fmla="*/ 18 h 18"/>
                <a:gd name="T18" fmla="*/ 54 w 70"/>
                <a:gd name="T19" fmla="*/ 18 h 18"/>
                <a:gd name="T20" fmla="*/ 54 w 70"/>
                <a:gd name="T21" fmla="*/ 18 h 18"/>
                <a:gd name="T22" fmla="*/ 60 w 70"/>
                <a:gd name="T23" fmla="*/ 17 h 18"/>
                <a:gd name="T24" fmla="*/ 64 w 70"/>
                <a:gd name="T25" fmla="*/ 15 h 18"/>
                <a:gd name="T26" fmla="*/ 64 w 70"/>
                <a:gd name="T27" fmla="*/ 15 h 18"/>
                <a:gd name="T28" fmla="*/ 69 w 70"/>
                <a:gd name="T29" fmla="*/ 14 h 18"/>
                <a:gd name="T30" fmla="*/ 70 w 70"/>
                <a:gd name="T31" fmla="*/ 13 h 18"/>
                <a:gd name="T32" fmla="*/ 70 w 70"/>
                <a:gd name="T33" fmla="*/ 10 h 18"/>
                <a:gd name="T34" fmla="*/ 70 w 70"/>
                <a:gd name="T35" fmla="*/ 10 h 18"/>
                <a:gd name="T36" fmla="*/ 70 w 70"/>
                <a:gd name="T37" fmla="*/ 8 h 18"/>
                <a:gd name="T38" fmla="*/ 69 w 70"/>
                <a:gd name="T39" fmla="*/ 5 h 18"/>
                <a:gd name="T40" fmla="*/ 63 w 70"/>
                <a:gd name="T41" fmla="*/ 3 h 18"/>
                <a:gd name="T42" fmla="*/ 63 w 70"/>
                <a:gd name="T43" fmla="*/ 3 h 18"/>
                <a:gd name="T44" fmla="*/ 60 w 70"/>
                <a:gd name="T45" fmla="*/ 1 h 18"/>
                <a:gd name="T46" fmla="*/ 54 w 70"/>
                <a:gd name="T47" fmla="*/ 0 h 18"/>
                <a:gd name="T48" fmla="*/ 54 w 70"/>
                <a:gd name="T49" fmla="*/ 0 h 18"/>
                <a:gd name="T50" fmla="*/ 47 w 70"/>
                <a:gd name="T51" fmla="*/ 1 h 18"/>
                <a:gd name="T52" fmla="*/ 42 w 70"/>
                <a:gd name="T53" fmla="*/ 3 h 18"/>
                <a:gd name="T54" fmla="*/ 42 w 70"/>
                <a:gd name="T55" fmla="*/ 3 h 18"/>
                <a:gd name="T56" fmla="*/ 32 w 70"/>
                <a:gd name="T57" fmla="*/ 4 h 18"/>
                <a:gd name="T58" fmla="*/ 32 w 70"/>
                <a:gd name="T59" fmla="*/ 4 h 18"/>
                <a:gd name="T60" fmla="*/ 16 w 70"/>
                <a:gd name="T61" fmla="*/ 5 h 18"/>
                <a:gd name="T62" fmla="*/ 16 w 70"/>
                <a:gd name="T63" fmla="*/ 5 h 18"/>
                <a:gd name="T64" fmla="*/ 12 w 70"/>
                <a:gd name="T65" fmla="*/ 7 h 18"/>
                <a:gd name="T66" fmla="*/ 12 w 70"/>
                <a:gd name="T67" fmla="*/ 7 h 18"/>
                <a:gd name="T68" fmla="*/ 6 w 70"/>
                <a:gd name="T69" fmla="*/ 7 h 18"/>
                <a:gd name="T70" fmla="*/ 2 w 70"/>
                <a:gd name="T71" fmla="*/ 8 h 18"/>
                <a:gd name="T72" fmla="*/ 0 w 70"/>
                <a:gd name="T73" fmla="*/ 10 h 18"/>
                <a:gd name="T74" fmla="*/ 0 w 70"/>
                <a:gd name="T75" fmla="*/ 10 h 18"/>
                <a:gd name="T76" fmla="*/ 0 w 70"/>
                <a:gd name="T77" fmla="*/ 10 h 18"/>
                <a:gd name="T78" fmla="*/ 0 w 70"/>
                <a:gd name="T79" fmla="*/ 13 h 18"/>
                <a:gd name="T80" fmla="*/ 0 w 70"/>
                <a:gd name="T81" fmla="*/ 14 h 18"/>
                <a:gd name="T82" fmla="*/ 0 w 70"/>
                <a:gd name="T83" fmla="*/ 14 h 18"/>
                <a:gd name="T84" fmla="*/ 3 w 70"/>
                <a:gd name="T85" fmla="*/ 15 h 18"/>
                <a:gd name="T86" fmla="*/ 6 w 70"/>
                <a:gd name="T87" fmla="*/ 17 h 18"/>
                <a:gd name="T88" fmla="*/ 14 w 70"/>
                <a:gd name="T89" fmla="*/ 17 h 18"/>
                <a:gd name="T90" fmla="*/ 14 w 70"/>
                <a:gd name="T91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" h="18">
                  <a:moveTo>
                    <a:pt x="14" y="17"/>
                  </a:moveTo>
                  <a:lnTo>
                    <a:pt x="17" y="17"/>
                  </a:lnTo>
                  <a:lnTo>
                    <a:pt x="17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60" y="17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9" y="14"/>
                  </a:lnTo>
                  <a:lnTo>
                    <a:pt x="70" y="13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0" y="8"/>
                  </a:lnTo>
                  <a:lnTo>
                    <a:pt x="69" y="5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0" y="1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47" y="1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6" y="7"/>
                  </a:lnTo>
                  <a:lnTo>
                    <a:pt x="2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3" y="15"/>
                  </a:lnTo>
                  <a:lnTo>
                    <a:pt x="6" y="17"/>
                  </a:lnTo>
                  <a:lnTo>
                    <a:pt x="14" y="17"/>
                  </a:lnTo>
                  <a:lnTo>
                    <a:pt x="1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47" name="Freeform 101"/>
            <p:cNvSpPr>
              <a:spLocks/>
            </p:cNvSpPr>
            <p:nvPr/>
          </p:nvSpPr>
          <p:spPr bwMode="auto">
            <a:xfrm>
              <a:off x="2263775" y="1682750"/>
              <a:ext cx="47625" cy="15875"/>
            </a:xfrm>
            <a:custGeom>
              <a:avLst/>
              <a:gdLst>
                <a:gd name="T0" fmla="*/ 8 w 60"/>
                <a:gd name="T1" fmla="*/ 19 h 22"/>
                <a:gd name="T2" fmla="*/ 8 w 60"/>
                <a:gd name="T3" fmla="*/ 19 h 22"/>
                <a:gd name="T4" fmla="*/ 11 w 60"/>
                <a:gd name="T5" fmla="*/ 19 h 22"/>
                <a:gd name="T6" fmla="*/ 11 w 60"/>
                <a:gd name="T7" fmla="*/ 19 h 22"/>
                <a:gd name="T8" fmla="*/ 17 w 60"/>
                <a:gd name="T9" fmla="*/ 20 h 22"/>
                <a:gd name="T10" fmla="*/ 22 w 60"/>
                <a:gd name="T11" fmla="*/ 22 h 22"/>
                <a:gd name="T12" fmla="*/ 22 w 60"/>
                <a:gd name="T13" fmla="*/ 22 h 22"/>
                <a:gd name="T14" fmla="*/ 44 w 60"/>
                <a:gd name="T15" fmla="*/ 19 h 22"/>
                <a:gd name="T16" fmla="*/ 44 w 60"/>
                <a:gd name="T17" fmla="*/ 19 h 22"/>
                <a:gd name="T18" fmla="*/ 51 w 60"/>
                <a:gd name="T19" fmla="*/ 17 h 22"/>
                <a:gd name="T20" fmla="*/ 55 w 60"/>
                <a:gd name="T21" fmla="*/ 16 h 22"/>
                <a:gd name="T22" fmla="*/ 58 w 60"/>
                <a:gd name="T23" fmla="*/ 12 h 22"/>
                <a:gd name="T24" fmla="*/ 58 w 60"/>
                <a:gd name="T25" fmla="*/ 12 h 22"/>
                <a:gd name="T26" fmla="*/ 60 w 60"/>
                <a:gd name="T27" fmla="*/ 7 h 22"/>
                <a:gd name="T28" fmla="*/ 60 w 60"/>
                <a:gd name="T29" fmla="*/ 6 h 22"/>
                <a:gd name="T30" fmla="*/ 58 w 60"/>
                <a:gd name="T31" fmla="*/ 5 h 22"/>
                <a:gd name="T32" fmla="*/ 58 w 60"/>
                <a:gd name="T33" fmla="*/ 5 h 22"/>
                <a:gd name="T34" fmla="*/ 57 w 60"/>
                <a:gd name="T35" fmla="*/ 2 h 22"/>
                <a:gd name="T36" fmla="*/ 57 w 60"/>
                <a:gd name="T37" fmla="*/ 0 h 22"/>
                <a:gd name="T38" fmla="*/ 22 w 60"/>
                <a:gd name="T39" fmla="*/ 0 h 22"/>
                <a:gd name="T40" fmla="*/ 22 w 60"/>
                <a:gd name="T41" fmla="*/ 0 h 22"/>
                <a:gd name="T42" fmla="*/ 20 w 60"/>
                <a:gd name="T43" fmla="*/ 0 h 22"/>
                <a:gd name="T44" fmla="*/ 20 w 60"/>
                <a:gd name="T45" fmla="*/ 0 h 22"/>
                <a:gd name="T46" fmla="*/ 15 w 60"/>
                <a:gd name="T47" fmla="*/ 0 h 22"/>
                <a:gd name="T48" fmla="*/ 15 w 60"/>
                <a:gd name="T49" fmla="*/ 0 h 22"/>
                <a:gd name="T50" fmla="*/ 8 w 60"/>
                <a:gd name="T51" fmla="*/ 2 h 22"/>
                <a:gd name="T52" fmla="*/ 8 w 60"/>
                <a:gd name="T53" fmla="*/ 2 h 22"/>
                <a:gd name="T54" fmla="*/ 5 w 60"/>
                <a:gd name="T55" fmla="*/ 3 h 22"/>
                <a:gd name="T56" fmla="*/ 2 w 60"/>
                <a:gd name="T57" fmla="*/ 6 h 22"/>
                <a:gd name="T58" fmla="*/ 0 w 60"/>
                <a:gd name="T59" fmla="*/ 9 h 22"/>
                <a:gd name="T60" fmla="*/ 0 w 60"/>
                <a:gd name="T61" fmla="*/ 13 h 22"/>
                <a:gd name="T62" fmla="*/ 0 w 60"/>
                <a:gd name="T63" fmla="*/ 13 h 22"/>
                <a:gd name="T64" fmla="*/ 1 w 60"/>
                <a:gd name="T65" fmla="*/ 15 h 22"/>
                <a:gd name="T66" fmla="*/ 4 w 60"/>
                <a:gd name="T67" fmla="*/ 16 h 22"/>
                <a:gd name="T68" fmla="*/ 8 w 60"/>
                <a:gd name="T69" fmla="*/ 19 h 22"/>
                <a:gd name="T70" fmla="*/ 8 w 60"/>
                <a:gd name="T71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22">
                  <a:moveTo>
                    <a:pt x="8" y="19"/>
                  </a:moveTo>
                  <a:lnTo>
                    <a:pt x="8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7" y="20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51" y="17"/>
                  </a:lnTo>
                  <a:lnTo>
                    <a:pt x="55" y="16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58" y="5"/>
                  </a:lnTo>
                  <a:lnTo>
                    <a:pt x="58" y="5"/>
                  </a:lnTo>
                  <a:lnTo>
                    <a:pt x="57" y="2"/>
                  </a:lnTo>
                  <a:lnTo>
                    <a:pt x="5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3"/>
                  </a:lnTo>
                  <a:lnTo>
                    <a:pt x="2" y="6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5"/>
                  </a:lnTo>
                  <a:lnTo>
                    <a:pt x="4" y="16"/>
                  </a:lnTo>
                  <a:lnTo>
                    <a:pt x="8" y="19"/>
                  </a:lnTo>
                  <a:lnTo>
                    <a:pt x="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48" name="Freeform 102"/>
            <p:cNvSpPr>
              <a:spLocks/>
            </p:cNvSpPr>
            <p:nvPr/>
          </p:nvSpPr>
          <p:spPr bwMode="auto">
            <a:xfrm>
              <a:off x="2316163" y="1725613"/>
              <a:ext cx="22225" cy="12700"/>
            </a:xfrm>
            <a:custGeom>
              <a:avLst/>
              <a:gdLst>
                <a:gd name="T0" fmla="*/ 3 w 29"/>
                <a:gd name="T1" fmla="*/ 14 h 16"/>
                <a:gd name="T2" fmla="*/ 3 w 29"/>
                <a:gd name="T3" fmla="*/ 14 h 16"/>
                <a:gd name="T4" fmla="*/ 7 w 29"/>
                <a:gd name="T5" fmla="*/ 14 h 16"/>
                <a:gd name="T6" fmla="*/ 15 w 29"/>
                <a:gd name="T7" fmla="*/ 16 h 16"/>
                <a:gd name="T8" fmla="*/ 15 w 29"/>
                <a:gd name="T9" fmla="*/ 16 h 16"/>
                <a:gd name="T10" fmla="*/ 20 w 29"/>
                <a:gd name="T11" fmla="*/ 16 h 16"/>
                <a:gd name="T12" fmla="*/ 23 w 29"/>
                <a:gd name="T13" fmla="*/ 14 h 16"/>
                <a:gd name="T14" fmla="*/ 26 w 29"/>
                <a:gd name="T15" fmla="*/ 11 h 16"/>
                <a:gd name="T16" fmla="*/ 27 w 29"/>
                <a:gd name="T17" fmla="*/ 10 h 16"/>
                <a:gd name="T18" fmla="*/ 27 w 29"/>
                <a:gd name="T19" fmla="*/ 10 h 16"/>
                <a:gd name="T20" fmla="*/ 29 w 29"/>
                <a:gd name="T21" fmla="*/ 6 h 16"/>
                <a:gd name="T22" fmla="*/ 27 w 29"/>
                <a:gd name="T23" fmla="*/ 3 h 16"/>
                <a:gd name="T24" fmla="*/ 27 w 29"/>
                <a:gd name="T25" fmla="*/ 3 h 16"/>
                <a:gd name="T26" fmla="*/ 26 w 29"/>
                <a:gd name="T27" fmla="*/ 1 h 16"/>
                <a:gd name="T28" fmla="*/ 20 w 29"/>
                <a:gd name="T29" fmla="*/ 0 h 16"/>
                <a:gd name="T30" fmla="*/ 20 w 29"/>
                <a:gd name="T31" fmla="*/ 0 h 16"/>
                <a:gd name="T32" fmla="*/ 20 w 29"/>
                <a:gd name="T33" fmla="*/ 0 h 16"/>
                <a:gd name="T34" fmla="*/ 20 w 29"/>
                <a:gd name="T35" fmla="*/ 0 h 16"/>
                <a:gd name="T36" fmla="*/ 16 w 29"/>
                <a:gd name="T37" fmla="*/ 1 h 16"/>
                <a:gd name="T38" fmla="*/ 16 w 29"/>
                <a:gd name="T39" fmla="*/ 1 h 16"/>
                <a:gd name="T40" fmla="*/ 13 w 29"/>
                <a:gd name="T41" fmla="*/ 1 h 16"/>
                <a:gd name="T42" fmla="*/ 13 w 29"/>
                <a:gd name="T43" fmla="*/ 1 h 16"/>
                <a:gd name="T44" fmla="*/ 9 w 29"/>
                <a:gd name="T45" fmla="*/ 3 h 16"/>
                <a:gd name="T46" fmla="*/ 5 w 29"/>
                <a:gd name="T47" fmla="*/ 4 h 16"/>
                <a:gd name="T48" fmla="*/ 2 w 29"/>
                <a:gd name="T49" fmla="*/ 7 h 16"/>
                <a:gd name="T50" fmla="*/ 2 w 29"/>
                <a:gd name="T51" fmla="*/ 7 h 16"/>
                <a:gd name="T52" fmla="*/ 0 w 29"/>
                <a:gd name="T53" fmla="*/ 10 h 16"/>
                <a:gd name="T54" fmla="*/ 0 w 29"/>
                <a:gd name="T55" fmla="*/ 11 h 16"/>
                <a:gd name="T56" fmla="*/ 2 w 29"/>
                <a:gd name="T57" fmla="*/ 13 h 16"/>
                <a:gd name="T58" fmla="*/ 3 w 29"/>
                <a:gd name="T59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9" h="16">
                  <a:moveTo>
                    <a:pt x="3" y="14"/>
                  </a:moveTo>
                  <a:lnTo>
                    <a:pt x="3" y="14"/>
                  </a:lnTo>
                  <a:lnTo>
                    <a:pt x="7" y="14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20" y="16"/>
                  </a:lnTo>
                  <a:lnTo>
                    <a:pt x="23" y="14"/>
                  </a:lnTo>
                  <a:lnTo>
                    <a:pt x="26" y="11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9" y="6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6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9" y="3"/>
                  </a:lnTo>
                  <a:lnTo>
                    <a:pt x="5" y="4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3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49" name="Freeform 103"/>
            <p:cNvSpPr>
              <a:spLocks/>
            </p:cNvSpPr>
            <p:nvPr/>
          </p:nvSpPr>
          <p:spPr bwMode="auto">
            <a:xfrm>
              <a:off x="2360613" y="1684338"/>
              <a:ext cx="17463" cy="17463"/>
            </a:xfrm>
            <a:custGeom>
              <a:avLst/>
              <a:gdLst>
                <a:gd name="T0" fmla="*/ 10 w 21"/>
                <a:gd name="T1" fmla="*/ 23 h 23"/>
                <a:gd name="T2" fmla="*/ 10 w 21"/>
                <a:gd name="T3" fmla="*/ 23 h 23"/>
                <a:gd name="T4" fmla="*/ 10 w 21"/>
                <a:gd name="T5" fmla="*/ 23 h 23"/>
                <a:gd name="T6" fmla="*/ 14 w 21"/>
                <a:gd name="T7" fmla="*/ 23 h 23"/>
                <a:gd name="T8" fmla="*/ 14 w 21"/>
                <a:gd name="T9" fmla="*/ 23 h 23"/>
                <a:gd name="T10" fmla="*/ 17 w 21"/>
                <a:gd name="T11" fmla="*/ 23 h 23"/>
                <a:gd name="T12" fmla="*/ 19 w 21"/>
                <a:gd name="T13" fmla="*/ 22 h 23"/>
                <a:gd name="T14" fmla="*/ 19 w 21"/>
                <a:gd name="T15" fmla="*/ 22 h 23"/>
                <a:gd name="T16" fmla="*/ 20 w 21"/>
                <a:gd name="T17" fmla="*/ 20 h 23"/>
                <a:gd name="T18" fmla="*/ 21 w 21"/>
                <a:gd name="T19" fmla="*/ 17 h 23"/>
                <a:gd name="T20" fmla="*/ 20 w 21"/>
                <a:gd name="T21" fmla="*/ 14 h 23"/>
                <a:gd name="T22" fmla="*/ 20 w 21"/>
                <a:gd name="T23" fmla="*/ 14 h 23"/>
                <a:gd name="T24" fmla="*/ 20 w 21"/>
                <a:gd name="T25" fmla="*/ 13 h 23"/>
                <a:gd name="T26" fmla="*/ 20 w 21"/>
                <a:gd name="T27" fmla="*/ 13 h 23"/>
                <a:gd name="T28" fmla="*/ 20 w 21"/>
                <a:gd name="T29" fmla="*/ 10 h 23"/>
                <a:gd name="T30" fmla="*/ 20 w 21"/>
                <a:gd name="T31" fmla="*/ 10 h 23"/>
                <a:gd name="T32" fmla="*/ 20 w 21"/>
                <a:gd name="T33" fmla="*/ 6 h 23"/>
                <a:gd name="T34" fmla="*/ 19 w 21"/>
                <a:gd name="T35" fmla="*/ 3 h 23"/>
                <a:gd name="T36" fmla="*/ 19 w 21"/>
                <a:gd name="T37" fmla="*/ 3 h 23"/>
                <a:gd name="T38" fmla="*/ 16 w 21"/>
                <a:gd name="T39" fmla="*/ 2 h 23"/>
                <a:gd name="T40" fmla="*/ 11 w 21"/>
                <a:gd name="T41" fmla="*/ 0 h 23"/>
                <a:gd name="T42" fmla="*/ 11 w 21"/>
                <a:gd name="T43" fmla="*/ 0 h 23"/>
                <a:gd name="T44" fmla="*/ 7 w 21"/>
                <a:gd name="T45" fmla="*/ 2 h 23"/>
                <a:gd name="T46" fmla="*/ 3 w 21"/>
                <a:gd name="T47" fmla="*/ 3 h 23"/>
                <a:gd name="T48" fmla="*/ 0 w 21"/>
                <a:gd name="T49" fmla="*/ 6 h 23"/>
                <a:gd name="T50" fmla="*/ 0 w 21"/>
                <a:gd name="T51" fmla="*/ 9 h 23"/>
                <a:gd name="T52" fmla="*/ 0 w 21"/>
                <a:gd name="T53" fmla="*/ 9 h 23"/>
                <a:gd name="T54" fmla="*/ 0 w 21"/>
                <a:gd name="T55" fmla="*/ 14 h 23"/>
                <a:gd name="T56" fmla="*/ 1 w 21"/>
                <a:gd name="T57" fmla="*/ 19 h 23"/>
                <a:gd name="T58" fmla="*/ 6 w 21"/>
                <a:gd name="T59" fmla="*/ 22 h 23"/>
                <a:gd name="T60" fmla="*/ 10 w 21"/>
                <a:gd name="T61" fmla="*/ 23 h 23"/>
                <a:gd name="T62" fmla="*/ 10 w 21"/>
                <a:gd name="T6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" h="23">
                  <a:moveTo>
                    <a:pt x="10" y="23"/>
                  </a:moveTo>
                  <a:lnTo>
                    <a:pt x="10" y="23"/>
                  </a:lnTo>
                  <a:lnTo>
                    <a:pt x="10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20" y="20"/>
                  </a:lnTo>
                  <a:lnTo>
                    <a:pt x="21" y="17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6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7" y="2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4"/>
                  </a:lnTo>
                  <a:lnTo>
                    <a:pt x="1" y="19"/>
                  </a:lnTo>
                  <a:lnTo>
                    <a:pt x="6" y="22"/>
                  </a:lnTo>
                  <a:lnTo>
                    <a:pt x="10" y="23"/>
                  </a:lnTo>
                  <a:lnTo>
                    <a:pt x="10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50" name="Freeform 104"/>
            <p:cNvSpPr>
              <a:spLocks/>
            </p:cNvSpPr>
            <p:nvPr/>
          </p:nvSpPr>
          <p:spPr bwMode="auto">
            <a:xfrm>
              <a:off x="2346325" y="1701800"/>
              <a:ext cx="100013" cy="36513"/>
            </a:xfrm>
            <a:custGeom>
              <a:avLst/>
              <a:gdLst>
                <a:gd name="T0" fmla="*/ 4 w 126"/>
                <a:gd name="T1" fmla="*/ 25 h 45"/>
                <a:gd name="T2" fmla="*/ 4 w 126"/>
                <a:gd name="T3" fmla="*/ 27 h 45"/>
                <a:gd name="T4" fmla="*/ 7 w 126"/>
                <a:gd name="T5" fmla="*/ 31 h 45"/>
                <a:gd name="T6" fmla="*/ 23 w 126"/>
                <a:gd name="T7" fmla="*/ 34 h 45"/>
                <a:gd name="T8" fmla="*/ 30 w 126"/>
                <a:gd name="T9" fmla="*/ 34 h 45"/>
                <a:gd name="T10" fmla="*/ 37 w 126"/>
                <a:gd name="T11" fmla="*/ 34 h 45"/>
                <a:gd name="T12" fmla="*/ 40 w 126"/>
                <a:gd name="T13" fmla="*/ 37 h 45"/>
                <a:gd name="T14" fmla="*/ 41 w 126"/>
                <a:gd name="T15" fmla="*/ 42 h 45"/>
                <a:gd name="T16" fmla="*/ 50 w 126"/>
                <a:gd name="T17" fmla="*/ 45 h 45"/>
                <a:gd name="T18" fmla="*/ 58 w 126"/>
                <a:gd name="T19" fmla="*/ 45 h 45"/>
                <a:gd name="T20" fmla="*/ 80 w 126"/>
                <a:gd name="T21" fmla="*/ 45 h 45"/>
                <a:gd name="T22" fmla="*/ 88 w 126"/>
                <a:gd name="T23" fmla="*/ 44 h 45"/>
                <a:gd name="T24" fmla="*/ 101 w 126"/>
                <a:gd name="T25" fmla="*/ 35 h 45"/>
                <a:gd name="T26" fmla="*/ 106 w 126"/>
                <a:gd name="T27" fmla="*/ 32 h 45"/>
                <a:gd name="T28" fmla="*/ 113 w 126"/>
                <a:gd name="T29" fmla="*/ 28 h 45"/>
                <a:gd name="T30" fmla="*/ 117 w 126"/>
                <a:gd name="T31" fmla="*/ 24 h 45"/>
                <a:gd name="T32" fmla="*/ 120 w 126"/>
                <a:gd name="T33" fmla="*/ 21 h 45"/>
                <a:gd name="T34" fmla="*/ 123 w 126"/>
                <a:gd name="T35" fmla="*/ 19 h 45"/>
                <a:gd name="T36" fmla="*/ 126 w 126"/>
                <a:gd name="T37" fmla="*/ 14 h 45"/>
                <a:gd name="T38" fmla="*/ 123 w 126"/>
                <a:gd name="T39" fmla="*/ 7 h 45"/>
                <a:gd name="T40" fmla="*/ 114 w 126"/>
                <a:gd name="T41" fmla="*/ 5 h 45"/>
                <a:gd name="T42" fmla="*/ 108 w 126"/>
                <a:gd name="T43" fmla="*/ 7 h 45"/>
                <a:gd name="T44" fmla="*/ 107 w 126"/>
                <a:gd name="T45" fmla="*/ 8 h 45"/>
                <a:gd name="T46" fmla="*/ 104 w 126"/>
                <a:gd name="T47" fmla="*/ 5 h 45"/>
                <a:gd name="T48" fmla="*/ 98 w 126"/>
                <a:gd name="T49" fmla="*/ 2 h 45"/>
                <a:gd name="T50" fmla="*/ 86 w 126"/>
                <a:gd name="T51" fmla="*/ 0 h 45"/>
                <a:gd name="T52" fmla="*/ 77 w 126"/>
                <a:gd name="T53" fmla="*/ 0 h 45"/>
                <a:gd name="T54" fmla="*/ 68 w 126"/>
                <a:gd name="T55" fmla="*/ 1 h 45"/>
                <a:gd name="T56" fmla="*/ 64 w 126"/>
                <a:gd name="T57" fmla="*/ 7 h 45"/>
                <a:gd name="T58" fmla="*/ 64 w 126"/>
                <a:gd name="T59" fmla="*/ 8 h 45"/>
                <a:gd name="T60" fmla="*/ 56 w 126"/>
                <a:gd name="T61" fmla="*/ 7 h 45"/>
                <a:gd name="T62" fmla="*/ 47 w 126"/>
                <a:gd name="T63" fmla="*/ 10 h 45"/>
                <a:gd name="T64" fmla="*/ 41 w 126"/>
                <a:gd name="T65" fmla="*/ 17 h 45"/>
                <a:gd name="T66" fmla="*/ 41 w 126"/>
                <a:gd name="T67" fmla="*/ 21 h 45"/>
                <a:gd name="T68" fmla="*/ 37 w 126"/>
                <a:gd name="T69" fmla="*/ 18 h 45"/>
                <a:gd name="T70" fmla="*/ 37 w 126"/>
                <a:gd name="T71" fmla="*/ 14 h 45"/>
                <a:gd name="T72" fmla="*/ 33 w 126"/>
                <a:gd name="T73" fmla="*/ 8 h 45"/>
                <a:gd name="T74" fmla="*/ 20 w 126"/>
                <a:gd name="T75" fmla="*/ 4 h 45"/>
                <a:gd name="T76" fmla="*/ 11 w 126"/>
                <a:gd name="T77" fmla="*/ 8 h 45"/>
                <a:gd name="T78" fmla="*/ 6 w 126"/>
                <a:gd name="T79" fmla="*/ 11 h 45"/>
                <a:gd name="T80" fmla="*/ 0 w 126"/>
                <a:gd name="T81" fmla="*/ 15 h 45"/>
                <a:gd name="T82" fmla="*/ 0 w 126"/>
                <a:gd name="T83" fmla="*/ 21 h 45"/>
                <a:gd name="T84" fmla="*/ 3 w 126"/>
                <a:gd name="T85" fmla="*/ 2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6" h="45">
                  <a:moveTo>
                    <a:pt x="3" y="24"/>
                  </a:moveTo>
                  <a:lnTo>
                    <a:pt x="3" y="24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10" y="32"/>
                  </a:lnTo>
                  <a:lnTo>
                    <a:pt x="14" y="34"/>
                  </a:lnTo>
                  <a:lnTo>
                    <a:pt x="23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4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8" y="35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41"/>
                  </a:lnTo>
                  <a:lnTo>
                    <a:pt x="41" y="42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50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63" y="45"/>
                  </a:lnTo>
                  <a:lnTo>
                    <a:pt x="80" y="45"/>
                  </a:lnTo>
                  <a:lnTo>
                    <a:pt x="80" y="45"/>
                  </a:lnTo>
                  <a:lnTo>
                    <a:pt x="86" y="45"/>
                  </a:lnTo>
                  <a:lnTo>
                    <a:pt x="88" y="44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3" y="28"/>
                  </a:lnTo>
                  <a:lnTo>
                    <a:pt x="116" y="27"/>
                  </a:lnTo>
                  <a:lnTo>
                    <a:pt x="116" y="27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6" y="14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3" y="7"/>
                  </a:lnTo>
                  <a:lnTo>
                    <a:pt x="117" y="4"/>
                  </a:lnTo>
                  <a:lnTo>
                    <a:pt x="117" y="4"/>
                  </a:lnTo>
                  <a:lnTo>
                    <a:pt x="114" y="5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1" y="4"/>
                  </a:lnTo>
                  <a:lnTo>
                    <a:pt x="98" y="2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3" y="0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6" y="4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0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47" y="10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6" y="11"/>
                  </a:lnTo>
                  <a:lnTo>
                    <a:pt x="33" y="8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0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3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3" y="24"/>
                  </a:lnTo>
                  <a:lnTo>
                    <a:pt x="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51" name="Freeform 105"/>
            <p:cNvSpPr>
              <a:spLocks noEditPoints="1"/>
            </p:cNvSpPr>
            <p:nvPr/>
          </p:nvSpPr>
          <p:spPr bwMode="auto">
            <a:xfrm>
              <a:off x="2465388" y="1695450"/>
              <a:ext cx="211138" cy="50800"/>
            </a:xfrm>
            <a:custGeom>
              <a:avLst/>
              <a:gdLst>
                <a:gd name="T0" fmla="*/ 0 w 268"/>
                <a:gd name="T1" fmla="*/ 16 h 65"/>
                <a:gd name="T2" fmla="*/ 9 w 268"/>
                <a:gd name="T3" fmla="*/ 22 h 65"/>
                <a:gd name="T4" fmla="*/ 15 w 268"/>
                <a:gd name="T5" fmla="*/ 23 h 65"/>
                <a:gd name="T6" fmla="*/ 22 w 268"/>
                <a:gd name="T7" fmla="*/ 26 h 65"/>
                <a:gd name="T8" fmla="*/ 32 w 268"/>
                <a:gd name="T9" fmla="*/ 25 h 65"/>
                <a:gd name="T10" fmla="*/ 45 w 268"/>
                <a:gd name="T11" fmla="*/ 25 h 65"/>
                <a:gd name="T12" fmla="*/ 53 w 268"/>
                <a:gd name="T13" fmla="*/ 26 h 65"/>
                <a:gd name="T14" fmla="*/ 53 w 268"/>
                <a:gd name="T15" fmla="*/ 33 h 65"/>
                <a:gd name="T16" fmla="*/ 36 w 268"/>
                <a:gd name="T17" fmla="*/ 43 h 65"/>
                <a:gd name="T18" fmla="*/ 29 w 268"/>
                <a:gd name="T19" fmla="*/ 53 h 65"/>
                <a:gd name="T20" fmla="*/ 30 w 268"/>
                <a:gd name="T21" fmla="*/ 56 h 65"/>
                <a:gd name="T22" fmla="*/ 50 w 268"/>
                <a:gd name="T23" fmla="*/ 60 h 65"/>
                <a:gd name="T24" fmla="*/ 60 w 268"/>
                <a:gd name="T25" fmla="*/ 63 h 65"/>
                <a:gd name="T26" fmla="*/ 66 w 268"/>
                <a:gd name="T27" fmla="*/ 63 h 65"/>
                <a:gd name="T28" fmla="*/ 75 w 268"/>
                <a:gd name="T29" fmla="*/ 65 h 65"/>
                <a:gd name="T30" fmla="*/ 86 w 268"/>
                <a:gd name="T31" fmla="*/ 60 h 65"/>
                <a:gd name="T32" fmla="*/ 93 w 268"/>
                <a:gd name="T33" fmla="*/ 63 h 65"/>
                <a:gd name="T34" fmla="*/ 132 w 268"/>
                <a:gd name="T35" fmla="*/ 65 h 65"/>
                <a:gd name="T36" fmla="*/ 182 w 268"/>
                <a:gd name="T37" fmla="*/ 60 h 65"/>
                <a:gd name="T38" fmla="*/ 186 w 268"/>
                <a:gd name="T39" fmla="*/ 63 h 65"/>
                <a:gd name="T40" fmla="*/ 222 w 268"/>
                <a:gd name="T41" fmla="*/ 65 h 65"/>
                <a:gd name="T42" fmla="*/ 235 w 268"/>
                <a:gd name="T43" fmla="*/ 65 h 65"/>
                <a:gd name="T44" fmla="*/ 245 w 268"/>
                <a:gd name="T45" fmla="*/ 55 h 65"/>
                <a:gd name="T46" fmla="*/ 249 w 268"/>
                <a:gd name="T47" fmla="*/ 53 h 65"/>
                <a:gd name="T48" fmla="*/ 256 w 268"/>
                <a:gd name="T49" fmla="*/ 56 h 65"/>
                <a:gd name="T50" fmla="*/ 260 w 268"/>
                <a:gd name="T51" fmla="*/ 50 h 65"/>
                <a:gd name="T52" fmla="*/ 263 w 268"/>
                <a:gd name="T53" fmla="*/ 45 h 65"/>
                <a:gd name="T54" fmla="*/ 255 w 268"/>
                <a:gd name="T55" fmla="*/ 37 h 65"/>
                <a:gd name="T56" fmla="*/ 245 w 268"/>
                <a:gd name="T57" fmla="*/ 32 h 65"/>
                <a:gd name="T58" fmla="*/ 235 w 268"/>
                <a:gd name="T59" fmla="*/ 26 h 65"/>
                <a:gd name="T60" fmla="*/ 213 w 268"/>
                <a:gd name="T61" fmla="*/ 29 h 65"/>
                <a:gd name="T62" fmla="*/ 188 w 268"/>
                <a:gd name="T63" fmla="*/ 27 h 65"/>
                <a:gd name="T64" fmla="*/ 169 w 268"/>
                <a:gd name="T65" fmla="*/ 36 h 65"/>
                <a:gd name="T66" fmla="*/ 143 w 268"/>
                <a:gd name="T67" fmla="*/ 39 h 65"/>
                <a:gd name="T68" fmla="*/ 136 w 268"/>
                <a:gd name="T69" fmla="*/ 39 h 65"/>
                <a:gd name="T70" fmla="*/ 115 w 268"/>
                <a:gd name="T71" fmla="*/ 33 h 65"/>
                <a:gd name="T72" fmla="*/ 106 w 268"/>
                <a:gd name="T73" fmla="*/ 30 h 65"/>
                <a:gd name="T74" fmla="*/ 98 w 268"/>
                <a:gd name="T75" fmla="*/ 25 h 65"/>
                <a:gd name="T76" fmla="*/ 103 w 268"/>
                <a:gd name="T77" fmla="*/ 23 h 65"/>
                <a:gd name="T78" fmla="*/ 106 w 268"/>
                <a:gd name="T79" fmla="*/ 20 h 65"/>
                <a:gd name="T80" fmla="*/ 108 w 268"/>
                <a:gd name="T81" fmla="*/ 16 h 65"/>
                <a:gd name="T82" fmla="*/ 102 w 268"/>
                <a:gd name="T83" fmla="*/ 12 h 65"/>
                <a:gd name="T84" fmla="*/ 96 w 268"/>
                <a:gd name="T85" fmla="*/ 10 h 65"/>
                <a:gd name="T86" fmla="*/ 80 w 268"/>
                <a:gd name="T87" fmla="*/ 10 h 65"/>
                <a:gd name="T88" fmla="*/ 70 w 268"/>
                <a:gd name="T89" fmla="*/ 10 h 65"/>
                <a:gd name="T90" fmla="*/ 63 w 268"/>
                <a:gd name="T91" fmla="*/ 9 h 65"/>
                <a:gd name="T92" fmla="*/ 53 w 268"/>
                <a:gd name="T93" fmla="*/ 6 h 65"/>
                <a:gd name="T94" fmla="*/ 42 w 268"/>
                <a:gd name="T95" fmla="*/ 3 h 65"/>
                <a:gd name="T96" fmla="*/ 33 w 268"/>
                <a:gd name="T97" fmla="*/ 3 h 65"/>
                <a:gd name="T98" fmla="*/ 25 w 268"/>
                <a:gd name="T99" fmla="*/ 0 h 65"/>
                <a:gd name="T100" fmla="*/ 16 w 268"/>
                <a:gd name="T101" fmla="*/ 0 h 65"/>
                <a:gd name="T102" fmla="*/ 12 w 268"/>
                <a:gd name="T103" fmla="*/ 5 h 65"/>
                <a:gd name="T104" fmla="*/ 8 w 268"/>
                <a:gd name="T105" fmla="*/ 6 h 65"/>
                <a:gd name="T106" fmla="*/ 56 w 268"/>
                <a:gd name="T107" fmla="*/ 27 h 65"/>
                <a:gd name="T108" fmla="*/ 56 w 268"/>
                <a:gd name="T109" fmla="*/ 3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8" h="65">
                  <a:moveTo>
                    <a:pt x="3" y="9"/>
                  </a:moveTo>
                  <a:lnTo>
                    <a:pt x="3" y="9"/>
                  </a:lnTo>
                  <a:lnTo>
                    <a:pt x="2" y="12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" y="20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45" y="25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50" y="25"/>
                  </a:lnTo>
                  <a:lnTo>
                    <a:pt x="53" y="26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42" y="37"/>
                  </a:lnTo>
                  <a:lnTo>
                    <a:pt x="39" y="40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0" y="50"/>
                  </a:lnTo>
                  <a:lnTo>
                    <a:pt x="29" y="53"/>
                  </a:lnTo>
                  <a:lnTo>
                    <a:pt x="29" y="53"/>
                  </a:lnTo>
                  <a:lnTo>
                    <a:pt x="30" y="55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5" y="57"/>
                  </a:lnTo>
                  <a:lnTo>
                    <a:pt x="39" y="59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6" y="63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3" y="63"/>
                  </a:lnTo>
                  <a:lnTo>
                    <a:pt x="63" y="63"/>
                  </a:lnTo>
                  <a:lnTo>
                    <a:pt x="66" y="63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8" y="65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6" y="62"/>
                  </a:lnTo>
                  <a:lnTo>
                    <a:pt x="86" y="62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108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56" y="65"/>
                  </a:lnTo>
                  <a:lnTo>
                    <a:pt x="172" y="63"/>
                  </a:lnTo>
                  <a:lnTo>
                    <a:pt x="179" y="62"/>
                  </a:lnTo>
                  <a:lnTo>
                    <a:pt x="182" y="60"/>
                  </a:lnTo>
                  <a:lnTo>
                    <a:pt x="182" y="60"/>
                  </a:lnTo>
                  <a:lnTo>
                    <a:pt x="183" y="62"/>
                  </a:lnTo>
                  <a:lnTo>
                    <a:pt x="186" y="63"/>
                  </a:lnTo>
                  <a:lnTo>
                    <a:pt x="186" y="63"/>
                  </a:lnTo>
                  <a:lnTo>
                    <a:pt x="199" y="65"/>
                  </a:lnTo>
                  <a:lnTo>
                    <a:pt x="213" y="65"/>
                  </a:lnTo>
                  <a:lnTo>
                    <a:pt x="213" y="65"/>
                  </a:lnTo>
                  <a:lnTo>
                    <a:pt x="222" y="65"/>
                  </a:lnTo>
                  <a:lnTo>
                    <a:pt x="222" y="65"/>
                  </a:lnTo>
                  <a:lnTo>
                    <a:pt x="226" y="65"/>
                  </a:lnTo>
                  <a:lnTo>
                    <a:pt x="226" y="65"/>
                  </a:lnTo>
                  <a:lnTo>
                    <a:pt x="235" y="65"/>
                  </a:lnTo>
                  <a:lnTo>
                    <a:pt x="238" y="63"/>
                  </a:lnTo>
                  <a:lnTo>
                    <a:pt x="242" y="59"/>
                  </a:lnTo>
                  <a:lnTo>
                    <a:pt x="242" y="59"/>
                  </a:lnTo>
                  <a:lnTo>
                    <a:pt x="245" y="55"/>
                  </a:lnTo>
                  <a:lnTo>
                    <a:pt x="245" y="55"/>
                  </a:lnTo>
                  <a:lnTo>
                    <a:pt x="248" y="53"/>
                  </a:lnTo>
                  <a:lnTo>
                    <a:pt x="248" y="53"/>
                  </a:lnTo>
                  <a:lnTo>
                    <a:pt x="249" y="53"/>
                  </a:lnTo>
                  <a:lnTo>
                    <a:pt x="249" y="53"/>
                  </a:lnTo>
                  <a:lnTo>
                    <a:pt x="252" y="55"/>
                  </a:lnTo>
                  <a:lnTo>
                    <a:pt x="252" y="55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59" y="55"/>
                  </a:lnTo>
                  <a:lnTo>
                    <a:pt x="259" y="53"/>
                  </a:lnTo>
                  <a:lnTo>
                    <a:pt x="260" y="50"/>
                  </a:lnTo>
                  <a:lnTo>
                    <a:pt x="260" y="50"/>
                  </a:lnTo>
                  <a:lnTo>
                    <a:pt x="260" y="49"/>
                  </a:lnTo>
                  <a:lnTo>
                    <a:pt x="262" y="46"/>
                  </a:lnTo>
                  <a:lnTo>
                    <a:pt x="263" y="45"/>
                  </a:lnTo>
                  <a:lnTo>
                    <a:pt x="268" y="43"/>
                  </a:lnTo>
                  <a:lnTo>
                    <a:pt x="263" y="40"/>
                  </a:lnTo>
                  <a:lnTo>
                    <a:pt x="263" y="40"/>
                  </a:lnTo>
                  <a:lnTo>
                    <a:pt x="255" y="37"/>
                  </a:lnTo>
                  <a:lnTo>
                    <a:pt x="246" y="33"/>
                  </a:lnTo>
                  <a:lnTo>
                    <a:pt x="246" y="33"/>
                  </a:lnTo>
                  <a:lnTo>
                    <a:pt x="245" y="32"/>
                  </a:lnTo>
                  <a:lnTo>
                    <a:pt x="245" y="32"/>
                  </a:lnTo>
                  <a:lnTo>
                    <a:pt x="242" y="29"/>
                  </a:lnTo>
                  <a:lnTo>
                    <a:pt x="239" y="27"/>
                  </a:lnTo>
                  <a:lnTo>
                    <a:pt x="235" y="26"/>
                  </a:lnTo>
                  <a:lnTo>
                    <a:pt x="235" y="26"/>
                  </a:lnTo>
                  <a:lnTo>
                    <a:pt x="225" y="27"/>
                  </a:lnTo>
                  <a:lnTo>
                    <a:pt x="225" y="27"/>
                  </a:lnTo>
                  <a:lnTo>
                    <a:pt x="213" y="29"/>
                  </a:lnTo>
                  <a:lnTo>
                    <a:pt x="213" y="29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193" y="26"/>
                  </a:lnTo>
                  <a:lnTo>
                    <a:pt x="188" y="27"/>
                  </a:lnTo>
                  <a:lnTo>
                    <a:pt x="188" y="27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69" y="36"/>
                  </a:lnTo>
                  <a:lnTo>
                    <a:pt x="163" y="37"/>
                  </a:lnTo>
                  <a:lnTo>
                    <a:pt x="156" y="37"/>
                  </a:lnTo>
                  <a:lnTo>
                    <a:pt x="156" y="37"/>
                  </a:lnTo>
                  <a:lnTo>
                    <a:pt x="143" y="39"/>
                  </a:lnTo>
                  <a:lnTo>
                    <a:pt x="143" y="39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32" y="37"/>
                  </a:lnTo>
                  <a:lnTo>
                    <a:pt x="125" y="35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0" y="32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103" y="25"/>
                  </a:lnTo>
                  <a:lnTo>
                    <a:pt x="103" y="23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8" y="19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16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2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2" y="8"/>
                  </a:lnTo>
                  <a:lnTo>
                    <a:pt x="60" y="8"/>
                  </a:lnTo>
                  <a:lnTo>
                    <a:pt x="55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48" y="6"/>
                  </a:lnTo>
                  <a:lnTo>
                    <a:pt x="43" y="5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35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5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3" y="9"/>
                  </a:lnTo>
                  <a:lnTo>
                    <a:pt x="3" y="9"/>
                  </a:lnTo>
                  <a:close/>
                  <a:moveTo>
                    <a:pt x="56" y="27"/>
                  </a:moveTo>
                  <a:lnTo>
                    <a:pt x="56" y="27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30"/>
                  </a:lnTo>
                  <a:lnTo>
                    <a:pt x="56" y="32"/>
                  </a:lnTo>
                  <a:lnTo>
                    <a:pt x="56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52" name="Freeform 106"/>
            <p:cNvSpPr>
              <a:spLocks/>
            </p:cNvSpPr>
            <p:nvPr/>
          </p:nvSpPr>
          <p:spPr bwMode="auto">
            <a:xfrm>
              <a:off x="2406650" y="1655763"/>
              <a:ext cx="65088" cy="34925"/>
            </a:xfrm>
            <a:custGeom>
              <a:avLst/>
              <a:gdLst>
                <a:gd name="T0" fmla="*/ 7 w 83"/>
                <a:gd name="T1" fmla="*/ 19 h 43"/>
                <a:gd name="T2" fmla="*/ 10 w 83"/>
                <a:gd name="T3" fmla="*/ 20 h 43"/>
                <a:gd name="T4" fmla="*/ 10 w 83"/>
                <a:gd name="T5" fmla="*/ 23 h 43"/>
                <a:gd name="T6" fmla="*/ 10 w 83"/>
                <a:gd name="T7" fmla="*/ 29 h 43"/>
                <a:gd name="T8" fmla="*/ 12 w 83"/>
                <a:gd name="T9" fmla="*/ 32 h 43"/>
                <a:gd name="T10" fmla="*/ 17 w 83"/>
                <a:gd name="T11" fmla="*/ 33 h 43"/>
                <a:gd name="T12" fmla="*/ 24 w 83"/>
                <a:gd name="T13" fmla="*/ 32 h 43"/>
                <a:gd name="T14" fmla="*/ 29 w 83"/>
                <a:gd name="T15" fmla="*/ 32 h 43"/>
                <a:gd name="T16" fmla="*/ 32 w 83"/>
                <a:gd name="T17" fmla="*/ 32 h 43"/>
                <a:gd name="T18" fmla="*/ 34 w 83"/>
                <a:gd name="T19" fmla="*/ 33 h 43"/>
                <a:gd name="T20" fmla="*/ 36 w 83"/>
                <a:gd name="T21" fmla="*/ 33 h 43"/>
                <a:gd name="T22" fmla="*/ 42 w 83"/>
                <a:gd name="T23" fmla="*/ 36 h 43"/>
                <a:gd name="T24" fmla="*/ 44 w 83"/>
                <a:gd name="T25" fmla="*/ 36 h 43"/>
                <a:gd name="T26" fmla="*/ 47 w 83"/>
                <a:gd name="T27" fmla="*/ 36 h 43"/>
                <a:gd name="T28" fmla="*/ 50 w 83"/>
                <a:gd name="T29" fmla="*/ 38 h 43"/>
                <a:gd name="T30" fmla="*/ 53 w 83"/>
                <a:gd name="T31" fmla="*/ 39 h 43"/>
                <a:gd name="T32" fmla="*/ 64 w 83"/>
                <a:gd name="T33" fmla="*/ 43 h 43"/>
                <a:gd name="T34" fmla="*/ 69 w 83"/>
                <a:gd name="T35" fmla="*/ 42 h 43"/>
                <a:gd name="T36" fmla="*/ 72 w 83"/>
                <a:gd name="T37" fmla="*/ 39 h 43"/>
                <a:gd name="T38" fmla="*/ 73 w 83"/>
                <a:gd name="T39" fmla="*/ 38 h 43"/>
                <a:gd name="T40" fmla="*/ 73 w 83"/>
                <a:gd name="T41" fmla="*/ 36 h 43"/>
                <a:gd name="T42" fmla="*/ 74 w 83"/>
                <a:gd name="T43" fmla="*/ 36 h 43"/>
                <a:gd name="T44" fmla="*/ 79 w 83"/>
                <a:gd name="T45" fmla="*/ 32 h 43"/>
                <a:gd name="T46" fmla="*/ 79 w 83"/>
                <a:gd name="T47" fmla="*/ 29 h 43"/>
                <a:gd name="T48" fmla="*/ 79 w 83"/>
                <a:gd name="T49" fmla="*/ 26 h 43"/>
                <a:gd name="T50" fmla="*/ 80 w 83"/>
                <a:gd name="T51" fmla="*/ 26 h 43"/>
                <a:gd name="T52" fmla="*/ 82 w 83"/>
                <a:gd name="T53" fmla="*/ 25 h 43"/>
                <a:gd name="T54" fmla="*/ 83 w 83"/>
                <a:gd name="T55" fmla="*/ 22 h 43"/>
                <a:gd name="T56" fmla="*/ 83 w 83"/>
                <a:gd name="T57" fmla="*/ 15 h 43"/>
                <a:gd name="T58" fmla="*/ 82 w 83"/>
                <a:gd name="T59" fmla="*/ 15 h 43"/>
                <a:gd name="T60" fmla="*/ 76 w 83"/>
                <a:gd name="T61" fmla="*/ 15 h 43"/>
                <a:gd name="T62" fmla="*/ 70 w 83"/>
                <a:gd name="T63" fmla="*/ 15 h 43"/>
                <a:gd name="T64" fmla="*/ 67 w 83"/>
                <a:gd name="T65" fmla="*/ 13 h 43"/>
                <a:gd name="T66" fmla="*/ 62 w 83"/>
                <a:gd name="T67" fmla="*/ 10 h 43"/>
                <a:gd name="T68" fmla="*/ 59 w 83"/>
                <a:gd name="T69" fmla="*/ 10 h 43"/>
                <a:gd name="T70" fmla="*/ 56 w 83"/>
                <a:gd name="T71" fmla="*/ 10 h 43"/>
                <a:gd name="T72" fmla="*/ 53 w 83"/>
                <a:gd name="T73" fmla="*/ 9 h 43"/>
                <a:gd name="T74" fmla="*/ 47 w 83"/>
                <a:gd name="T75" fmla="*/ 6 h 43"/>
                <a:gd name="T76" fmla="*/ 40 w 83"/>
                <a:gd name="T77" fmla="*/ 3 h 43"/>
                <a:gd name="T78" fmla="*/ 27 w 83"/>
                <a:gd name="T79" fmla="*/ 0 h 43"/>
                <a:gd name="T80" fmla="*/ 16 w 83"/>
                <a:gd name="T81" fmla="*/ 2 h 43"/>
                <a:gd name="T82" fmla="*/ 7 w 83"/>
                <a:gd name="T83" fmla="*/ 3 h 43"/>
                <a:gd name="T84" fmla="*/ 2 w 83"/>
                <a:gd name="T85" fmla="*/ 9 h 43"/>
                <a:gd name="T86" fmla="*/ 0 w 83"/>
                <a:gd name="T87" fmla="*/ 12 h 43"/>
                <a:gd name="T88" fmla="*/ 0 w 83"/>
                <a:gd name="T89" fmla="*/ 15 h 43"/>
                <a:gd name="T90" fmla="*/ 3 w 83"/>
                <a:gd name="T91" fmla="*/ 18 h 43"/>
                <a:gd name="T92" fmla="*/ 7 w 83"/>
                <a:gd name="T93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3" h="43">
                  <a:moveTo>
                    <a:pt x="7" y="19"/>
                  </a:moveTo>
                  <a:lnTo>
                    <a:pt x="7" y="19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8"/>
                  </a:lnTo>
                  <a:lnTo>
                    <a:pt x="10" y="29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3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32" y="32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3" y="39"/>
                  </a:lnTo>
                  <a:lnTo>
                    <a:pt x="53" y="39"/>
                  </a:lnTo>
                  <a:lnTo>
                    <a:pt x="59" y="42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9" y="42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3" y="38"/>
                  </a:lnTo>
                  <a:lnTo>
                    <a:pt x="73" y="38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7" y="35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2" y="25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18"/>
                  </a:lnTo>
                  <a:lnTo>
                    <a:pt x="83" y="15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6" y="12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59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34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7" y="3"/>
                  </a:lnTo>
                  <a:lnTo>
                    <a:pt x="4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16"/>
                  </a:lnTo>
                  <a:lnTo>
                    <a:pt x="3" y="18"/>
                  </a:lnTo>
                  <a:lnTo>
                    <a:pt x="7" y="19"/>
                  </a:lnTo>
                  <a:lnTo>
                    <a:pt x="7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53" name="Freeform 107"/>
            <p:cNvSpPr>
              <a:spLocks/>
            </p:cNvSpPr>
            <p:nvPr/>
          </p:nvSpPr>
          <p:spPr bwMode="auto">
            <a:xfrm>
              <a:off x="2360613" y="1912938"/>
              <a:ext cx="117475" cy="58738"/>
            </a:xfrm>
            <a:custGeom>
              <a:avLst/>
              <a:gdLst>
                <a:gd name="T0" fmla="*/ 144 w 149"/>
                <a:gd name="T1" fmla="*/ 62 h 76"/>
                <a:gd name="T2" fmla="*/ 147 w 149"/>
                <a:gd name="T3" fmla="*/ 57 h 76"/>
                <a:gd name="T4" fmla="*/ 146 w 149"/>
                <a:gd name="T5" fmla="*/ 49 h 76"/>
                <a:gd name="T6" fmla="*/ 141 w 149"/>
                <a:gd name="T7" fmla="*/ 44 h 76"/>
                <a:gd name="T8" fmla="*/ 137 w 149"/>
                <a:gd name="T9" fmla="*/ 44 h 76"/>
                <a:gd name="T10" fmla="*/ 134 w 149"/>
                <a:gd name="T11" fmla="*/ 44 h 76"/>
                <a:gd name="T12" fmla="*/ 133 w 149"/>
                <a:gd name="T13" fmla="*/ 44 h 76"/>
                <a:gd name="T14" fmla="*/ 131 w 149"/>
                <a:gd name="T15" fmla="*/ 42 h 76"/>
                <a:gd name="T16" fmla="*/ 121 w 149"/>
                <a:gd name="T17" fmla="*/ 27 h 76"/>
                <a:gd name="T18" fmla="*/ 117 w 149"/>
                <a:gd name="T19" fmla="*/ 26 h 76"/>
                <a:gd name="T20" fmla="*/ 111 w 149"/>
                <a:gd name="T21" fmla="*/ 22 h 76"/>
                <a:gd name="T22" fmla="*/ 107 w 149"/>
                <a:gd name="T23" fmla="*/ 19 h 76"/>
                <a:gd name="T24" fmla="*/ 103 w 149"/>
                <a:gd name="T25" fmla="*/ 17 h 76"/>
                <a:gd name="T26" fmla="*/ 99 w 149"/>
                <a:gd name="T27" fmla="*/ 16 h 76"/>
                <a:gd name="T28" fmla="*/ 93 w 149"/>
                <a:gd name="T29" fmla="*/ 13 h 76"/>
                <a:gd name="T30" fmla="*/ 89 w 149"/>
                <a:gd name="T31" fmla="*/ 14 h 76"/>
                <a:gd name="T32" fmla="*/ 86 w 149"/>
                <a:gd name="T33" fmla="*/ 16 h 76"/>
                <a:gd name="T34" fmla="*/ 86 w 149"/>
                <a:gd name="T35" fmla="*/ 12 h 76"/>
                <a:gd name="T36" fmla="*/ 86 w 149"/>
                <a:gd name="T37" fmla="*/ 4 h 76"/>
                <a:gd name="T38" fmla="*/ 81 w 149"/>
                <a:gd name="T39" fmla="*/ 0 h 76"/>
                <a:gd name="T40" fmla="*/ 73 w 149"/>
                <a:gd name="T41" fmla="*/ 3 h 76"/>
                <a:gd name="T42" fmla="*/ 60 w 149"/>
                <a:gd name="T43" fmla="*/ 19 h 76"/>
                <a:gd name="T44" fmla="*/ 49 w 149"/>
                <a:gd name="T45" fmla="*/ 27 h 76"/>
                <a:gd name="T46" fmla="*/ 36 w 149"/>
                <a:gd name="T47" fmla="*/ 39 h 76"/>
                <a:gd name="T48" fmla="*/ 16 w 149"/>
                <a:gd name="T49" fmla="*/ 50 h 76"/>
                <a:gd name="T50" fmla="*/ 3 w 149"/>
                <a:gd name="T51" fmla="*/ 54 h 76"/>
                <a:gd name="T52" fmla="*/ 3 w 149"/>
                <a:gd name="T53" fmla="*/ 59 h 76"/>
                <a:gd name="T54" fmla="*/ 19 w 149"/>
                <a:gd name="T55" fmla="*/ 62 h 76"/>
                <a:gd name="T56" fmla="*/ 30 w 149"/>
                <a:gd name="T57" fmla="*/ 60 h 76"/>
                <a:gd name="T58" fmla="*/ 27 w 149"/>
                <a:gd name="T59" fmla="*/ 67 h 76"/>
                <a:gd name="T60" fmla="*/ 31 w 149"/>
                <a:gd name="T61" fmla="*/ 73 h 76"/>
                <a:gd name="T62" fmla="*/ 40 w 149"/>
                <a:gd name="T63" fmla="*/ 76 h 76"/>
                <a:gd name="T64" fmla="*/ 47 w 149"/>
                <a:gd name="T65" fmla="*/ 73 h 76"/>
                <a:gd name="T66" fmla="*/ 56 w 149"/>
                <a:gd name="T67" fmla="*/ 66 h 76"/>
                <a:gd name="T68" fmla="*/ 63 w 149"/>
                <a:gd name="T69" fmla="*/ 63 h 76"/>
                <a:gd name="T70" fmla="*/ 73 w 149"/>
                <a:gd name="T71" fmla="*/ 59 h 76"/>
                <a:gd name="T72" fmla="*/ 81 w 149"/>
                <a:gd name="T73" fmla="*/ 52 h 76"/>
                <a:gd name="T74" fmla="*/ 84 w 149"/>
                <a:gd name="T75" fmla="*/ 50 h 76"/>
                <a:gd name="T76" fmla="*/ 96 w 149"/>
                <a:gd name="T77" fmla="*/ 50 h 76"/>
                <a:gd name="T78" fmla="*/ 103 w 149"/>
                <a:gd name="T79" fmla="*/ 56 h 76"/>
                <a:gd name="T80" fmla="*/ 117 w 149"/>
                <a:gd name="T81" fmla="*/ 62 h 76"/>
                <a:gd name="T82" fmla="*/ 121 w 149"/>
                <a:gd name="T83" fmla="*/ 63 h 76"/>
                <a:gd name="T84" fmla="*/ 139 w 149"/>
                <a:gd name="T85" fmla="*/ 6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76">
                  <a:moveTo>
                    <a:pt x="141" y="63"/>
                  </a:moveTo>
                  <a:lnTo>
                    <a:pt x="141" y="63"/>
                  </a:lnTo>
                  <a:lnTo>
                    <a:pt x="144" y="62"/>
                  </a:lnTo>
                  <a:lnTo>
                    <a:pt x="147" y="60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9" y="54"/>
                  </a:lnTo>
                  <a:lnTo>
                    <a:pt x="147" y="52"/>
                  </a:lnTo>
                  <a:lnTo>
                    <a:pt x="146" y="49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1" y="44"/>
                  </a:lnTo>
                  <a:lnTo>
                    <a:pt x="139" y="44"/>
                  </a:lnTo>
                  <a:lnTo>
                    <a:pt x="139" y="44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3" y="44"/>
                  </a:lnTo>
                  <a:lnTo>
                    <a:pt x="133" y="44"/>
                  </a:lnTo>
                  <a:lnTo>
                    <a:pt x="133" y="44"/>
                  </a:lnTo>
                  <a:lnTo>
                    <a:pt x="131" y="42"/>
                  </a:lnTo>
                  <a:lnTo>
                    <a:pt x="131" y="42"/>
                  </a:lnTo>
                  <a:lnTo>
                    <a:pt x="129" y="33"/>
                  </a:lnTo>
                  <a:lnTo>
                    <a:pt x="126" y="29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1" y="22"/>
                  </a:lnTo>
                  <a:lnTo>
                    <a:pt x="111" y="22"/>
                  </a:lnTo>
                  <a:lnTo>
                    <a:pt x="110" y="20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6" y="14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0" y="13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4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1" y="0"/>
                  </a:lnTo>
                  <a:lnTo>
                    <a:pt x="80" y="0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66" y="10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56" y="24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1" y="32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1" y="43"/>
                  </a:lnTo>
                  <a:lnTo>
                    <a:pt x="27" y="46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0" y="52"/>
                  </a:lnTo>
                  <a:lnTo>
                    <a:pt x="3" y="54"/>
                  </a:lnTo>
                  <a:lnTo>
                    <a:pt x="0" y="57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6" y="60"/>
                  </a:lnTo>
                  <a:lnTo>
                    <a:pt x="10" y="60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7" y="67"/>
                  </a:lnTo>
                  <a:lnTo>
                    <a:pt x="29" y="70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3" y="76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51" y="69"/>
                  </a:lnTo>
                  <a:lnTo>
                    <a:pt x="51" y="69"/>
                  </a:lnTo>
                  <a:lnTo>
                    <a:pt x="56" y="66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3" y="63"/>
                  </a:lnTo>
                  <a:lnTo>
                    <a:pt x="63" y="63"/>
                  </a:lnTo>
                  <a:lnTo>
                    <a:pt x="70" y="60"/>
                  </a:lnTo>
                  <a:lnTo>
                    <a:pt x="73" y="59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91" y="49"/>
                  </a:lnTo>
                  <a:lnTo>
                    <a:pt x="91" y="49"/>
                  </a:lnTo>
                  <a:lnTo>
                    <a:pt x="96" y="50"/>
                  </a:lnTo>
                  <a:lnTo>
                    <a:pt x="100" y="53"/>
                  </a:lnTo>
                  <a:lnTo>
                    <a:pt x="100" y="53"/>
                  </a:lnTo>
                  <a:lnTo>
                    <a:pt x="103" y="56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17" y="62"/>
                  </a:lnTo>
                  <a:lnTo>
                    <a:pt x="117" y="62"/>
                  </a:lnTo>
                  <a:lnTo>
                    <a:pt x="121" y="63"/>
                  </a:lnTo>
                  <a:lnTo>
                    <a:pt x="121" y="63"/>
                  </a:lnTo>
                  <a:lnTo>
                    <a:pt x="130" y="63"/>
                  </a:lnTo>
                  <a:lnTo>
                    <a:pt x="139" y="63"/>
                  </a:lnTo>
                  <a:lnTo>
                    <a:pt x="139" y="63"/>
                  </a:lnTo>
                  <a:lnTo>
                    <a:pt x="141" y="63"/>
                  </a:lnTo>
                  <a:lnTo>
                    <a:pt x="141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54" name="Freeform 108"/>
            <p:cNvSpPr>
              <a:spLocks/>
            </p:cNvSpPr>
            <p:nvPr/>
          </p:nvSpPr>
          <p:spPr bwMode="auto">
            <a:xfrm>
              <a:off x="2398713" y="1971675"/>
              <a:ext cx="41275" cy="17463"/>
            </a:xfrm>
            <a:custGeom>
              <a:avLst/>
              <a:gdLst>
                <a:gd name="T0" fmla="*/ 44 w 53"/>
                <a:gd name="T1" fmla="*/ 0 h 23"/>
                <a:gd name="T2" fmla="*/ 44 w 53"/>
                <a:gd name="T3" fmla="*/ 0 h 23"/>
                <a:gd name="T4" fmla="*/ 29 w 53"/>
                <a:gd name="T5" fmla="*/ 0 h 23"/>
                <a:gd name="T6" fmla="*/ 27 w 53"/>
                <a:gd name="T7" fmla="*/ 0 h 23"/>
                <a:gd name="T8" fmla="*/ 27 w 53"/>
                <a:gd name="T9" fmla="*/ 0 h 23"/>
                <a:gd name="T10" fmla="*/ 22 w 53"/>
                <a:gd name="T11" fmla="*/ 2 h 23"/>
                <a:gd name="T12" fmla="*/ 16 w 53"/>
                <a:gd name="T13" fmla="*/ 5 h 23"/>
                <a:gd name="T14" fmla="*/ 16 w 53"/>
                <a:gd name="T15" fmla="*/ 5 h 23"/>
                <a:gd name="T16" fmla="*/ 13 w 53"/>
                <a:gd name="T17" fmla="*/ 6 h 23"/>
                <a:gd name="T18" fmla="*/ 13 w 53"/>
                <a:gd name="T19" fmla="*/ 6 h 23"/>
                <a:gd name="T20" fmla="*/ 13 w 53"/>
                <a:gd name="T21" fmla="*/ 6 h 23"/>
                <a:gd name="T22" fmla="*/ 13 w 53"/>
                <a:gd name="T23" fmla="*/ 6 h 23"/>
                <a:gd name="T24" fmla="*/ 10 w 53"/>
                <a:gd name="T25" fmla="*/ 6 h 23"/>
                <a:gd name="T26" fmla="*/ 10 w 53"/>
                <a:gd name="T27" fmla="*/ 6 h 23"/>
                <a:gd name="T28" fmla="*/ 9 w 53"/>
                <a:gd name="T29" fmla="*/ 5 h 23"/>
                <a:gd name="T30" fmla="*/ 9 w 53"/>
                <a:gd name="T31" fmla="*/ 5 h 23"/>
                <a:gd name="T32" fmla="*/ 6 w 53"/>
                <a:gd name="T33" fmla="*/ 6 h 23"/>
                <a:gd name="T34" fmla="*/ 4 w 53"/>
                <a:gd name="T35" fmla="*/ 9 h 23"/>
                <a:gd name="T36" fmla="*/ 4 w 53"/>
                <a:gd name="T37" fmla="*/ 9 h 23"/>
                <a:gd name="T38" fmla="*/ 2 w 53"/>
                <a:gd name="T39" fmla="*/ 13 h 23"/>
                <a:gd name="T40" fmla="*/ 0 w 53"/>
                <a:gd name="T41" fmla="*/ 18 h 23"/>
                <a:gd name="T42" fmla="*/ 0 w 53"/>
                <a:gd name="T43" fmla="*/ 18 h 23"/>
                <a:gd name="T44" fmla="*/ 2 w 53"/>
                <a:gd name="T45" fmla="*/ 20 h 23"/>
                <a:gd name="T46" fmla="*/ 3 w 53"/>
                <a:gd name="T47" fmla="*/ 22 h 23"/>
                <a:gd name="T48" fmla="*/ 3 w 53"/>
                <a:gd name="T49" fmla="*/ 22 h 23"/>
                <a:gd name="T50" fmla="*/ 7 w 53"/>
                <a:gd name="T51" fmla="*/ 23 h 23"/>
                <a:gd name="T52" fmla="*/ 7 w 53"/>
                <a:gd name="T53" fmla="*/ 23 h 23"/>
                <a:gd name="T54" fmla="*/ 14 w 53"/>
                <a:gd name="T55" fmla="*/ 22 h 23"/>
                <a:gd name="T56" fmla="*/ 19 w 53"/>
                <a:gd name="T57" fmla="*/ 22 h 23"/>
                <a:gd name="T58" fmla="*/ 19 w 53"/>
                <a:gd name="T59" fmla="*/ 22 h 23"/>
                <a:gd name="T60" fmla="*/ 27 w 53"/>
                <a:gd name="T61" fmla="*/ 18 h 23"/>
                <a:gd name="T62" fmla="*/ 27 w 53"/>
                <a:gd name="T63" fmla="*/ 18 h 23"/>
                <a:gd name="T64" fmla="*/ 34 w 53"/>
                <a:gd name="T65" fmla="*/ 15 h 23"/>
                <a:gd name="T66" fmla="*/ 34 w 53"/>
                <a:gd name="T67" fmla="*/ 15 h 23"/>
                <a:gd name="T68" fmla="*/ 40 w 53"/>
                <a:gd name="T69" fmla="*/ 13 h 23"/>
                <a:gd name="T70" fmla="*/ 44 w 53"/>
                <a:gd name="T71" fmla="*/ 13 h 23"/>
                <a:gd name="T72" fmla="*/ 49 w 53"/>
                <a:gd name="T73" fmla="*/ 12 h 23"/>
                <a:gd name="T74" fmla="*/ 49 w 53"/>
                <a:gd name="T75" fmla="*/ 12 h 23"/>
                <a:gd name="T76" fmla="*/ 52 w 53"/>
                <a:gd name="T77" fmla="*/ 10 h 23"/>
                <a:gd name="T78" fmla="*/ 53 w 53"/>
                <a:gd name="T79" fmla="*/ 9 h 23"/>
                <a:gd name="T80" fmla="*/ 53 w 53"/>
                <a:gd name="T81" fmla="*/ 6 h 23"/>
                <a:gd name="T82" fmla="*/ 53 w 53"/>
                <a:gd name="T83" fmla="*/ 6 h 23"/>
                <a:gd name="T84" fmla="*/ 52 w 53"/>
                <a:gd name="T85" fmla="*/ 3 h 23"/>
                <a:gd name="T86" fmla="*/ 50 w 53"/>
                <a:gd name="T87" fmla="*/ 2 h 23"/>
                <a:gd name="T88" fmla="*/ 44 w 53"/>
                <a:gd name="T89" fmla="*/ 0 h 23"/>
                <a:gd name="T90" fmla="*/ 44 w 53"/>
                <a:gd name="T9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3" h="23">
                  <a:moveTo>
                    <a:pt x="44" y="0"/>
                  </a:moveTo>
                  <a:lnTo>
                    <a:pt x="44" y="0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9" y="5"/>
                  </a:lnTo>
                  <a:lnTo>
                    <a:pt x="9" y="5"/>
                  </a:lnTo>
                  <a:lnTo>
                    <a:pt x="6" y="6"/>
                  </a:lnTo>
                  <a:lnTo>
                    <a:pt x="4" y="9"/>
                  </a:lnTo>
                  <a:lnTo>
                    <a:pt x="4" y="9"/>
                  </a:lnTo>
                  <a:lnTo>
                    <a:pt x="2" y="13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20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14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40" y="13"/>
                  </a:lnTo>
                  <a:lnTo>
                    <a:pt x="44" y="13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2" y="10"/>
                  </a:lnTo>
                  <a:lnTo>
                    <a:pt x="53" y="9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2" y="3"/>
                  </a:lnTo>
                  <a:lnTo>
                    <a:pt x="50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55" name="Freeform 109"/>
            <p:cNvSpPr>
              <a:spLocks/>
            </p:cNvSpPr>
            <p:nvPr/>
          </p:nvSpPr>
          <p:spPr bwMode="auto">
            <a:xfrm>
              <a:off x="2446338" y="1984375"/>
              <a:ext cx="23813" cy="17463"/>
            </a:xfrm>
            <a:custGeom>
              <a:avLst/>
              <a:gdLst>
                <a:gd name="T0" fmla="*/ 27 w 30"/>
                <a:gd name="T1" fmla="*/ 0 h 23"/>
                <a:gd name="T2" fmla="*/ 27 w 30"/>
                <a:gd name="T3" fmla="*/ 0 h 23"/>
                <a:gd name="T4" fmla="*/ 20 w 30"/>
                <a:gd name="T5" fmla="*/ 0 h 23"/>
                <a:gd name="T6" fmla="*/ 20 w 30"/>
                <a:gd name="T7" fmla="*/ 0 h 23"/>
                <a:gd name="T8" fmla="*/ 10 w 30"/>
                <a:gd name="T9" fmla="*/ 0 h 23"/>
                <a:gd name="T10" fmla="*/ 5 w 30"/>
                <a:gd name="T11" fmla="*/ 2 h 23"/>
                <a:gd name="T12" fmla="*/ 2 w 30"/>
                <a:gd name="T13" fmla="*/ 4 h 23"/>
                <a:gd name="T14" fmla="*/ 2 w 30"/>
                <a:gd name="T15" fmla="*/ 4 h 23"/>
                <a:gd name="T16" fmla="*/ 1 w 30"/>
                <a:gd name="T17" fmla="*/ 9 h 23"/>
                <a:gd name="T18" fmla="*/ 0 w 30"/>
                <a:gd name="T19" fmla="*/ 13 h 23"/>
                <a:gd name="T20" fmla="*/ 0 w 30"/>
                <a:gd name="T21" fmla="*/ 13 h 23"/>
                <a:gd name="T22" fmla="*/ 0 w 30"/>
                <a:gd name="T23" fmla="*/ 14 h 23"/>
                <a:gd name="T24" fmla="*/ 0 w 30"/>
                <a:gd name="T25" fmla="*/ 14 h 23"/>
                <a:gd name="T26" fmla="*/ 1 w 30"/>
                <a:gd name="T27" fmla="*/ 19 h 23"/>
                <a:gd name="T28" fmla="*/ 2 w 30"/>
                <a:gd name="T29" fmla="*/ 20 h 23"/>
                <a:gd name="T30" fmla="*/ 4 w 30"/>
                <a:gd name="T31" fmla="*/ 23 h 23"/>
                <a:gd name="T32" fmla="*/ 4 w 30"/>
                <a:gd name="T33" fmla="*/ 23 h 23"/>
                <a:gd name="T34" fmla="*/ 11 w 30"/>
                <a:gd name="T35" fmla="*/ 23 h 23"/>
                <a:gd name="T36" fmla="*/ 11 w 30"/>
                <a:gd name="T37" fmla="*/ 23 h 23"/>
                <a:gd name="T38" fmla="*/ 15 w 30"/>
                <a:gd name="T39" fmla="*/ 23 h 23"/>
                <a:gd name="T40" fmla="*/ 15 w 30"/>
                <a:gd name="T41" fmla="*/ 23 h 23"/>
                <a:gd name="T42" fmla="*/ 20 w 30"/>
                <a:gd name="T43" fmla="*/ 19 h 23"/>
                <a:gd name="T44" fmla="*/ 21 w 30"/>
                <a:gd name="T45" fmla="*/ 14 h 23"/>
                <a:gd name="T46" fmla="*/ 21 w 30"/>
                <a:gd name="T47" fmla="*/ 14 h 23"/>
                <a:gd name="T48" fmla="*/ 24 w 30"/>
                <a:gd name="T49" fmla="*/ 12 h 23"/>
                <a:gd name="T50" fmla="*/ 24 w 30"/>
                <a:gd name="T51" fmla="*/ 12 h 23"/>
                <a:gd name="T52" fmla="*/ 25 w 30"/>
                <a:gd name="T53" fmla="*/ 9 h 23"/>
                <a:gd name="T54" fmla="*/ 25 w 30"/>
                <a:gd name="T55" fmla="*/ 9 h 23"/>
                <a:gd name="T56" fmla="*/ 28 w 30"/>
                <a:gd name="T57" fmla="*/ 7 h 23"/>
                <a:gd name="T58" fmla="*/ 30 w 30"/>
                <a:gd name="T59" fmla="*/ 4 h 23"/>
                <a:gd name="T60" fmla="*/ 30 w 30"/>
                <a:gd name="T61" fmla="*/ 2 h 23"/>
                <a:gd name="T62" fmla="*/ 28 w 30"/>
                <a:gd name="T63" fmla="*/ 0 h 23"/>
                <a:gd name="T64" fmla="*/ 27 w 30"/>
                <a:gd name="T65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23">
                  <a:moveTo>
                    <a:pt x="27" y="0"/>
                  </a:moveTo>
                  <a:lnTo>
                    <a:pt x="27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5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9"/>
                  </a:lnTo>
                  <a:lnTo>
                    <a:pt x="2" y="20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20" y="19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8" y="7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28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56" name="Freeform 110"/>
            <p:cNvSpPr>
              <a:spLocks/>
            </p:cNvSpPr>
            <p:nvPr/>
          </p:nvSpPr>
          <p:spPr bwMode="auto">
            <a:xfrm>
              <a:off x="2578100" y="1862138"/>
              <a:ext cx="42863" cy="25400"/>
            </a:xfrm>
            <a:custGeom>
              <a:avLst/>
              <a:gdLst>
                <a:gd name="T0" fmla="*/ 15 w 53"/>
                <a:gd name="T1" fmla="*/ 32 h 32"/>
                <a:gd name="T2" fmla="*/ 15 w 53"/>
                <a:gd name="T3" fmla="*/ 32 h 32"/>
                <a:gd name="T4" fmla="*/ 23 w 53"/>
                <a:gd name="T5" fmla="*/ 32 h 32"/>
                <a:gd name="T6" fmla="*/ 29 w 53"/>
                <a:gd name="T7" fmla="*/ 30 h 32"/>
                <a:gd name="T8" fmla="*/ 35 w 53"/>
                <a:gd name="T9" fmla="*/ 27 h 32"/>
                <a:gd name="T10" fmla="*/ 40 w 53"/>
                <a:gd name="T11" fmla="*/ 25 h 32"/>
                <a:gd name="T12" fmla="*/ 40 w 53"/>
                <a:gd name="T13" fmla="*/ 25 h 32"/>
                <a:gd name="T14" fmla="*/ 43 w 53"/>
                <a:gd name="T15" fmla="*/ 22 h 32"/>
                <a:gd name="T16" fmla="*/ 43 w 53"/>
                <a:gd name="T17" fmla="*/ 22 h 32"/>
                <a:gd name="T18" fmla="*/ 46 w 53"/>
                <a:gd name="T19" fmla="*/ 19 h 32"/>
                <a:gd name="T20" fmla="*/ 46 w 53"/>
                <a:gd name="T21" fmla="*/ 19 h 32"/>
                <a:gd name="T22" fmla="*/ 47 w 53"/>
                <a:gd name="T23" fmla="*/ 17 h 32"/>
                <a:gd name="T24" fmla="*/ 47 w 53"/>
                <a:gd name="T25" fmla="*/ 17 h 32"/>
                <a:gd name="T26" fmla="*/ 50 w 53"/>
                <a:gd name="T27" fmla="*/ 16 h 32"/>
                <a:gd name="T28" fmla="*/ 52 w 53"/>
                <a:gd name="T29" fmla="*/ 15 h 32"/>
                <a:gd name="T30" fmla="*/ 52 w 53"/>
                <a:gd name="T31" fmla="*/ 15 h 32"/>
                <a:gd name="T32" fmla="*/ 53 w 53"/>
                <a:gd name="T33" fmla="*/ 10 h 32"/>
                <a:gd name="T34" fmla="*/ 53 w 53"/>
                <a:gd name="T35" fmla="*/ 7 h 32"/>
                <a:gd name="T36" fmla="*/ 53 w 53"/>
                <a:gd name="T37" fmla="*/ 7 h 32"/>
                <a:gd name="T38" fmla="*/ 49 w 53"/>
                <a:gd name="T39" fmla="*/ 3 h 32"/>
                <a:gd name="T40" fmla="*/ 46 w 53"/>
                <a:gd name="T41" fmla="*/ 2 h 32"/>
                <a:gd name="T42" fmla="*/ 39 w 53"/>
                <a:gd name="T43" fmla="*/ 0 h 32"/>
                <a:gd name="T44" fmla="*/ 39 w 53"/>
                <a:gd name="T45" fmla="*/ 0 h 32"/>
                <a:gd name="T46" fmla="*/ 33 w 53"/>
                <a:gd name="T47" fmla="*/ 0 h 32"/>
                <a:gd name="T48" fmla="*/ 26 w 53"/>
                <a:gd name="T49" fmla="*/ 2 h 32"/>
                <a:gd name="T50" fmla="*/ 15 w 53"/>
                <a:gd name="T51" fmla="*/ 7 h 32"/>
                <a:gd name="T52" fmla="*/ 15 w 53"/>
                <a:gd name="T53" fmla="*/ 7 h 32"/>
                <a:gd name="T54" fmla="*/ 9 w 53"/>
                <a:gd name="T55" fmla="*/ 12 h 32"/>
                <a:gd name="T56" fmla="*/ 5 w 53"/>
                <a:gd name="T57" fmla="*/ 16 h 32"/>
                <a:gd name="T58" fmla="*/ 2 w 53"/>
                <a:gd name="T59" fmla="*/ 22 h 32"/>
                <a:gd name="T60" fmla="*/ 0 w 53"/>
                <a:gd name="T61" fmla="*/ 29 h 32"/>
                <a:gd name="T62" fmla="*/ 0 w 53"/>
                <a:gd name="T63" fmla="*/ 30 h 32"/>
                <a:gd name="T64" fmla="*/ 3 w 53"/>
                <a:gd name="T65" fmla="*/ 32 h 32"/>
                <a:gd name="T66" fmla="*/ 3 w 53"/>
                <a:gd name="T67" fmla="*/ 32 h 32"/>
                <a:gd name="T68" fmla="*/ 15 w 53"/>
                <a:gd name="T69" fmla="*/ 32 h 32"/>
                <a:gd name="T70" fmla="*/ 15 w 53"/>
                <a:gd name="T7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" h="32">
                  <a:moveTo>
                    <a:pt x="15" y="32"/>
                  </a:moveTo>
                  <a:lnTo>
                    <a:pt x="15" y="32"/>
                  </a:lnTo>
                  <a:lnTo>
                    <a:pt x="23" y="32"/>
                  </a:lnTo>
                  <a:lnTo>
                    <a:pt x="29" y="30"/>
                  </a:lnTo>
                  <a:lnTo>
                    <a:pt x="35" y="27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50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3" y="10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49" y="3"/>
                  </a:lnTo>
                  <a:lnTo>
                    <a:pt x="46" y="2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2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9" y="12"/>
                  </a:lnTo>
                  <a:lnTo>
                    <a:pt x="5" y="16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0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15" y="32"/>
                  </a:lnTo>
                  <a:lnTo>
                    <a:pt x="15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57" name="Freeform 111"/>
            <p:cNvSpPr>
              <a:spLocks/>
            </p:cNvSpPr>
            <p:nvPr/>
          </p:nvSpPr>
          <p:spPr bwMode="auto">
            <a:xfrm>
              <a:off x="2482850" y="1665288"/>
              <a:ext cx="50800" cy="31750"/>
            </a:xfrm>
            <a:custGeom>
              <a:avLst/>
              <a:gdLst>
                <a:gd name="T0" fmla="*/ 3 w 63"/>
                <a:gd name="T1" fmla="*/ 18 h 40"/>
                <a:gd name="T2" fmla="*/ 3 w 63"/>
                <a:gd name="T3" fmla="*/ 18 h 40"/>
                <a:gd name="T4" fmla="*/ 3 w 63"/>
                <a:gd name="T5" fmla="*/ 21 h 40"/>
                <a:gd name="T6" fmla="*/ 6 w 63"/>
                <a:gd name="T7" fmla="*/ 26 h 40"/>
                <a:gd name="T8" fmla="*/ 6 w 63"/>
                <a:gd name="T9" fmla="*/ 26 h 40"/>
                <a:gd name="T10" fmla="*/ 9 w 63"/>
                <a:gd name="T11" fmla="*/ 30 h 40"/>
                <a:gd name="T12" fmla="*/ 9 w 63"/>
                <a:gd name="T13" fmla="*/ 30 h 40"/>
                <a:gd name="T14" fmla="*/ 10 w 63"/>
                <a:gd name="T15" fmla="*/ 33 h 40"/>
                <a:gd name="T16" fmla="*/ 10 w 63"/>
                <a:gd name="T17" fmla="*/ 33 h 40"/>
                <a:gd name="T18" fmla="*/ 15 w 63"/>
                <a:gd name="T19" fmla="*/ 37 h 40"/>
                <a:gd name="T20" fmla="*/ 20 w 63"/>
                <a:gd name="T21" fmla="*/ 38 h 40"/>
                <a:gd name="T22" fmla="*/ 27 w 63"/>
                <a:gd name="T23" fmla="*/ 40 h 40"/>
                <a:gd name="T24" fmla="*/ 33 w 63"/>
                <a:gd name="T25" fmla="*/ 40 h 40"/>
                <a:gd name="T26" fmla="*/ 33 w 63"/>
                <a:gd name="T27" fmla="*/ 40 h 40"/>
                <a:gd name="T28" fmla="*/ 40 w 63"/>
                <a:gd name="T29" fmla="*/ 40 h 40"/>
                <a:gd name="T30" fmla="*/ 40 w 63"/>
                <a:gd name="T31" fmla="*/ 38 h 40"/>
                <a:gd name="T32" fmla="*/ 40 w 63"/>
                <a:gd name="T33" fmla="*/ 38 h 40"/>
                <a:gd name="T34" fmla="*/ 40 w 63"/>
                <a:gd name="T35" fmla="*/ 40 h 40"/>
                <a:gd name="T36" fmla="*/ 40 w 63"/>
                <a:gd name="T37" fmla="*/ 40 h 40"/>
                <a:gd name="T38" fmla="*/ 49 w 63"/>
                <a:gd name="T39" fmla="*/ 40 h 40"/>
                <a:gd name="T40" fmla="*/ 49 w 63"/>
                <a:gd name="T41" fmla="*/ 40 h 40"/>
                <a:gd name="T42" fmla="*/ 57 w 63"/>
                <a:gd name="T43" fmla="*/ 38 h 40"/>
                <a:gd name="T44" fmla="*/ 60 w 63"/>
                <a:gd name="T45" fmla="*/ 37 h 40"/>
                <a:gd name="T46" fmla="*/ 62 w 63"/>
                <a:gd name="T47" fmla="*/ 36 h 40"/>
                <a:gd name="T48" fmla="*/ 62 w 63"/>
                <a:gd name="T49" fmla="*/ 36 h 40"/>
                <a:gd name="T50" fmla="*/ 63 w 63"/>
                <a:gd name="T51" fmla="*/ 33 h 40"/>
                <a:gd name="T52" fmla="*/ 62 w 63"/>
                <a:gd name="T53" fmla="*/ 30 h 40"/>
                <a:gd name="T54" fmla="*/ 62 w 63"/>
                <a:gd name="T55" fmla="*/ 30 h 40"/>
                <a:gd name="T56" fmla="*/ 60 w 63"/>
                <a:gd name="T57" fmla="*/ 28 h 40"/>
                <a:gd name="T58" fmla="*/ 56 w 63"/>
                <a:gd name="T59" fmla="*/ 27 h 40"/>
                <a:gd name="T60" fmla="*/ 56 w 63"/>
                <a:gd name="T61" fmla="*/ 27 h 40"/>
                <a:gd name="T62" fmla="*/ 46 w 63"/>
                <a:gd name="T63" fmla="*/ 24 h 40"/>
                <a:gd name="T64" fmla="*/ 46 w 63"/>
                <a:gd name="T65" fmla="*/ 24 h 40"/>
                <a:gd name="T66" fmla="*/ 47 w 63"/>
                <a:gd name="T67" fmla="*/ 23 h 40"/>
                <a:gd name="T68" fmla="*/ 47 w 63"/>
                <a:gd name="T69" fmla="*/ 23 h 40"/>
                <a:gd name="T70" fmla="*/ 50 w 63"/>
                <a:gd name="T71" fmla="*/ 20 h 40"/>
                <a:gd name="T72" fmla="*/ 52 w 63"/>
                <a:gd name="T73" fmla="*/ 16 h 40"/>
                <a:gd name="T74" fmla="*/ 52 w 63"/>
                <a:gd name="T75" fmla="*/ 16 h 40"/>
                <a:gd name="T76" fmla="*/ 50 w 63"/>
                <a:gd name="T77" fmla="*/ 13 h 40"/>
                <a:gd name="T78" fmla="*/ 49 w 63"/>
                <a:gd name="T79" fmla="*/ 11 h 40"/>
                <a:gd name="T80" fmla="*/ 49 w 63"/>
                <a:gd name="T81" fmla="*/ 11 h 40"/>
                <a:gd name="T82" fmla="*/ 46 w 63"/>
                <a:gd name="T83" fmla="*/ 10 h 40"/>
                <a:gd name="T84" fmla="*/ 43 w 63"/>
                <a:gd name="T85" fmla="*/ 8 h 40"/>
                <a:gd name="T86" fmla="*/ 43 w 63"/>
                <a:gd name="T87" fmla="*/ 8 h 40"/>
                <a:gd name="T88" fmla="*/ 39 w 63"/>
                <a:gd name="T89" fmla="*/ 7 h 40"/>
                <a:gd name="T90" fmla="*/ 39 w 63"/>
                <a:gd name="T91" fmla="*/ 7 h 40"/>
                <a:gd name="T92" fmla="*/ 36 w 63"/>
                <a:gd name="T93" fmla="*/ 6 h 40"/>
                <a:gd name="T94" fmla="*/ 36 w 63"/>
                <a:gd name="T95" fmla="*/ 6 h 40"/>
                <a:gd name="T96" fmla="*/ 32 w 63"/>
                <a:gd name="T97" fmla="*/ 1 h 40"/>
                <a:gd name="T98" fmla="*/ 32 w 63"/>
                <a:gd name="T99" fmla="*/ 1 h 40"/>
                <a:gd name="T100" fmla="*/ 27 w 63"/>
                <a:gd name="T101" fmla="*/ 0 h 40"/>
                <a:gd name="T102" fmla="*/ 20 w 63"/>
                <a:gd name="T103" fmla="*/ 0 h 40"/>
                <a:gd name="T104" fmla="*/ 20 w 63"/>
                <a:gd name="T105" fmla="*/ 0 h 40"/>
                <a:gd name="T106" fmla="*/ 12 w 63"/>
                <a:gd name="T107" fmla="*/ 1 h 40"/>
                <a:gd name="T108" fmla="*/ 6 w 63"/>
                <a:gd name="T109" fmla="*/ 4 h 40"/>
                <a:gd name="T110" fmla="*/ 6 w 63"/>
                <a:gd name="T111" fmla="*/ 4 h 40"/>
                <a:gd name="T112" fmla="*/ 3 w 63"/>
                <a:gd name="T113" fmla="*/ 8 h 40"/>
                <a:gd name="T114" fmla="*/ 2 w 63"/>
                <a:gd name="T115" fmla="*/ 11 h 40"/>
                <a:gd name="T116" fmla="*/ 0 w 63"/>
                <a:gd name="T117" fmla="*/ 16 h 40"/>
                <a:gd name="T118" fmla="*/ 0 w 63"/>
                <a:gd name="T119" fmla="*/ 16 h 40"/>
                <a:gd name="T120" fmla="*/ 3 w 63"/>
                <a:gd name="T121" fmla="*/ 18 h 40"/>
                <a:gd name="T122" fmla="*/ 3 w 63"/>
                <a:gd name="T123" fmla="*/ 1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" h="40">
                  <a:moveTo>
                    <a:pt x="3" y="18"/>
                  </a:moveTo>
                  <a:lnTo>
                    <a:pt x="3" y="18"/>
                  </a:lnTo>
                  <a:lnTo>
                    <a:pt x="3" y="21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0" y="38"/>
                  </a:lnTo>
                  <a:lnTo>
                    <a:pt x="27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40" y="40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57" y="38"/>
                  </a:lnTo>
                  <a:lnTo>
                    <a:pt x="60" y="37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3" y="33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0" y="28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50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0" y="13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6" y="10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2" y="1"/>
                  </a:lnTo>
                  <a:lnTo>
                    <a:pt x="6" y="4"/>
                  </a:lnTo>
                  <a:lnTo>
                    <a:pt x="6" y="4"/>
                  </a:lnTo>
                  <a:lnTo>
                    <a:pt x="3" y="8"/>
                  </a:lnTo>
                  <a:lnTo>
                    <a:pt x="2" y="11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3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58" name="Freeform 112"/>
            <p:cNvSpPr>
              <a:spLocks/>
            </p:cNvSpPr>
            <p:nvPr/>
          </p:nvSpPr>
          <p:spPr bwMode="auto">
            <a:xfrm>
              <a:off x="2574925" y="2254250"/>
              <a:ext cx="47625" cy="25400"/>
            </a:xfrm>
            <a:custGeom>
              <a:avLst/>
              <a:gdLst>
                <a:gd name="T0" fmla="*/ 39 w 60"/>
                <a:gd name="T1" fmla="*/ 6 h 32"/>
                <a:gd name="T2" fmla="*/ 39 w 60"/>
                <a:gd name="T3" fmla="*/ 6 h 32"/>
                <a:gd name="T4" fmla="*/ 34 w 60"/>
                <a:gd name="T5" fmla="*/ 5 h 32"/>
                <a:gd name="T6" fmla="*/ 30 w 60"/>
                <a:gd name="T7" fmla="*/ 3 h 32"/>
                <a:gd name="T8" fmla="*/ 19 w 60"/>
                <a:gd name="T9" fmla="*/ 2 h 32"/>
                <a:gd name="T10" fmla="*/ 19 w 60"/>
                <a:gd name="T11" fmla="*/ 2 h 32"/>
                <a:gd name="T12" fmla="*/ 10 w 60"/>
                <a:gd name="T13" fmla="*/ 0 h 32"/>
                <a:gd name="T14" fmla="*/ 10 w 60"/>
                <a:gd name="T15" fmla="*/ 0 h 32"/>
                <a:gd name="T16" fmla="*/ 4 w 60"/>
                <a:gd name="T17" fmla="*/ 0 h 32"/>
                <a:gd name="T18" fmla="*/ 1 w 60"/>
                <a:gd name="T19" fmla="*/ 0 h 32"/>
                <a:gd name="T20" fmla="*/ 1 w 60"/>
                <a:gd name="T21" fmla="*/ 0 h 32"/>
                <a:gd name="T22" fmla="*/ 0 w 60"/>
                <a:gd name="T23" fmla="*/ 3 h 32"/>
                <a:gd name="T24" fmla="*/ 0 w 60"/>
                <a:gd name="T25" fmla="*/ 8 h 32"/>
                <a:gd name="T26" fmla="*/ 0 w 60"/>
                <a:gd name="T27" fmla="*/ 8 h 32"/>
                <a:gd name="T28" fmla="*/ 1 w 60"/>
                <a:gd name="T29" fmla="*/ 9 h 32"/>
                <a:gd name="T30" fmla="*/ 3 w 60"/>
                <a:gd name="T31" fmla="*/ 10 h 32"/>
                <a:gd name="T32" fmla="*/ 7 w 60"/>
                <a:gd name="T33" fmla="*/ 13 h 32"/>
                <a:gd name="T34" fmla="*/ 7 w 60"/>
                <a:gd name="T35" fmla="*/ 13 h 32"/>
                <a:gd name="T36" fmla="*/ 13 w 60"/>
                <a:gd name="T37" fmla="*/ 16 h 32"/>
                <a:gd name="T38" fmla="*/ 17 w 60"/>
                <a:gd name="T39" fmla="*/ 19 h 32"/>
                <a:gd name="T40" fmla="*/ 17 w 60"/>
                <a:gd name="T41" fmla="*/ 19 h 32"/>
                <a:gd name="T42" fmla="*/ 21 w 60"/>
                <a:gd name="T43" fmla="*/ 22 h 32"/>
                <a:gd name="T44" fmla="*/ 26 w 60"/>
                <a:gd name="T45" fmla="*/ 25 h 32"/>
                <a:gd name="T46" fmla="*/ 37 w 60"/>
                <a:gd name="T47" fmla="*/ 29 h 32"/>
                <a:gd name="T48" fmla="*/ 37 w 60"/>
                <a:gd name="T49" fmla="*/ 29 h 32"/>
                <a:gd name="T50" fmla="*/ 39 w 60"/>
                <a:gd name="T51" fmla="*/ 30 h 32"/>
                <a:gd name="T52" fmla="*/ 39 w 60"/>
                <a:gd name="T53" fmla="*/ 30 h 32"/>
                <a:gd name="T54" fmla="*/ 46 w 60"/>
                <a:gd name="T55" fmla="*/ 32 h 32"/>
                <a:gd name="T56" fmla="*/ 46 w 60"/>
                <a:gd name="T57" fmla="*/ 32 h 32"/>
                <a:gd name="T58" fmla="*/ 53 w 60"/>
                <a:gd name="T59" fmla="*/ 30 h 32"/>
                <a:gd name="T60" fmla="*/ 59 w 60"/>
                <a:gd name="T61" fmla="*/ 28 h 32"/>
                <a:gd name="T62" fmla="*/ 59 w 60"/>
                <a:gd name="T63" fmla="*/ 28 h 32"/>
                <a:gd name="T64" fmla="*/ 60 w 60"/>
                <a:gd name="T65" fmla="*/ 25 h 32"/>
                <a:gd name="T66" fmla="*/ 60 w 60"/>
                <a:gd name="T67" fmla="*/ 25 h 32"/>
                <a:gd name="T68" fmla="*/ 59 w 60"/>
                <a:gd name="T69" fmla="*/ 22 h 32"/>
                <a:gd name="T70" fmla="*/ 56 w 60"/>
                <a:gd name="T71" fmla="*/ 18 h 32"/>
                <a:gd name="T72" fmla="*/ 40 w 60"/>
                <a:gd name="T73" fmla="*/ 8 h 32"/>
                <a:gd name="T74" fmla="*/ 39 w 60"/>
                <a:gd name="T75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0" h="32">
                  <a:moveTo>
                    <a:pt x="39" y="6"/>
                  </a:moveTo>
                  <a:lnTo>
                    <a:pt x="39" y="6"/>
                  </a:lnTo>
                  <a:lnTo>
                    <a:pt x="34" y="5"/>
                  </a:lnTo>
                  <a:lnTo>
                    <a:pt x="30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9"/>
                  </a:lnTo>
                  <a:lnTo>
                    <a:pt x="3" y="10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13" y="16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21" y="22"/>
                  </a:lnTo>
                  <a:lnTo>
                    <a:pt x="26" y="25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53" y="30"/>
                  </a:lnTo>
                  <a:lnTo>
                    <a:pt x="59" y="28"/>
                  </a:lnTo>
                  <a:lnTo>
                    <a:pt x="59" y="28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59" y="22"/>
                  </a:lnTo>
                  <a:lnTo>
                    <a:pt x="56" y="18"/>
                  </a:lnTo>
                  <a:lnTo>
                    <a:pt x="40" y="8"/>
                  </a:lnTo>
                  <a:lnTo>
                    <a:pt x="3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  <p:sp>
          <p:nvSpPr>
            <p:cNvPr id="259" name="Freeform 113"/>
            <p:cNvSpPr>
              <a:spLocks/>
            </p:cNvSpPr>
            <p:nvPr/>
          </p:nvSpPr>
          <p:spPr bwMode="auto">
            <a:xfrm>
              <a:off x="2647950" y="2217738"/>
              <a:ext cx="125413" cy="115888"/>
            </a:xfrm>
            <a:custGeom>
              <a:avLst/>
              <a:gdLst>
                <a:gd name="T0" fmla="*/ 156 w 157"/>
                <a:gd name="T1" fmla="*/ 83 h 147"/>
                <a:gd name="T2" fmla="*/ 147 w 157"/>
                <a:gd name="T3" fmla="*/ 80 h 147"/>
                <a:gd name="T4" fmla="*/ 146 w 157"/>
                <a:gd name="T5" fmla="*/ 76 h 147"/>
                <a:gd name="T6" fmla="*/ 151 w 157"/>
                <a:gd name="T7" fmla="*/ 66 h 147"/>
                <a:gd name="T8" fmla="*/ 144 w 157"/>
                <a:gd name="T9" fmla="*/ 60 h 147"/>
                <a:gd name="T10" fmla="*/ 134 w 157"/>
                <a:gd name="T11" fmla="*/ 57 h 147"/>
                <a:gd name="T12" fmla="*/ 123 w 157"/>
                <a:gd name="T13" fmla="*/ 55 h 147"/>
                <a:gd name="T14" fmla="*/ 120 w 157"/>
                <a:gd name="T15" fmla="*/ 63 h 147"/>
                <a:gd name="T16" fmla="*/ 117 w 157"/>
                <a:gd name="T17" fmla="*/ 63 h 147"/>
                <a:gd name="T18" fmla="*/ 114 w 157"/>
                <a:gd name="T19" fmla="*/ 57 h 147"/>
                <a:gd name="T20" fmla="*/ 106 w 157"/>
                <a:gd name="T21" fmla="*/ 59 h 147"/>
                <a:gd name="T22" fmla="*/ 116 w 157"/>
                <a:gd name="T23" fmla="*/ 50 h 147"/>
                <a:gd name="T24" fmla="*/ 116 w 157"/>
                <a:gd name="T25" fmla="*/ 47 h 147"/>
                <a:gd name="T26" fmla="*/ 104 w 157"/>
                <a:gd name="T27" fmla="*/ 45 h 147"/>
                <a:gd name="T28" fmla="*/ 96 w 157"/>
                <a:gd name="T29" fmla="*/ 40 h 147"/>
                <a:gd name="T30" fmla="*/ 108 w 157"/>
                <a:gd name="T31" fmla="*/ 29 h 147"/>
                <a:gd name="T32" fmla="*/ 120 w 157"/>
                <a:gd name="T33" fmla="*/ 19 h 147"/>
                <a:gd name="T34" fmla="*/ 124 w 157"/>
                <a:gd name="T35" fmla="*/ 15 h 147"/>
                <a:gd name="T36" fmla="*/ 133 w 157"/>
                <a:gd name="T37" fmla="*/ 3 h 147"/>
                <a:gd name="T38" fmla="*/ 123 w 157"/>
                <a:gd name="T39" fmla="*/ 0 h 147"/>
                <a:gd name="T40" fmla="*/ 98 w 157"/>
                <a:gd name="T41" fmla="*/ 9 h 147"/>
                <a:gd name="T42" fmla="*/ 51 w 157"/>
                <a:gd name="T43" fmla="*/ 59 h 147"/>
                <a:gd name="T44" fmla="*/ 50 w 157"/>
                <a:gd name="T45" fmla="*/ 60 h 147"/>
                <a:gd name="T46" fmla="*/ 44 w 157"/>
                <a:gd name="T47" fmla="*/ 63 h 147"/>
                <a:gd name="T48" fmla="*/ 43 w 157"/>
                <a:gd name="T49" fmla="*/ 72 h 147"/>
                <a:gd name="T50" fmla="*/ 41 w 157"/>
                <a:gd name="T51" fmla="*/ 72 h 147"/>
                <a:gd name="T52" fmla="*/ 30 w 157"/>
                <a:gd name="T53" fmla="*/ 76 h 147"/>
                <a:gd name="T54" fmla="*/ 27 w 157"/>
                <a:gd name="T55" fmla="*/ 83 h 147"/>
                <a:gd name="T56" fmla="*/ 8 w 157"/>
                <a:gd name="T57" fmla="*/ 86 h 147"/>
                <a:gd name="T58" fmla="*/ 6 w 157"/>
                <a:gd name="T59" fmla="*/ 89 h 147"/>
                <a:gd name="T60" fmla="*/ 13 w 157"/>
                <a:gd name="T61" fmla="*/ 92 h 147"/>
                <a:gd name="T62" fmla="*/ 8 w 157"/>
                <a:gd name="T63" fmla="*/ 99 h 147"/>
                <a:gd name="T64" fmla="*/ 0 w 157"/>
                <a:gd name="T65" fmla="*/ 105 h 147"/>
                <a:gd name="T66" fmla="*/ 1 w 157"/>
                <a:gd name="T67" fmla="*/ 115 h 147"/>
                <a:gd name="T68" fmla="*/ 13 w 157"/>
                <a:gd name="T69" fmla="*/ 119 h 147"/>
                <a:gd name="T70" fmla="*/ 38 w 157"/>
                <a:gd name="T71" fmla="*/ 117 h 147"/>
                <a:gd name="T72" fmla="*/ 48 w 157"/>
                <a:gd name="T73" fmla="*/ 120 h 147"/>
                <a:gd name="T74" fmla="*/ 64 w 157"/>
                <a:gd name="T75" fmla="*/ 117 h 147"/>
                <a:gd name="T76" fmla="*/ 74 w 157"/>
                <a:gd name="T77" fmla="*/ 116 h 147"/>
                <a:gd name="T78" fmla="*/ 84 w 157"/>
                <a:gd name="T79" fmla="*/ 123 h 147"/>
                <a:gd name="T80" fmla="*/ 78 w 157"/>
                <a:gd name="T81" fmla="*/ 129 h 147"/>
                <a:gd name="T82" fmla="*/ 66 w 157"/>
                <a:gd name="T83" fmla="*/ 133 h 147"/>
                <a:gd name="T84" fmla="*/ 66 w 157"/>
                <a:gd name="T85" fmla="*/ 136 h 147"/>
                <a:gd name="T86" fmla="*/ 78 w 157"/>
                <a:gd name="T87" fmla="*/ 140 h 147"/>
                <a:gd name="T88" fmla="*/ 93 w 157"/>
                <a:gd name="T89" fmla="*/ 136 h 147"/>
                <a:gd name="T90" fmla="*/ 103 w 157"/>
                <a:gd name="T91" fmla="*/ 127 h 147"/>
                <a:gd name="T92" fmla="*/ 113 w 157"/>
                <a:gd name="T93" fmla="*/ 123 h 147"/>
                <a:gd name="T94" fmla="*/ 118 w 157"/>
                <a:gd name="T95" fmla="*/ 122 h 147"/>
                <a:gd name="T96" fmla="*/ 116 w 157"/>
                <a:gd name="T97" fmla="*/ 132 h 147"/>
                <a:gd name="T98" fmla="*/ 113 w 157"/>
                <a:gd name="T99" fmla="*/ 139 h 147"/>
                <a:gd name="T100" fmla="*/ 118 w 157"/>
                <a:gd name="T101" fmla="*/ 140 h 147"/>
                <a:gd name="T102" fmla="*/ 123 w 157"/>
                <a:gd name="T103" fmla="*/ 143 h 147"/>
                <a:gd name="T104" fmla="*/ 137 w 157"/>
                <a:gd name="T105" fmla="*/ 146 h 147"/>
                <a:gd name="T106" fmla="*/ 147 w 157"/>
                <a:gd name="T107" fmla="*/ 135 h 147"/>
                <a:gd name="T108" fmla="*/ 154 w 157"/>
                <a:gd name="T109" fmla="*/ 110 h 147"/>
                <a:gd name="T110" fmla="*/ 151 w 157"/>
                <a:gd name="T111" fmla="*/ 109 h 147"/>
                <a:gd name="T112" fmla="*/ 148 w 157"/>
                <a:gd name="T113" fmla="*/ 109 h 147"/>
                <a:gd name="T114" fmla="*/ 148 w 157"/>
                <a:gd name="T115" fmla="*/ 97 h 147"/>
                <a:gd name="T116" fmla="*/ 157 w 157"/>
                <a:gd name="T117" fmla="*/ 9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7" h="147">
                  <a:moveTo>
                    <a:pt x="157" y="90"/>
                  </a:moveTo>
                  <a:lnTo>
                    <a:pt x="157" y="90"/>
                  </a:lnTo>
                  <a:lnTo>
                    <a:pt x="157" y="87"/>
                  </a:lnTo>
                  <a:lnTo>
                    <a:pt x="156" y="83"/>
                  </a:lnTo>
                  <a:lnTo>
                    <a:pt x="156" y="83"/>
                  </a:lnTo>
                  <a:lnTo>
                    <a:pt x="154" y="82"/>
                  </a:lnTo>
                  <a:lnTo>
                    <a:pt x="153" y="82"/>
                  </a:lnTo>
                  <a:lnTo>
                    <a:pt x="147" y="80"/>
                  </a:lnTo>
                  <a:lnTo>
                    <a:pt x="147" y="80"/>
                  </a:lnTo>
                  <a:lnTo>
                    <a:pt x="143" y="80"/>
                  </a:lnTo>
                  <a:lnTo>
                    <a:pt x="143" y="80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50" y="70"/>
                  </a:lnTo>
                  <a:lnTo>
                    <a:pt x="150" y="69"/>
                  </a:lnTo>
                  <a:lnTo>
                    <a:pt x="151" y="66"/>
                  </a:lnTo>
                  <a:lnTo>
                    <a:pt x="151" y="66"/>
                  </a:lnTo>
                  <a:lnTo>
                    <a:pt x="148" y="63"/>
                  </a:lnTo>
                  <a:lnTo>
                    <a:pt x="148" y="63"/>
                  </a:lnTo>
                  <a:lnTo>
                    <a:pt x="144" y="60"/>
                  </a:lnTo>
                  <a:lnTo>
                    <a:pt x="138" y="59"/>
                  </a:lnTo>
                  <a:lnTo>
                    <a:pt x="138" y="59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1" y="55"/>
                  </a:lnTo>
                  <a:lnTo>
                    <a:pt x="127" y="53"/>
                  </a:lnTo>
                  <a:lnTo>
                    <a:pt x="127" y="53"/>
                  </a:lnTo>
                  <a:lnTo>
                    <a:pt x="123" y="55"/>
                  </a:lnTo>
                  <a:lnTo>
                    <a:pt x="121" y="56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0" y="63"/>
                  </a:lnTo>
                  <a:lnTo>
                    <a:pt x="118" y="65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7" y="63"/>
                  </a:lnTo>
                  <a:lnTo>
                    <a:pt x="117" y="60"/>
                  </a:lnTo>
                  <a:lnTo>
                    <a:pt x="117" y="60"/>
                  </a:lnTo>
                  <a:lnTo>
                    <a:pt x="117" y="59"/>
                  </a:lnTo>
                  <a:lnTo>
                    <a:pt x="114" y="57"/>
                  </a:lnTo>
                  <a:lnTo>
                    <a:pt x="114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16" y="50"/>
                  </a:lnTo>
                  <a:lnTo>
                    <a:pt x="117" y="49"/>
                  </a:lnTo>
                  <a:lnTo>
                    <a:pt x="117" y="47"/>
                  </a:lnTo>
                  <a:lnTo>
                    <a:pt x="116" y="47"/>
                  </a:lnTo>
                  <a:lnTo>
                    <a:pt x="116" y="47"/>
                  </a:lnTo>
                  <a:lnTo>
                    <a:pt x="114" y="46"/>
                  </a:lnTo>
                  <a:lnTo>
                    <a:pt x="110" y="45"/>
                  </a:lnTo>
                  <a:lnTo>
                    <a:pt x="104" y="45"/>
                  </a:lnTo>
                  <a:lnTo>
                    <a:pt x="104" y="45"/>
                  </a:lnTo>
                  <a:lnTo>
                    <a:pt x="103" y="42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96" y="40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108" y="30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1" y="16"/>
                  </a:lnTo>
                  <a:lnTo>
                    <a:pt x="124" y="15"/>
                  </a:lnTo>
                  <a:lnTo>
                    <a:pt x="124" y="15"/>
                  </a:lnTo>
                  <a:lnTo>
                    <a:pt x="130" y="10"/>
                  </a:lnTo>
                  <a:lnTo>
                    <a:pt x="131" y="6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1" y="2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3" y="0"/>
                  </a:lnTo>
                  <a:lnTo>
                    <a:pt x="114" y="3"/>
                  </a:lnTo>
                  <a:lnTo>
                    <a:pt x="106" y="5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1" y="56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47" y="60"/>
                  </a:lnTo>
                  <a:lnTo>
                    <a:pt x="46" y="60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1" y="73"/>
                  </a:lnTo>
                  <a:lnTo>
                    <a:pt x="30" y="76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3" y="85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8" y="86"/>
                  </a:lnTo>
                  <a:lnTo>
                    <a:pt x="7" y="87"/>
                  </a:lnTo>
                  <a:lnTo>
                    <a:pt x="6" y="87"/>
                  </a:lnTo>
                  <a:lnTo>
                    <a:pt x="0" y="89"/>
                  </a:lnTo>
                  <a:lnTo>
                    <a:pt x="6" y="89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8" y="92"/>
                  </a:lnTo>
                  <a:lnTo>
                    <a:pt x="13" y="92"/>
                  </a:lnTo>
                  <a:lnTo>
                    <a:pt x="21" y="93"/>
                  </a:lnTo>
                  <a:lnTo>
                    <a:pt x="21" y="93"/>
                  </a:lnTo>
                  <a:lnTo>
                    <a:pt x="14" y="97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3" y="100"/>
                  </a:lnTo>
                  <a:lnTo>
                    <a:pt x="1" y="102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0" y="109"/>
                  </a:lnTo>
                  <a:lnTo>
                    <a:pt x="1" y="115"/>
                  </a:lnTo>
                  <a:lnTo>
                    <a:pt x="1" y="115"/>
                  </a:lnTo>
                  <a:lnTo>
                    <a:pt x="6" y="117"/>
                  </a:lnTo>
                  <a:lnTo>
                    <a:pt x="13" y="119"/>
                  </a:lnTo>
                  <a:lnTo>
                    <a:pt x="13" y="119"/>
                  </a:lnTo>
                  <a:lnTo>
                    <a:pt x="13" y="119"/>
                  </a:lnTo>
                  <a:lnTo>
                    <a:pt x="23" y="119"/>
                  </a:lnTo>
                  <a:lnTo>
                    <a:pt x="23" y="119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44" y="117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8" y="120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73" y="116"/>
                  </a:lnTo>
                  <a:lnTo>
                    <a:pt x="73" y="116"/>
                  </a:lnTo>
                  <a:lnTo>
                    <a:pt x="74" y="116"/>
                  </a:lnTo>
                  <a:lnTo>
                    <a:pt x="74" y="116"/>
                  </a:lnTo>
                  <a:lnTo>
                    <a:pt x="78" y="119"/>
                  </a:lnTo>
                  <a:lnTo>
                    <a:pt x="87" y="120"/>
                  </a:lnTo>
                  <a:lnTo>
                    <a:pt x="87" y="120"/>
                  </a:lnTo>
                  <a:lnTo>
                    <a:pt x="84" y="123"/>
                  </a:lnTo>
                  <a:lnTo>
                    <a:pt x="83" y="126"/>
                  </a:lnTo>
                  <a:lnTo>
                    <a:pt x="83" y="126"/>
                  </a:lnTo>
                  <a:lnTo>
                    <a:pt x="81" y="127"/>
                  </a:lnTo>
                  <a:lnTo>
                    <a:pt x="78" y="129"/>
                  </a:lnTo>
                  <a:lnTo>
                    <a:pt x="73" y="130"/>
                  </a:lnTo>
                  <a:lnTo>
                    <a:pt x="73" y="130"/>
                  </a:lnTo>
                  <a:lnTo>
                    <a:pt x="68" y="130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5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67" y="137"/>
                  </a:lnTo>
                  <a:lnTo>
                    <a:pt x="71" y="139"/>
                  </a:lnTo>
                  <a:lnTo>
                    <a:pt x="78" y="140"/>
                  </a:lnTo>
                  <a:lnTo>
                    <a:pt x="78" y="140"/>
                  </a:lnTo>
                  <a:lnTo>
                    <a:pt x="84" y="140"/>
                  </a:lnTo>
                  <a:lnTo>
                    <a:pt x="84" y="140"/>
                  </a:lnTo>
                  <a:lnTo>
                    <a:pt x="90" y="137"/>
                  </a:lnTo>
                  <a:lnTo>
                    <a:pt x="93" y="136"/>
                  </a:lnTo>
                  <a:lnTo>
                    <a:pt x="98" y="130"/>
                  </a:lnTo>
                  <a:lnTo>
                    <a:pt x="98" y="130"/>
                  </a:lnTo>
                  <a:lnTo>
                    <a:pt x="103" y="127"/>
                  </a:lnTo>
                  <a:lnTo>
                    <a:pt x="103" y="127"/>
                  </a:lnTo>
                  <a:lnTo>
                    <a:pt x="106" y="125"/>
                  </a:lnTo>
                  <a:lnTo>
                    <a:pt x="110" y="125"/>
                  </a:lnTo>
                  <a:lnTo>
                    <a:pt x="113" y="123"/>
                  </a:lnTo>
                  <a:lnTo>
                    <a:pt x="113" y="123"/>
                  </a:lnTo>
                  <a:lnTo>
                    <a:pt x="117" y="123"/>
                  </a:lnTo>
                  <a:lnTo>
                    <a:pt x="117" y="123"/>
                  </a:lnTo>
                  <a:lnTo>
                    <a:pt x="118" y="122"/>
                  </a:lnTo>
                  <a:lnTo>
                    <a:pt x="118" y="122"/>
                  </a:lnTo>
                  <a:lnTo>
                    <a:pt x="120" y="125"/>
                  </a:lnTo>
                  <a:lnTo>
                    <a:pt x="120" y="125"/>
                  </a:lnTo>
                  <a:lnTo>
                    <a:pt x="118" y="127"/>
                  </a:lnTo>
                  <a:lnTo>
                    <a:pt x="116" y="132"/>
                  </a:lnTo>
                  <a:lnTo>
                    <a:pt x="116" y="132"/>
                  </a:lnTo>
                  <a:lnTo>
                    <a:pt x="113" y="136"/>
                  </a:lnTo>
                  <a:lnTo>
                    <a:pt x="113" y="139"/>
                  </a:lnTo>
                  <a:lnTo>
                    <a:pt x="113" y="139"/>
                  </a:lnTo>
                  <a:lnTo>
                    <a:pt x="114" y="140"/>
                  </a:lnTo>
                  <a:lnTo>
                    <a:pt x="116" y="140"/>
                  </a:lnTo>
                  <a:lnTo>
                    <a:pt x="116" y="140"/>
                  </a:lnTo>
                  <a:lnTo>
                    <a:pt x="118" y="140"/>
                  </a:lnTo>
                  <a:lnTo>
                    <a:pt x="121" y="139"/>
                  </a:lnTo>
                  <a:lnTo>
                    <a:pt x="121" y="139"/>
                  </a:lnTo>
                  <a:lnTo>
                    <a:pt x="123" y="143"/>
                  </a:lnTo>
                  <a:lnTo>
                    <a:pt x="123" y="143"/>
                  </a:lnTo>
                  <a:lnTo>
                    <a:pt x="127" y="146"/>
                  </a:lnTo>
                  <a:lnTo>
                    <a:pt x="133" y="147"/>
                  </a:lnTo>
                  <a:lnTo>
                    <a:pt x="133" y="147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40" y="145"/>
                  </a:lnTo>
                  <a:lnTo>
                    <a:pt x="143" y="142"/>
                  </a:lnTo>
                  <a:lnTo>
                    <a:pt x="147" y="135"/>
                  </a:lnTo>
                  <a:lnTo>
                    <a:pt x="154" y="117"/>
                  </a:lnTo>
                  <a:lnTo>
                    <a:pt x="154" y="117"/>
                  </a:lnTo>
                  <a:lnTo>
                    <a:pt x="154" y="113"/>
                  </a:lnTo>
                  <a:lnTo>
                    <a:pt x="154" y="110"/>
                  </a:lnTo>
                  <a:lnTo>
                    <a:pt x="154" y="110"/>
                  </a:lnTo>
                  <a:lnTo>
                    <a:pt x="153" y="109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48" y="109"/>
                  </a:lnTo>
                  <a:lnTo>
                    <a:pt x="148" y="109"/>
                  </a:lnTo>
                  <a:lnTo>
                    <a:pt x="148" y="109"/>
                  </a:lnTo>
                  <a:lnTo>
                    <a:pt x="148" y="109"/>
                  </a:lnTo>
                  <a:lnTo>
                    <a:pt x="151" y="103"/>
                  </a:lnTo>
                  <a:lnTo>
                    <a:pt x="151" y="99"/>
                  </a:lnTo>
                  <a:lnTo>
                    <a:pt x="151" y="99"/>
                  </a:lnTo>
                  <a:lnTo>
                    <a:pt x="148" y="97"/>
                  </a:lnTo>
                  <a:lnTo>
                    <a:pt x="148" y="97"/>
                  </a:lnTo>
                  <a:lnTo>
                    <a:pt x="154" y="95"/>
                  </a:lnTo>
                  <a:lnTo>
                    <a:pt x="157" y="90"/>
                  </a:lnTo>
                  <a:lnTo>
                    <a:pt x="157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609433">
                <a:defRPr/>
              </a:pPr>
              <a:endParaRPr lang="en-US" sz="3199">
                <a:solidFill>
                  <a:prstClr val="black"/>
                </a:solidFill>
                <a:latin typeface="Corbel"/>
              </a:endParaRPr>
            </a:p>
          </p:txBody>
        </p:sp>
      </p:grp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e Will Capitalize On Our Global Footprint</a:t>
            </a:r>
          </a:p>
        </p:txBody>
      </p:sp>
      <p:sp>
        <p:nvSpPr>
          <p:cNvPr id="15" name="Content Placeholder 7"/>
          <p:cNvSpPr txBox="1">
            <a:spLocks/>
          </p:cNvSpPr>
          <p:nvPr/>
        </p:nvSpPr>
        <p:spPr>
          <a:xfrm>
            <a:off x="668616" y="1203446"/>
            <a:ext cx="11077019" cy="573319"/>
          </a:xfrm>
          <a:prstGeom prst="rect">
            <a:avLst/>
          </a:prstGeom>
        </p:spPr>
        <p:txBody>
          <a:bodyPr vert="horz" lIns="0" tIns="97511" rIns="0" bIns="0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6">
              <a:buNone/>
              <a:defRPr/>
            </a:pPr>
            <a:r>
              <a:rPr lang="en-US" sz="2800" dirty="0">
                <a:solidFill>
                  <a:srgbClr val="FFFFFF"/>
                </a:solidFill>
                <a:latin typeface="Corbel" charset="0"/>
                <a:ea typeface="Corbel" charset="0"/>
                <a:cs typeface="Corbel" charset="0"/>
              </a:rPr>
              <a:t>This is a fundamental requirement for our global partners</a:t>
            </a:r>
          </a:p>
        </p:txBody>
      </p:sp>
      <p:sp>
        <p:nvSpPr>
          <p:cNvPr id="196" name="Freeform 187"/>
          <p:cNvSpPr>
            <a:spLocks noEditPoints="1"/>
          </p:cNvSpPr>
          <p:nvPr/>
        </p:nvSpPr>
        <p:spPr bwMode="auto">
          <a:xfrm>
            <a:off x="9888724" y="6067800"/>
            <a:ext cx="31742" cy="27509"/>
          </a:xfrm>
          <a:custGeom>
            <a:avLst/>
            <a:gdLst>
              <a:gd name="T0" fmla="*/ 21 w 28"/>
              <a:gd name="T1" fmla="*/ 0 h 26"/>
              <a:gd name="T2" fmla="*/ 21 w 28"/>
              <a:gd name="T3" fmla="*/ 0 h 26"/>
              <a:gd name="T4" fmla="*/ 17 w 28"/>
              <a:gd name="T5" fmla="*/ 3 h 26"/>
              <a:gd name="T6" fmla="*/ 15 w 28"/>
              <a:gd name="T7" fmla="*/ 6 h 26"/>
              <a:gd name="T8" fmla="*/ 14 w 28"/>
              <a:gd name="T9" fmla="*/ 7 h 26"/>
              <a:gd name="T10" fmla="*/ 13 w 28"/>
              <a:gd name="T11" fmla="*/ 10 h 26"/>
              <a:gd name="T12" fmla="*/ 10 w 28"/>
              <a:gd name="T13" fmla="*/ 13 h 26"/>
              <a:gd name="T14" fmla="*/ 5 w 28"/>
              <a:gd name="T15" fmla="*/ 16 h 26"/>
              <a:gd name="T16" fmla="*/ 3 w 28"/>
              <a:gd name="T17" fmla="*/ 18 h 26"/>
              <a:gd name="T18" fmla="*/ 0 w 28"/>
              <a:gd name="T19" fmla="*/ 20 h 26"/>
              <a:gd name="T20" fmla="*/ 0 w 28"/>
              <a:gd name="T21" fmla="*/ 23 h 26"/>
              <a:gd name="T22" fmla="*/ 4 w 28"/>
              <a:gd name="T23" fmla="*/ 26 h 26"/>
              <a:gd name="T24" fmla="*/ 5 w 28"/>
              <a:gd name="T25" fmla="*/ 26 h 26"/>
              <a:gd name="T26" fmla="*/ 17 w 28"/>
              <a:gd name="T27" fmla="*/ 25 h 26"/>
              <a:gd name="T28" fmla="*/ 20 w 28"/>
              <a:gd name="T29" fmla="*/ 25 h 26"/>
              <a:gd name="T30" fmla="*/ 24 w 28"/>
              <a:gd name="T31" fmla="*/ 22 h 26"/>
              <a:gd name="T32" fmla="*/ 25 w 28"/>
              <a:gd name="T33" fmla="*/ 19 h 26"/>
              <a:gd name="T34" fmla="*/ 27 w 28"/>
              <a:gd name="T35" fmla="*/ 18 h 26"/>
              <a:gd name="T36" fmla="*/ 27 w 28"/>
              <a:gd name="T37" fmla="*/ 16 h 26"/>
              <a:gd name="T38" fmla="*/ 28 w 28"/>
              <a:gd name="T39" fmla="*/ 7 h 26"/>
              <a:gd name="T40" fmla="*/ 25 w 28"/>
              <a:gd name="T41" fmla="*/ 3 h 26"/>
              <a:gd name="T42" fmla="*/ 21 w 28"/>
              <a:gd name="T43" fmla="*/ 0 h 26"/>
              <a:gd name="T44" fmla="*/ 23 w 28"/>
              <a:gd name="T45" fmla="*/ 13 h 26"/>
              <a:gd name="T46" fmla="*/ 23 w 28"/>
              <a:gd name="T47" fmla="*/ 16 h 26"/>
              <a:gd name="T48" fmla="*/ 21 w 28"/>
              <a:gd name="T49" fmla="*/ 18 h 26"/>
              <a:gd name="T50" fmla="*/ 21 w 28"/>
              <a:gd name="T51" fmla="*/ 19 h 26"/>
              <a:gd name="T52" fmla="*/ 17 w 28"/>
              <a:gd name="T53" fmla="*/ 20 h 26"/>
              <a:gd name="T54" fmla="*/ 5 w 28"/>
              <a:gd name="T55" fmla="*/ 22 h 26"/>
              <a:gd name="T56" fmla="*/ 8 w 28"/>
              <a:gd name="T57" fmla="*/ 20 h 26"/>
              <a:gd name="T58" fmla="*/ 11 w 28"/>
              <a:gd name="T59" fmla="*/ 18 h 26"/>
              <a:gd name="T60" fmla="*/ 14 w 28"/>
              <a:gd name="T61" fmla="*/ 16 h 26"/>
              <a:gd name="T62" fmla="*/ 15 w 28"/>
              <a:gd name="T63" fmla="*/ 13 h 26"/>
              <a:gd name="T64" fmla="*/ 18 w 28"/>
              <a:gd name="T65" fmla="*/ 10 h 26"/>
              <a:gd name="T66" fmla="*/ 20 w 28"/>
              <a:gd name="T67" fmla="*/ 9 h 26"/>
              <a:gd name="T68" fmla="*/ 21 w 28"/>
              <a:gd name="T69" fmla="*/ 6 h 26"/>
              <a:gd name="T70" fmla="*/ 24 w 28"/>
              <a:gd name="T71" fmla="*/ 9 h 26"/>
              <a:gd name="T72" fmla="*/ 23 w 28"/>
              <a:gd name="T73" fmla="*/ 13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" h="26">
                <a:moveTo>
                  <a:pt x="21" y="0"/>
                </a:moveTo>
                <a:lnTo>
                  <a:pt x="21" y="0"/>
                </a:lnTo>
                <a:lnTo>
                  <a:pt x="21" y="0"/>
                </a:lnTo>
                <a:lnTo>
                  <a:pt x="21" y="0"/>
                </a:lnTo>
                <a:lnTo>
                  <a:pt x="18" y="2"/>
                </a:lnTo>
                <a:lnTo>
                  <a:pt x="17" y="3"/>
                </a:lnTo>
                <a:lnTo>
                  <a:pt x="15" y="6"/>
                </a:lnTo>
                <a:lnTo>
                  <a:pt x="15" y="6"/>
                </a:lnTo>
                <a:lnTo>
                  <a:pt x="15" y="6"/>
                </a:lnTo>
                <a:lnTo>
                  <a:pt x="14" y="7"/>
                </a:lnTo>
                <a:lnTo>
                  <a:pt x="14" y="7"/>
                </a:lnTo>
                <a:lnTo>
                  <a:pt x="13" y="10"/>
                </a:lnTo>
                <a:lnTo>
                  <a:pt x="13" y="10"/>
                </a:lnTo>
                <a:lnTo>
                  <a:pt x="10" y="13"/>
                </a:lnTo>
                <a:lnTo>
                  <a:pt x="10" y="13"/>
                </a:lnTo>
                <a:lnTo>
                  <a:pt x="5" y="16"/>
                </a:lnTo>
                <a:lnTo>
                  <a:pt x="5" y="16"/>
                </a:lnTo>
                <a:lnTo>
                  <a:pt x="3" y="18"/>
                </a:lnTo>
                <a:lnTo>
                  <a:pt x="3" y="18"/>
                </a:lnTo>
                <a:lnTo>
                  <a:pt x="0" y="20"/>
                </a:lnTo>
                <a:lnTo>
                  <a:pt x="0" y="23"/>
                </a:lnTo>
                <a:lnTo>
                  <a:pt x="0" y="23"/>
                </a:lnTo>
                <a:lnTo>
                  <a:pt x="1" y="25"/>
                </a:lnTo>
                <a:lnTo>
                  <a:pt x="4" y="26"/>
                </a:lnTo>
                <a:lnTo>
                  <a:pt x="4" y="26"/>
                </a:lnTo>
                <a:lnTo>
                  <a:pt x="5" y="26"/>
                </a:lnTo>
                <a:lnTo>
                  <a:pt x="5" y="26"/>
                </a:lnTo>
                <a:lnTo>
                  <a:pt x="17" y="25"/>
                </a:lnTo>
                <a:lnTo>
                  <a:pt x="20" y="25"/>
                </a:lnTo>
                <a:lnTo>
                  <a:pt x="20" y="25"/>
                </a:lnTo>
                <a:lnTo>
                  <a:pt x="23" y="23"/>
                </a:lnTo>
                <a:lnTo>
                  <a:pt x="24" y="22"/>
                </a:lnTo>
                <a:lnTo>
                  <a:pt x="25" y="19"/>
                </a:lnTo>
                <a:lnTo>
                  <a:pt x="25" y="19"/>
                </a:lnTo>
                <a:lnTo>
                  <a:pt x="27" y="18"/>
                </a:lnTo>
                <a:lnTo>
                  <a:pt x="27" y="18"/>
                </a:lnTo>
                <a:lnTo>
                  <a:pt x="27" y="16"/>
                </a:lnTo>
                <a:lnTo>
                  <a:pt x="27" y="16"/>
                </a:lnTo>
                <a:lnTo>
                  <a:pt x="28" y="12"/>
                </a:lnTo>
                <a:lnTo>
                  <a:pt x="28" y="7"/>
                </a:lnTo>
                <a:lnTo>
                  <a:pt x="28" y="7"/>
                </a:lnTo>
                <a:lnTo>
                  <a:pt x="25" y="3"/>
                </a:lnTo>
                <a:lnTo>
                  <a:pt x="24" y="2"/>
                </a:lnTo>
                <a:lnTo>
                  <a:pt x="21" y="0"/>
                </a:lnTo>
                <a:lnTo>
                  <a:pt x="21" y="0"/>
                </a:lnTo>
                <a:close/>
                <a:moveTo>
                  <a:pt x="23" y="13"/>
                </a:moveTo>
                <a:lnTo>
                  <a:pt x="23" y="13"/>
                </a:lnTo>
                <a:lnTo>
                  <a:pt x="23" y="16"/>
                </a:lnTo>
                <a:lnTo>
                  <a:pt x="23" y="16"/>
                </a:lnTo>
                <a:lnTo>
                  <a:pt x="21" y="18"/>
                </a:lnTo>
                <a:lnTo>
                  <a:pt x="21" y="18"/>
                </a:lnTo>
                <a:lnTo>
                  <a:pt x="21" y="19"/>
                </a:lnTo>
                <a:lnTo>
                  <a:pt x="20" y="19"/>
                </a:lnTo>
                <a:lnTo>
                  <a:pt x="17" y="20"/>
                </a:lnTo>
                <a:lnTo>
                  <a:pt x="17" y="20"/>
                </a:lnTo>
                <a:lnTo>
                  <a:pt x="5" y="22"/>
                </a:lnTo>
                <a:lnTo>
                  <a:pt x="5" y="22"/>
                </a:lnTo>
                <a:lnTo>
                  <a:pt x="8" y="20"/>
                </a:lnTo>
                <a:lnTo>
                  <a:pt x="8" y="20"/>
                </a:lnTo>
                <a:lnTo>
                  <a:pt x="11" y="18"/>
                </a:lnTo>
                <a:lnTo>
                  <a:pt x="14" y="16"/>
                </a:lnTo>
                <a:lnTo>
                  <a:pt x="14" y="16"/>
                </a:lnTo>
                <a:lnTo>
                  <a:pt x="15" y="13"/>
                </a:lnTo>
                <a:lnTo>
                  <a:pt x="15" y="13"/>
                </a:lnTo>
                <a:lnTo>
                  <a:pt x="18" y="10"/>
                </a:lnTo>
                <a:lnTo>
                  <a:pt x="18" y="10"/>
                </a:lnTo>
                <a:lnTo>
                  <a:pt x="20" y="9"/>
                </a:lnTo>
                <a:lnTo>
                  <a:pt x="20" y="9"/>
                </a:lnTo>
                <a:lnTo>
                  <a:pt x="21" y="6"/>
                </a:lnTo>
                <a:lnTo>
                  <a:pt x="21" y="6"/>
                </a:lnTo>
                <a:lnTo>
                  <a:pt x="24" y="9"/>
                </a:lnTo>
                <a:lnTo>
                  <a:pt x="24" y="9"/>
                </a:lnTo>
                <a:lnTo>
                  <a:pt x="24" y="12"/>
                </a:lnTo>
                <a:lnTo>
                  <a:pt x="23" y="13"/>
                </a:lnTo>
                <a:lnTo>
                  <a:pt x="23" y="13"/>
                </a:lnTo>
                <a:close/>
              </a:path>
            </a:pathLst>
          </a:custGeom>
          <a:solidFill>
            <a:srgbClr val="7F7E7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376781" y="6530668"/>
            <a:ext cx="11133088" cy="317977"/>
          </a:xfrm>
          <a:prstGeom prst="rect">
            <a:avLst/>
          </a:prstGeom>
          <a:noFill/>
        </p:spPr>
        <p:txBody>
          <a:bodyPr wrap="square" lIns="0" tIns="81251" rIns="162503" bIns="81251" rtlCol="0" anchor="b" anchorCtr="0">
            <a:spAutoFit/>
          </a:bodyPr>
          <a:lstStyle/>
          <a:p>
            <a:pPr marL="150229" indent="-150229" defTabSz="1218743">
              <a:defRPr/>
            </a:pPr>
            <a:r>
              <a:rPr lang="en-US" sz="1000" kern="0">
                <a:solidFill>
                  <a:srgbClr val="FFFFFF"/>
                </a:solidFill>
                <a:latin typeface="Corbel"/>
              </a:rPr>
              <a:t>First figure represents Tech Data geographic revenue mix for the twelve months ended July 31, 2016; second figure represents Tech Data geographic revenue mix for the three months ended July 31, 2017.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183" y="2483513"/>
            <a:ext cx="2004666" cy="749650"/>
            <a:chOff x="70937" y="1919313"/>
            <a:chExt cx="1503891" cy="562384"/>
          </a:xfrm>
        </p:grpSpPr>
        <p:sp>
          <p:nvSpPr>
            <p:cNvPr id="123" name="Rectangle 120"/>
            <p:cNvSpPr>
              <a:spLocks noChangeArrowheads="1"/>
            </p:cNvSpPr>
            <p:nvPr/>
          </p:nvSpPr>
          <p:spPr bwMode="auto">
            <a:xfrm>
              <a:off x="321172" y="1919313"/>
              <a:ext cx="877712" cy="16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171">
                <a:defRPr/>
              </a:pPr>
              <a:r>
                <a:rPr lang="en-US" altLang="en-US" sz="1466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Americas</a:t>
              </a: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70937" y="2112365"/>
              <a:ext cx="1503891" cy="369332"/>
              <a:chOff x="70937" y="2112365"/>
              <a:chExt cx="1503891" cy="369332"/>
            </a:xfrm>
          </p:grpSpPr>
          <p:sp>
            <p:nvSpPr>
              <p:cNvPr id="125" name="Rectangle 122"/>
              <p:cNvSpPr>
                <a:spLocks noChangeArrowheads="1"/>
              </p:cNvSpPr>
              <p:nvPr/>
            </p:nvSpPr>
            <p:spPr bwMode="auto">
              <a:xfrm>
                <a:off x="70937" y="2112365"/>
                <a:ext cx="1503891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914171">
                  <a:defRPr/>
                </a:pPr>
                <a:r>
                  <a:rPr lang="en-US" altLang="en-US" sz="3199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39</a:t>
                </a:r>
                <a:r>
                  <a:rPr lang="en-US" altLang="en-US" sz="3199" b="1" baseline="30000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%</a:t>
                </a:r>
                <a:r>
                  <a:rPr lang="en-US" altLang="en-US" sz="3199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    47</a:t>
                </a:r>
                <a:r>
                  <a:rPr lang="en-US" altLang="en-US" sz="3199" b="1" baseline="18000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%</a:t>
                </a:r>
              </a:p>
            </p:txBody>
          </p:sp>
          <p:cxnSp>
            <p:nvCxnSpPr>
              <p:cNvPr id="3" name="Straight Arrow Connector 2"/>
              <p:cNvCxnSpPr/>
              <p:nvPr/>
            </p:nvCxnSpPr>
            <p:spPr>
              <a:xfrm>
                <a:off x="715453" y="2349021"/>
                <a:ext cx="182880" cy="0"/>
              </a:xfrm>
              <a:prstGeom prst="straightConnector1">
                <a:avLst/>
              </a:prstGeom>
              <a:ln>
                <a:solidFill>
                  <a:srgbClr val="00B4DE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" name="Group 5"/>
          <p:cNvGrpSpPr/>
          <p:nvPr/>
        </p:nvGrpSpPr>
        <p:grpSpPr>
          <a:xfrm>
            <a:off x="503183" y="3563245"/>
            <a:ext cx="2004666" cy="828343"/>
            <a:chOff x="55063" y="2766503"/>
            <a:chExt cx="1503891" cy="621419"/>
          </a:xfrm>
        </p:grpSpPr>
        <p:sp>
          <p:nvSpPr>
            <p:cNvPr id="126" name="Rectangle 123"/>
            <p:cNvSpPr>
              <a:spLocks noChangeArrowheads="1"/>
            </p:cNvSpPr>
            <p:nvPr/>
          </p:nvSpPr>
          <p:spPr bwMode="auto">
            <a:xfrm>
              <a:off x="549489" y="2766503"/>
              <a:ext cx="418493" cy="16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171">
                <a:defRPr/>
              </a:pPr>
              <a:r>
                <a:rPr lang="en-US" altLang="en-US" sz="1466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Europe</a:t>
              </a:r>
            </a:p>
          </p:txBody>
        </p:sp>
        <p:grpSp>
          <p:nvGrpSpPr>
            <p:cNvPr id="105" name="Group 104"/>
            <p:cNvGrpSpPr/>
            <p:nvPr/>
          </p:nvGrpSpPr>
          <p:grpSpPr>
            <a:xfrm>
              <a:off x="55063" y="3018590"/>
              <a:ext cx="1503891" cy="369332"/>
              <a:chOff x="60051" y="2112365"/>
              <a:chExt cx="1503891" cy="369332"/>
            </a:xfrm>
          </p:grpSpPr>
          <p:sp>
            <p:nvSpPr>
              <p:cNvPr id="106" name="Rectangle 122"/>
              <p:cNvSpPr>
                <a:spLocks noChangeArrowheads="1"/>
              </p:cNvSpPr>
              <p:nvPr/>
            </p:nvSpPr>
            <p:spPr bwMode="auto">
              <a:xfrm>
                <a:off x="60051" y="2112365"/>
                <a:ext cx="1503891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914171">
                  <a:defRPr/>
                </a:pPr>
                <a:r>
                  <a:rPr lang="en-US" altLang="en-US" sz="3199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61</a:t>
                </a:r>
                <a:r>
                  <a:rPr lang="en-US" altLang="en-US" sz="3199" b="1" baseline="30000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%</a:t>
                </a:r>
                <a:r>
                  <a:rPr lang="en-US" altLang="en-US" sz="3199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    50</a:t>
                </a:r>
                <a:r>
                  <a:rPr lang="en-US" altLang="en-US" sz="3199" b="1" baseline="18000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%</a:t>
                </a:r>
              </a:p>
            </p:txBody>
          </p:sp>
          <p:cxnSp>
            <p:nvCxnSpPr>
              <p:cNvPr id="107" name="Straight Arrow Connector 106"/>
              <p:cNvCxnSpPr/>
              <p:nvPr/>
            </p:nvCxnSpPr>
            <p:spPr>
              <a:xfrm>
                <a:off x="745717" y="2288493"/>
                <a:ext cx="182880" cy="0"/>
              </a:xfrm>
              <a:prstGeom prst="straightConnector1">
                <a:avLst/>
              </a:prstGeom>
              <a:ln>
                <a:solidFill>
                  <a:srgbClr val="00B4DE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" name="Group 4"/>
          <p:cNvGrpSpPr/>
          <p:nvPr/>
        </p:nvGrpSpPr>
        <p:grpSpPr>
          <a:xfrm>
            <a:off x="503183" y="4721662"/>
            <a:ext cx="2004666" cy="752314"/>
            <a:chOff x="-4098" y="3598361"/>
            <a:chExt cx="1503891" cy="564382"/>
          </a:xfrm>
        </p:grpSpPr>
        <p:sp>
          <p:nvSpPr>
            <p:cNvPr id="129" name="Rectangle 126"/>
            <p:cNvSpPr>
              <a:spLocks noChangeArrowheads="1"/>
            </p:cNvSpPr>
            <p:nvPr/>
          </p:nvSpPr>
          <p:spPr bwMode="auto">
            <a:xfrm>
              <a:off x="424754" y="3598361"/>
              <a:ext cx="656601" cy="16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171">
                <a:defRPr/>
              </a:pPr>
              <a:r>
                <a:rPr lang="en-US" altLang="en-US" sz="1466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Asia Pacific</a:t>
              </a:r>
            </a:p>
          </p:txBody>
        </p:sp>
        <p:grpSp>
          <p:nvGrpSpPr>
            <p:cNvPr id="108" name="Group 107"/>
            <p:cNvGrpSpPr/>
            <p:nvPr/>
          </p:nvGrpSpPr>
          <p:grpSpPr>
            <a:xfrm>
              <a:off x="-4098" y="3793411"/>
              <a:ext cx="1503891" cy="369332"/>
              <a:chOff x="70937" y="2112365"/>
              <a:chExt cx="1503891" cy="369332"/>
            </a:xfrm>
          </p:grpSpPr>
          <p:sp>
            <p:nvSpPr>
              <p:cNvPr id="109" name="Rectangle 122"/>
              <p:cNvSpPr>
                <a:spLocks noChangeArrowheads="1"/>
              </p:cNvSpPr>
              <p:nvPr/>
            </p:nvSpPr>
            <p:spPr bwMode="auto">
              <a:xfrm>
                <a:off x="70937" y="2112365"/>
                <a:ext cx="1503891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914171">
                  <a:defRPr/>
                </a:pPr>
                <a:r>
                  <a:rPr lang="en-US" altLang="en-US" sz="3199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0</a:t>
                </a:r>
                <a:r>
                  <a:rPr lang="en-US" altLang="en-US" sz="3199" b="1" baseline="30000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%</a:t>
                </a:r>
                <a:r>
                  <a:rPr lang="en-US" altLang="en-US" sz="3199" b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    3</a:t>
                </a:r>
                <a:r>
                  <a:rPr lang="en-US" altLang="en-US" sz="3199" b="1" baseline="18000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%</a:t>
                </a:r>
              </a:p>
            </p:txBody>
          </p:sp>
          <p:cxnSp>
            <p:nvCxnSpPr>
              <p:cNvPr id="110" name="Straight Arrow Connector 109"/>
              <p:cNvCxnSpPr/>
              <p:nvPr/>
            </p:nvCxnSpPr>
            <p:spPr>
              <a:xfrm>
                <a:off x="745717" y="2318757"/>
                <a:ext cx="182880" cy="0"/>
              </a:xfrm>
              <a:prstGeom prst="straightConnector1">
                <a:avLst/>
              </a:prstGeom>
              <a:ln>
                <a:solidFill>
                  <a:srgbClr val="00B4DE"/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07274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3799"/>
              </a:lnSpc>
            </a:pPr>
            <a:r>
              <a:rPr lang="en-US" dirty="0"/>
              <a:t>Transforming Digitally for a Better Customer Experience</a:t>
            </a:r>
          </a:p>
        </p:txBody>
      </p:sp>
      <p:sp>
        <p:nvSpPr>
          <p:cNvPr id="28" name="Chevron 27"/>
          <p:cNvSpPr/>
          <p:nvPr/>
        </p:nvSpPr>
        <p:spPr>
          <a:xfrm>
            <a:off x="4800937" y="2543243"/>
            <a:ext cx="1904504" cy="2790263"/>
          </a:xfrm>
          <a:prstGeom prst="chevron">
            <a:avLst/>
          </a:prstGeom>
          <a:gradFill flip="none" rotWithShape="1">
            <a:gsLst>
              <a:gs pos="100000">
                <a:srgbClr val="CCD814"/>
              </a:gs>
              <a:gs pos="24000">
                <a:srgbClr val="00B4DE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33"/>
            <a:endParaRPr lang="en-US" sz="1400">
              <a:solidFill>
                <a:srgbClr val="53565A"/>
              </a:solidFill>
              <a:latin typeface="Work Sans Regular" charset="0"/>
            </a:endParaRP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7005530" y="1849613"/>
            <a:ext cx="4704014" cy="614990"/>
          </a:xfrm>
          <a:prstGeom prst="rect">
            <a:avLst/>
          </a:prstGeom>
        </p:spPr>
        <p:txBody>
          <a:bodyPr lIns="0" tIns="0">
            <a:noAutofit/>
          </a:bodyPr>
          <a:lstStyle>
            <a:defPPr>
              <a:defRPr lang="en-US"/>
            </a:defPPr>
            <a:lvl1pPr marL="227013" indent="-227013" defTabSz="1217978" eaLnBrk="0" hangingPunct="0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Webdings" panose="05030102010509060703" pitchFamily="18" charset="2"/>
              <a:buChar char=""/>
              <a:defRPr sz="2801">
                <a:solidFill>
                  <a:schemeClr val="bg2"/>
                </a:solidFill>
                <a:latin typeface="+mn-lt"/>
                <a:cs typeface="+mn-cs"/>
              </a:defRPr>
            </a:lvl1pPr>
            <a:lvl2pPr marL="0" lvl="1" indent="0" defTabSz="1217978" eaLnBrk="0" hangingPunct="0">
              <a:spcBef>
                <a:spcPts val="0"/>
              </a:spcBef>
              <a:spcAft>
                <a:spcPts val="600"/>
              </a:spcAft>
              <a:buClr>
                <a:srgbClr val="00B1E2"/>
              </a:buClr>
              <a:buFont typeface="Arial" charset="0"/>
              <a:buNone/>
              <a:defRPr sz="2400">
                <a:solidFill>
                  <a:srgbClr val="00B1E2"/>
                </a:solidFill>
                <a:latin typeface="Work Sans" charset="0"/>
                <a:ea typeface="Work Sans" charset="0"/>
                <a:cs typeface="Work Sans" charset="0"/>
              </a:defRPr>
            </a:lvl2pPr>
            <a:lvl3pPr marL="913087" indent="-225493" defTabSz="1217978" eaLnBrk="0" hangingPunct="0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801">
                <a:solidFill>
                  <a:schemeClr val="bg2"/>
                </a:solidFill>
                <a:latin typeface="+mn-lt"/>
                <a:cs typeface="+mn-cs"/>
              </a:defRPr>
            </a:lvl3pPr>
            <a:lvl4pPr marL="1256090" indent="-227081" defTabSz="1217978" eaLnBrk="0" hangingPunct="0">
              <a:spcBef>
                <a:spcPts val="0"/>
              </a:spcBef>
              <a:spcAft>
                <a:spcPts val="1200"/>
              </a:spcAft>
              <a:buFont typeface="Arial" charset="0"/>
              <a:buChar char="–"/>
              <a:defRPr sz="1600">
                <a:solidFill>
                  <a:schemeClr val="bg2"/>
                </a:solidFill>
                <a:latin typeface="+mn-lt"/>
                <a:cs typeface="+mn-cs"/>
              </a:defRPr>
            </a:lvl4pPr>
            <a:lvl5pPr marL="1600680" indent="-225493" defTabSz="1217978" eaLnBrk="0" hangingPunct="0">
              <a:spcBef>
                <a:spcPts val="0"/>
              </a:spcBef>
              <a:spcAft>
                <a:spcPts val="1200"/>
              </a:spcAft>
              <a:buFont typeface="Arial" charset="0"/>
              <a:buChar char="»"/>
              <a:defRPr sz="1600">
                <a:solidFill>
                  <a:schemeClr val="bg2"/>
                </a:solidFill>
                <a:latin typeface="+mn-lt"/>
                <a:cs typeface="+mn-cs"/>
              </a:defRPr>
            </a:lvl5pPr>
            <a:lvl6pPr marL="3353219" indent="-304838" defTabSz="1219353">
              <a:spcBef>
                <a:spcPct val="20000"/>
              </a:spcBef>
              <a:buFont typeface="Arial" panose="020B0604020202020204" pitchFamily="34" charset="0"/>
              <a:buChar char="•"/>
              <a:defRPr sz="2701">
                <a:latin typeface="+mn-lt"/>
                <a:cs typeface="+mn-cs"/>
              </a:defRPr>
            </a:lvl6pPr>
            <a:lvl7pPr marL="3962896" indent="-304838" defTabSz="1219353">
              <a:spcBef>
                <a:spcPct val="20000"/>
              </a:spcBef>
              <a:buFont typeface="Arial" panose="020B0604020202020204" pitchFamily="34" charset="0"/>
              <a:buChar char="•"/>
              <a:defRPr sz="2701">
                <a:latin typeface="+mn-lt"/>
                <a:cs typeface="+mn-cs"/>
              </a:defRPr>
            </a:lvl7pPr>
            <a:lvl8pPr marL="4572571" indent="-304838" defTabSz="1219353">
              <a:spcBef>
                <a:spcPct val="20000"/>
              </a:spcBef>
              <a:buFont typeface="Arial" panose="020B0604020202020204" pitchFamily="34" charset="0"/>
              <a:buChar char="•"/>
              <a:defRPr sz="2701">
                <a:latin typeface="+mn-lt"/>
                <a:cs typeface="+mn-cs"/>
              </a:defRPr>
            </a:lvl8pPr>
            <a:lvl9pPr marL="5182247" indent="-304838" defTabSz="1219353">
              <a:spcBef>
                <a:spcPct val="20000"/>
              </a:spcBef>
              <a:buFont typeface="Arial" panose="020B0604020202020204" pitchFamily="34" charset="0"/>
              <a:buChar char="•"/>
              <a:defRPr sz="2701">
                <a:latin typeface="+mn-lt"/>
                <a:cs typeface="+mn-cs"/>
              </a:defRPr>
            </a:lvl9pPr>
          </a:lstStyle>
          <a:p>
            <a:pPr lvl="1" defTabSz="1217674"/>
            <a:r>
              <a:rPr lang="en-US" sz="2000">
                <a:latin typeface="Corbel" charset="0"/>
                <a:ea typeface="Corbel" charset="0"/>
                <a:cs typeface="Corbel" charset="0"/>
              </a:rPr>
              <a:t>We provide our channel partners with this:</a:t>
            </a:r>
          </a:p>
        </p:txBody>
      </p:sp>
      <p:sp>
        <p:nvSpPr>
          <p:cNvPr id="12" name="Text Placeholder 2"/>
          <p:cNvSpPr txBox="1">
            <a:spLocks/>
          </p:cNvSpPr>
          <p:nvPr/>
        </p:nvSpPr>
        <p:spPr>
          <a:xfrm>
            <a:off x="685764" y="1849612"/>
            <a:ext cx="4724619" cy="443307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227013" indent="-227013" algn="l" defTabSz="1217978" rtl="0" eaLnBrk="0" fontAlgn="base" hangingPunct="0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Webdings" panose="05030102010509060703" pitchFamily="18" charset="2"/>
              <a:buChar char=""/>
              <a:defRPr sz="280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8926" indent="-231845" algn="l" defTabSz="1217978" rtl="0" eaLnBrk="0" fontAlgn="base" hangingPunct="0">
              <a:spcBef>
                <a:spcPts val="0"/>
              </a:spcBef>
              <a:spcAft>
                <a:spcPts val="1200"/>
              </a:spcAft>
              <a:buFont typeface="Arial" charset="0"/>
              <a:buChar char="–"/>
              <a:defRPr sz="240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13087" indent="-225493" algn="l" defTabSz="1217978" rtl="0" eaLnBrk="0" fontAlgn="base" hangingPunct="0">
              <a:spcBef>
                <a:spcPts val="0"/>
              </a:spcBef>
              <a:spcAft>
                <a:spcPts val="1200"/>
              </a:spcAft>
              <a:buFont typeface="Arial" charset="0"/>
              <a:buChar char="•"/>
              <a:defRPr sz="180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256090" indent="-227081" algn="l" defTabSz="1217978" rtl="0" eaLnBrk="0" fontAlgn="base" hangingPunct="0">
              <a:spcBef>
                <a:spcPts val="0"/>
              </a:spcBef>
              <a:spcAft>
                <a:spcPts val="1200"/>
              </a:spcAft>
              <a:buFont typeface="Arial" charset="0"/>
              <a:buChar char="–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600680" indent="-225493" algn="l" defTabSz="1217978" rtl="0" eaLnBrk="0" fontAlgn="base" hangingPunct="0">
              <a:spcBef>
                <a:spcPts val="0"/>
              </a:spcBef>
              <a:spcAft>
                <a:spcPts val="1200"/>
              </a:spcAft>
              <a:buFont typeface="Arial" charset="0"/>
              <a:buChar char="»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1217674">
              <a:spcAft>
                <a:spcPts val="600"/>
              </a:spcAft>
              <a:buClr>
                <a:srgbClr val="00B1E2"/>
              </a:buClr>
              <a:buNone/>
            </a:pPr>
            <a:r>
              <a:rPr lang="en-US" sz="2199" dirty="0">
                <a:solidFill>
                  <a:srgbClr val="00B1E2"/>
                </a:solidFill>
                <a:latin typeface="Corbel" charset="0"/>
                <a:ea typeface="Corbel" charset="0"/>
                <a:cs typeface="Corbel" charset="0"/>
              </a:rPr>
              <a:t>By investing in this: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785614" y="4516625"/>
            <a:ext cx="1828386" cy="353943"/>
          </a:xfrm>
          <a:prstGeom prst="rect">
            <a:avLst/>
          </a:prstGeom>
        </p:spPr>
        <p:txBody>
          <a:bodyPr wrap="none" lIns="0" tIns="0">
            <a:spAutoFit/>
          </a:bodyPr>
          <a:lstStyle/>
          <a:p>
            <a:pPr defTabSz="609433"/>
            <a:r>
              <a:rPr lang="en-US" sz="20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New capabilities</a:t>
            </a:r>
          </a:p>
        </p:txBody>
      </p:sp>
      <p:sp>
        <p:nvSpPr>
          <p:cNvPr id="30" name="Rectangle 29"/>
          <p:cNvSpPr/>
          <p:nvPr/>
        </p:nvSpPr>
        <p:spPr>
          <a:xfrm>
            <a:off x="7785617" y="3426934"/>
            <a:ext cx="3256989" cy="661720"/>
          </a:xfrm>
          <a:prstGeom prst="rect">
            <a:avLst/>
          </a:prstGeom>
        </p:spPr>
        <p:txBody>
          <a:bodyPr wrap="square" lIns="0" tIns="0">
            <a:spAutoFit/>
          </a:bodyPr>
          <a:lstStyle/>
          <a:p>
            <a:pPr defTabSz="609433"/>
            <a:r>
              <a:rPr lang="en-US" sz="20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Unmatched customer experienc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7785617" y="2577834"/>
            <a:ext cx="2984087" cy="353943"/>
          </a:xfrm>
          <a:prstGeom prst="rect">
            <a:avLst/>
          </a:prstGeom>
        </p:spPr>
        <p:txBody>
          <a:bodyPr wrap="none" lIns="0" tIns="0">
            <a:spAutoFit/>
          </a:bodyPr>
          <a:lstStyle/>
          <a:p>
            <a:pPr defTabSz="609433"/>
            <a:r>
              <a:rPr lang="en-US" sz="20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Collaborative marketplace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477735" y="3426936"/>
            <a:ext cx="2134559" cy="353943"/>
          </a:xfrm>
          <a:prstGeom prst="rect">
            <a:avLst/>
          </a:prstGeom>
        </p:spPr>
        <p:txBody>
          <a:bodyPr wrap="none" lIns="0" tIns="0">
            <a:spAutoFit/>
          </a:bodyPr>
          <a:lstStyle/>
          <a:p>
            <a:pPr defTabSz="609433"/>
            <a:r>
              <a:rPr lang="en-US" sz="20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Advanced analytic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477735" y="4516624"/>
            <a:ext cx="3551744" cy="969496"/>
          </a:xfrm>
          <a:prstGeom prst="rect">
            <a:avLst/>
          </a:prstGeom>
        </p:spPr>
        <p:txBody>
          <a:bodyPr wrap="square" lIns="0" tIns="0">
            <a:spAutoFit/>
          </a:bodyPr>
          <a:lstStyle/>
          <a:p>
            <a:pPr defTabSz="609433"/>
            <a:r>
              <a:rPr lang="en-US" sz="20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Automating and digitizing internal processes to improve productivity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477737" y="2577834"/>
            <a:ext cx="1876476" cy="353943"/>
          </a:xfrm>
          <a:prstGeom prst="rect">
            <a:avLst/>
          </a:prstGeom>
        </p:spPr>
        <p:txBody>
          <a:bodyPr wrap="none" lIns="0" tIns="0">
            <a:spAutoFit/>
          </a:bodyPr>
          <a:lstStyle/>
          <a:p>
            <a:pPr defTabSz="609433"/>
            <a:r>
              <a:rPr lang="en-US" sz="20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Process redesig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39" y="3426932"/>
            <a:ext cx="639913" cy="639913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528" y="2455496"/>
            <a:ext cx="639913" cy="642473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8149" y="3426932"/>
            <a:ext cx="639913" cy="639913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62" y="2455496"/>
            <a:ext cx="639913" cy="642473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8149" y="4516622"/>
            <a:ext cx="639913" cy="639913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368" y="4516622"/>
            <a:ext cx="685621" cy="685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564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5871" y="1127698"/>
            <a:ext cx="11033585" cy="4519083"/>
          </a:xfrm>
        </p:spPr>
        <p:txBody>
          <a:bodyPr/>
          <a:lstStyle/>
          <a:p>
            <a:r>
              <a:rPr lang="en-US" dirty="0"/>
              <a:t>Broader reach and coverage built on speed and efficienc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ultiple, Custom Routes to Market</a:t>
            </a:r>
          </a:p>
        </p:txBody>
      </p:sp>
      <p:sp>
        <p:nvSpPr>
          <p:cNvPr id="104" name="Dark Org Rectangle"/>
          <p:cNvSpPr>
            <a:spLocks/>
          </p:cNvSpPr>
          <p:nvPr/>
        </p:nvSpPr>
        <p:spPr>
          <a:xfrm>
            <a:off x="2349556" y="3012082"/>
            <a:ext cx="8356526" cy="274320"/>
          </a:xfrm>
          <a:prstGeom prst="rect">
            <a:avLst/>
          </a:prstGeom>
          <a:solidFill>
            <a:srgbClr val="EE7C3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187" tIns="27093" rIns="54187" bIns="27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70930">
              <a:defRPr/>
            </a:pPr>
            <a:endParaRPr lang="en-US" sz="1200" dirty="0">
              <a:ln w="0">
                <a:solidFill>
                  <a:sysClr val="windowText" lastClr="000000"/>
                </a:solidFill>
              </a:ln>
              <a:solidFill>
                <a:srgbClr val="00B2DB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Bottom Lt Blue Rectangle"/>
          <p:cNvSpPr>
            <a:spLocks noChangeAspect="1"/>
          </p:cNvSpPr>
          <p:nvPr/>
        </p:nvSpPr>
        <p:spPr>
          <a:xfrm>
            <a:off x="2349557" y="4607460"/>
            <a:ext cx="8355573" cy="1183741"/>
          </a:xfrm>
          <a:prstGeom prst="rect">
            <a:avLst/>
          </a:prstGeom>
          <a:solidFill>
            <a:srgbClr val="00B1E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187" tIns="27093" rIns="54187" bIns="27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70930">
              <a:defRPr/>
            </a:pP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Endpoint Solutions text"/>
          <p:cNvSpPr txBox="1">
            <a:spLocks noChangeAspect="1"/>
          </p:cNvSpPr>
          <p:nvPr/>
        </p:nvSpPr>
        <p:spPr>
          <a:xfrm>
            <a:off x="2592389" y="4633503"/>
            <a:ext cx="26683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70930">
              <a:defRPr/>
            </a:pPr>
            <a:r>
              <a:rPr lang="en-US" sz="1200" b="1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Endpoint solutions</a:t>
            </a:r>
          </a:p>
        </p:txBody>
      </p:sp>
      <p:sp>
        <p:nvSpPr>
          <p:cNvPr id="107" name="Adv Soln Text"/>
          <p:cNvSpPr txBox="1">
            <a:spLocks noChangeAspect="1"/>
          </p:cNvSpPr>
          <p:nvPr/>
        </p:nvSpPr>
        <p:spPr>
          <a:xfrm>
            <a:off x="7928108" y="4633503"/>
            <a:ext cx="25128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70930">
              <a:defRPr/>
            </a:pPr>
            <a:r>
              <a:rPr lang="en-US" sz="1200" b="1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Advanced solutions</a:t>
            </a:r>
          </a:p>
        </p:txBody>
      </p:sp>
      <p:sp>
        <p:nvSpPr>
          <p:cNvPr id="108" name="End to End Portfolio text"/>
          <p:cNvSpPr txBox="1">
            <a:spLocks/>
          </p:cNvSpPr>
          <p:nvPr/>
        </p:nvSpPr>
        <p:spPr>
          <a:xfrm>
            <a:off x="1173854" y="4904986"/>
            <a:ext cx="11137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270930">
              <a:defRPr/>
            </a:pPr>
            <a:r>
              <a:rPr lang="en-US" sz="1200" b="1" dirty="0">
                <a:solidFill>
                  <a:srgbClr val="FFFFFF"/>
                </a:solidFill>
                <a:latin typeface="Corbel" charset="0"/>
                <a:ea typeface="Corbel" charset="0"/>
                <a:cs typeface="Corbel" charset="0"/>
              </a:rPr>
              <a:t>END-TO-END PORTFOLIO</a:t>
            </a:r>
          </a:p>
        </p:txBody>
      </p:sp>
      <p:sp>
        <p:nvSpPr>
          <p:cNvPr id="109" name="SERVICES text"/>
          <p:cNvSpPr txBox="1">
            <a:spLocks noChangeAspect="1"/>
          </p:cNvSpPr>
          <p:nvPr/>
        </p:nvSpPr>
        <p:spPr>
          <a:xfrm>
            <a:off x="1169852" y="3010744"/>
            <a:ext cx="111773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marR="0" lvl="0" indent="0" algn="r" defTabSz="6095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FFD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200" dirty="0">
                <a:solidFill>
                  <a:srgbClr val="ED7D31"/>
                </a:solidFill>
                <a:latin typeface="Corbel" charset="0"/>
                <a:ea typeface="Corbel" charset="0"/>
                <a:cs typeface="Corbel" charset="0"/>
              </a:rPr>
              <a:t>SERVICES</a:t>
            </a:r>
          </a:p>
        </p:txBody>
      </p:sp>
      <p:grpSp>
        <p:nvGrpSpPr>
          <p:cNvPr id="110" name="SERVICES Text Group"/>
          <p:cNvGrpSpPr>
            <a:grpSpLocks noChangeAspect="1"/>
          </p:cNvGrpSpPr>
          <p:nvPr/>
        </p:nvGrpSpPr>
        <p:grpSpPr>
          <a:xfrm>
            <a:off x="2937653" y="3011773"/>
            <a:ext cx="7179379" cy="307777"/>
            <a:chOff x="667859" y="5935279"/>
            <a:chExt cx="9230624" cy="455007"/>
          </a:xfrm>
        </p:grpSpPr>
        <p:sp>
          <p:nvSpPr>
            <p:cNvPr id="111" name="Rectangle 110"/>
            <p:cNvSpPr/>
            <p:nvPr/>
          </p:nvSpPr>
          <p:spPr>
            <a:xfrm>
              <a:off x="667859" y="5935279"/>
              <a:ext cx="1876585" cy="4550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400" b="1" dirty="0">
                  <a:solidFill>
                    <a:srgbClr val="282828"/>
                  </a:solidFill>
                  <a:latin typeface="Corbel" charset="0"/>
                  <a:ea typeface="Corbel" charset="0"/>
                  <a:cs typeface="Corbel" charset="0"/>
                </a:rPr>
                <a:t>Product Support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3150255" y="5935279"/>
              <a:ext cx="1360674" cy="4550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400" b="1" dirty="0">
                  <a:solidFill>
                    <a:srgbClr val="282828"/>
                  </a:solidFill>
                  <a:latin typeface="Corbel" charset="0"/>
                  <a:ea typeface="Corbel" charset="0"/>
                  <a:cs typeface="Corbel" charset="0"/>
                </a:rPr>
                <a:t>Integration</a:t>
              </a: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5155453" y="5935279"/>
              <a:ext cx="1537180" cy="4550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400" b="1" dirty="0">
                  <a:solidFill>
                    <a:srgbClr val="282828"/>
                  </a:solidFill>
                  <a:latin typeface="Corbel" charset="0"/>
                  <a:ea typeface="Corbel" charset="0"/>
                  <a:cs typeface="Corbel" charset="0"/>
                </a:rPr>
                <a:t>Supply Chain</a:t>
              </a: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7313573" y="5935279"/>
              <a:ext cx="2584910" cy="4550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400" b="1" dirty="0">
                  <a:solidFill>
                    <a:srgbClr val="282828"/>
                  </a:solidFill>
                  <a:latin typeface="Corbel" charset="0"/>
                  <a:ea typeface="Corbel" charset="0"/>
                  <a:cs typeface="Corbel" charset="0"/>
                </a:rPr>
                <a:t>Customer Management</a:t>
              </a:r>
            </a:p>
          </p:txBody>
        </p:sp>
      </p:grpSp>
      <p:sp>
        <p:nvSpPr>
          <p:cNvPr id="115" name="SOLN PROV text"/>
          <p:cNvSpPr txBox="1">
            <a:spLocks/>
          </p:cNvSpPr>
          <p:nvPr/>
        </p:nvSpPr>
        <p:spPr>
          <a:xfrm>
            <a:off x="1057780" y="1795962"/>
            <a:ext cx="122980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 defTabSz="270930">
              <a:defRPr/>
            </a:pPr>
            <a:r>
              <a:rPr lang="en-US" sz="1200" b="1" dirty="0">
                <a:solidFill>
                  <a:srgbClr val="FFFFFF"/>
                </a:solidFill>
                <a:latin typeface="Corbel" charset="0"/>
                <a:ea typeface="Corbel" charset="0"/>
                <a:cs typeface="Corbel" charset="0"/>
              </a:rPr>
              <a:t>SOLUTION PROVIDERS</a:t>
            </a:r>
          </a:p>
        </p:txBody>
      </p:sp>
      <p:sp>
        <p:nvSpPr>
          <p:cNvPr id="116" name="CUSTOMER GTM text"/>
          <p:cNvSpPr txBox="1">
            <a:spLocks/>
          </p:cNvSpPr>
          <p:nvPr/>
        </p:nvSpPr>
        <p:spPr>
          <a:xfrm>
            <a:off x="966789" y="2499396"/>
            <a:ext cx="13208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marR="0" lvl="0" indent="0" algn="r" defTabSz="6095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FFD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200" dirty="0">
                <a:solidFill>
                  <a:srgbClr val="D7DF23"/>
                </a:solidFill>
                <a:latin typeface="Corbel" charset="0"/>
                <a:ea typeface="Corbel" charset="0"/>
                <a:cs typeface="Corbel" charset="0"/>
              </a:rPr>
              <a:t>CUSTOMER GTM</a:t>
            </a:r>
          </a:p>
        </p:txBody>
      </p:sp>
      <p:grpSp>
        <p:nvGrpSpPr>
          <p:cNvPr id="117" name="Soln Prov Boxes"/>
          <p:cNvGrpSpPr>
            <a:grpSpLocks noChangeAspect="1"/>
          </p:cNvGrpSpPr>
          <p:nvPr/>
        </p:nvGrpSpPr>
        <p:grpSpPr>
          <a:xfrm>
            <a:off x="2349556" y="1774652"/>
            <a:ext cx="8356526" cy="497863"/>
            <a:chOff x="1486773" y="932653"/>
            <a:chExt cx="10643612" cy="634122"/>
          </a:xfrm>
          <a:solidFill>
            <a:srgbClr val="00558C"/>
          </a:solidFill>
        </p:grpSpPr>
        <p:sp>
          <p:nvSpPr>
            <p:cNvPr id="118" name="Top Blue Rect"/>
            <p:cNvSpPr/>
            <p:nvPr/>
          </p:nvSpPr>
          <p:spPr>
            <a:xfrm>
              <a:off x="1486773" y="932653"/>
              <a:ext cx="10643612" cy="634122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187" tIns="27093" rIns="54187" bIns="27093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270930">
                <a:defRPr/>
              </a:pPr>
              <a:endParaRPr lang="en-US" sz="1300" dirty="0">
                <a:solidFill>
                  <a:srgbClr val="005073"/>
                </a:solidFill>
                <a:latin typeface="Corbel" charset="0"/>
                <a:ea typeface="Corbel" charset="0"/>
                <a:cs typeface="Corbel" charset="0"/>
              </a:endParaRPr>
            </a:p>
          </p:txBody>
        </p:sp>
        <p:grpSp>
          <p:nvGrpSpPr>
            <p:cNvPr id="119" name="Group 118"/>
            <p:cNvGrpSpPr/>
            <p:nvPr/>
          </p:nvGrpSpPr>
          <p:grpSpPr>
            <a:xfrm>
              <a:off x="1683360" y="978612"/>
              <a:ext cx="10255142" cy="552898"/>
              <a:chOff x="1683360" y="978612"/>
              <a:chExt cx="10255142" cy="552898"/>
            </a:xfrm>
            <a:grpFill/>
          </p:grpSpPr>
          <p:sp>
            <p:nvSpPr>
              <p:cNvPr id="120" name="Rectangle 119"/>
              <p:cNvSpPr/>
              <p:nvPr/>
            </p:nvSpPr>
            <p:spPr>
              <a:xfrm>
                <a:off x="1683360" y="1068855"/>
                <a:ext cx="720076" cy="37241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270930">
                  <a:defRPr/>
                </a:pPr>
                <a: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  <a:t>VARs</a:t>
                </a:r>
              </a:p>
            </p:txBody>
          </p:sp>
          <p:sp>
            <p:nvSpPr>
              <p:cNvPr id="121" name="Rectangle 120"/>
              <p:cNvSpPr/>
              <p:nvPr/>
            </p:nvSpPr>
            <p:spPr>
              <a:xfrm>
                <a:off x="3697393" y="1068855"/>
                <a:ext cx="506757" cy="37241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270930">
                  <a:defRPr/>
                </a:pPr>
                <a: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  <a:t>SIs</a:t>
                </a:r>
              </a:p>
            </p:txBody>
          </p:sp>
          <p:sp>
            <p:nvSpPr>
              <p:cNvPr id="122" name="Rectangle 121"/>
              <p:cNvSpPr/>
              <p:nvPr/>
            </p:nvSpPr>
            <p:spPr>
              <a:xfrm>
                <a:off x="4552217" y="1068855"/>
                <a:ext cx="633835" cy="37241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270930">
                  <a:defRPr/>
                </a:pPr>
                <a: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  <a:t>ISVs</a:t>
                </a:r>
              </a:p>
            </p:txBody>
          </p:sp>
          <p:sp>
            <p:nvSpPr>
              <p:cNvPr id="123" name="Rectangle 122"/>
              <p:cNvSpPr/>
              <p:nvPr/>
            </p:nvSpPr>
            <p:spPr>
              <a:xfrm>
                <a:off x="5569723" y="1068855"/>
                <a:ext cx="749722" cy="37241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270930">
                  <a:defRPr/>
                </a:pPr>
                <a: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  <a:t>MSPs</a:t>
                </a:r>
              </a:p>
            </p:txBody>
          </p:sp>
          <p:sp>
            <p:nvSpPr>
              <p:cNvPr id="124" name="Rectangle 123"/>
              <p:cNvSpPr/>
              <p:nvPr/>
            </p:nvSpPr>
            <p:spPr>
              <a:xfrm>
                <a:off x="11045859" y="978612"/>
                <a:ext cx="892643" cy="552898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270930">
                  <a:lnSpc>
                    <a:spcPts val="1300"/>
                  </a:lnSpc>
                  <a:defRPr/>
                </a:pPr>
                <a: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  <a:t>Born in</a:t>
                </a:r>
                <a:b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</a:br>
                <a: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  <a:t>Cloud</a:t>
                </a:r>
              </a:p>
            </p:txBody>
          </p:sp>
          <p:sp>
            <p:nvSpPr>
              <p:cNvPr id="125" name="Rectangle 124"/>
              <p:cNvSpPr/>
              <p:nvPr/>
            </p:nvSpPr>
            <p:spPr>
              <a:xfrm>
                <a:off x="8272438" y="1068855"/>
                <a:ext cx="925311" cy="37241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270930">
                  <a:defRPr/>
                </a:pPr>
                <a: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  <a:t>Dealers</a:t>
                </a:r>
              </a:p>
            </p:txBody>
          </p:sp>
          <p:sp>
            <p:nvSpPr>
              <p:cNvPr id="126" name="Rectangle 125"/>
              <p:cNvSpPr/>
              <p:nvPr/>
            </p:nvSpPr>
            <p:spPr>
              <a:xfrm>
                <a:off x="6763065" y="1068855"/>
                <a:ext cx="1039729" cy="37241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270930">
                  <a:defRPr/>
                </a:pPr>
                <a: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  <a:t>Retailers</a:t>
                </a:r>
              </a:p>
            </p:txBody>
          </p:sp>
          <p:sp>
            <p:nvSpPr>
              <p:cNvPr id="127" name="Rectangle 126"/>
              <p:cNvSpPr/>
              <p:nvPr/>
            </p:nvSpPr>
            <p:spPr>
              <a:xfrm>
                <a:off x="9652681" y="1068855"/>
                <a:ext cx="936337" cy="37241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270930">
                  <a:defRPr/>
                </a:pPr>
                <a: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  <a:t>eTailers</a:t>
                </a:r>
              </a:p>
            </p:txBody>
          </p:sp>
          <p:sp>
            <p:nvSpPr>
              <p:cNvPr id="128" name="Rectangle 127"/>
              <p:cNvSpPr/>
              <p:nvPr/>
            </p:nvSpPr>
            <p:spPr>
              <a:xfrm>
                <a:off x="2780613" y="1068855"/>
                <a:ext cx="574133" cy="372411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pPr algn="ctr" defTabSz="270930">
                  <a:defRPr/>
                </a:pPr>
                <a:r>
                  <a:rPr lang="en-US" sz="1300" b="1" dirty="0">
                    <a:solidFill>
                      <a:srgbClr val="FFFFFF"/>
                    </a:solidFill>
                    <a:latin typeface="Corbel" charset="0"/>
                    <a:ea typeface="Corbel" charset="0"/>
                    <a:cs typeface="Corbel" charset="0"/>
                  </a:rPr>
                  <a:t>SPs</a:t>
                </a:r>
              </a:p>
            </p:txBody>
          </p:sp>
        </p:grpSp>
      </p:grpSp>
      <p:grpSp>
        <p:nvGrpSpPr>
          <p:cNvPr id="129" name="Customer GTM Group"/>
          <p:cNvGrpSpPr/>
          <p:nvPr/>
        </p:nvGrpSpPr>
        <p:grpSpPr>
          <a:xfrm>
            <a:off x="2349557" y="2434376"/>
            <a:ext cx="8355573" cy="474588"/>
            <a:chOff x="9883224" y="2094842"/>
            <a:chExt cx="16831964" cy="1067822"/>
          </a:xfrm>
        </p:grpSpPr>
        <p:grpSp>
          <p:nvGrpSpPr>
            <p:cNvPr id="130" name="Enterprise Soln"/>
            <p:cNvGrpSpPr/>
            <p:nvPr/>
          </p:nvGrpSpPr>
          <p:grpSpPr>
            <a:xfrm>
              <a:off x="9883224" y="2094848"/>
              <a:ext cx="3200400" cy="1030421"/>
              <a:chOff x="1486769" y="2324046"/>
              <a:chExt cx="3240780" cy="1043419"/>
            </a:xfrm>
            <a:solidFill>
              <a:schemeClr val="accent1"/>
            </a:solidFill>
          </p:grpSpPr>
          <p:sp>
            <p:nvSpPr>
              <p:cNvPr id="143" name="Orange rect"/>
              <p:cNvSpPr/>
              <p:nvPr/>
            </p:nvSpPr>
            <p:spPr>
              <a:xfrm>
                <a:off x="1486769" y="2324046"/>
                <a:ext cx="3240780" cy="1043419"/>
              </a:xfrm>
              <a:prstGeom prst="rect">
                <a:avLst/>
              </a:prstGeom>
              <a:solidFill>
                <a:srgbClr val="D7DF2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187" tIns="27093" rIns="54187" bIns="2709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70930">
                  <a:defRPr/>
                </a:pPr>
                <a:endParaRPr lang="en-US" sz="12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4" name="Rectangle 143"/>
              <p:cNvSpPr/>
              <p:nvPr/>
            </p:nvSpPr>
            <p:spPr>
              <a:xfrm>
                <a:off x="1547810" y="2601838"/>
                <a:ext cx="3179739" cy="63987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70930">
                  <a:lnSpc>
                    <a:spcPts val="1400"/>
                  </a:lnSpc>
                  <a:defRPr/>
                </a:pPr>
                <a:r>
                  <a:rPr lang="en-US" sz="1400" b="1" dirty="0">
                    <a:solidFill>
                      <a:srgbClr val="1F2A44"/>
                    </a:solidFill>
                    <a:latin typeface="Corbel" charset="0"/>
                    <a:ea typeface="Corbel" charset="0"/>
                    <a:cs typeface="Corbel" charset="0"/>
                  </a:rPr>
                  <a:t>Enterprise</a:t>
                </a:r>
              </a:p>
            </p:txBody>
          </p:sp>
        </p:grpSp>
        <p:grpSp>
          <p:nvGrpSpPr>
            <p:cNvPr id="131" name="Nationals"/>
            <p:cNvGrpSpPr/>
            <p:nvPr/>
          </p:nvGrpSpPr>
          <p:grpSpPr>
            <a:xfrm>
              <a:off x="13291115" y="2094842"/>
              <a:ext cx="3200400" cy="1019261"/>
              <a:chOff x="2738639" y="2324046"/>
              <a:chExt cx="3240780" cy="1032120"/>
            </a:xfrm>
            <a:solidFill>
              <a:schemeClr val="accent1"/>
            </a:solidFill>
          </p:grpSpPr>
          <p:sp>
            <p:nvSpPr>
              <p:cNvPr id="141" name="Orange rect"/>
              <p:cNvSpPr/>
              <p:nvPr/>
            </p:nvSpPr>
            <p:spPr>
              <a:xfrm>
                <a:off x="2738639" y="2324046"/>
                <a:ext cx="3240780" cy="1032120"/>
              </a:xfrm>
              <a:prstGeom prst="rect">
                <a:avLst/>
              </a:prstGeom>
              <a:solidFill>
                <a:srgbClr val="D7DF2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187" tIns="27093" rIns="54187" bIns="2709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70930">
                  <a:defRPr/>
                </a:pPr>
                <a:endParaRPr lang="en-US" sz="12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2778072" y="2540484"/>
                <a:ext cx="3133119" cy="70123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70930">
                  <a:defRPr/>
                </a:pPr>
                <a:r>
                  <a:rPr lang="en-US" sz="1400" b="1" dirty="0">
                    <a:solidFill>
                      <a:srgbClr val="1F2A44"/>
                    </a:solidFill>
                    <a:latin typeface="Corbel" charset="0"/>
                    <a:ea typeface="Corbel" charset="0"/>
                    <a:cs typeface="Corbel" charset="0"/>
                  </a:rPr>
                  <a:t>Nationals</a:t>
                </a:r>
              </a:p>
            </p:txBody>
          </p:sp>
        </p:grpSp>
        <p:grpSp>
          <p:nvGrpSpPr>
            <p:cNvPr id="132" name="Commercial Mid Market"/>
            <p:cNvGrpSpPr/>
            <p:nvPr/>
          </p:nvGrpSpPr>
          <p:grpSpPr>
            <a:xfrm>
              <a:off x="16699006" y="2094842"/>
              <a:ext cx="3200400" cy="1067822"/>
              <a:chOff x="3990507" y="2324046"/>
              <a:chExt cx="3240780" cy="1081294"/>
            </a:xfrm>
            <a:solidFill>
              <a:schemeClr val="accent1"/>
            </a:solidFill>
          </p:grpSpPr>
          <p:sp>
            <p:nvSpPr>
              <p:cNvPr id="139" name="Orange rect"/>
              <p:cNvSpPr/>
              <p:nvPr/>
            </p:nvSpPr>
            <p:spPr>
              <a:xfrm>
                <a:off x="3990507" y="2324046"/>
                <a:ext cx="3240780" cy="1022998"/>
              </a:xfrm>
              <a:prstGeom prst="rect">
                <a:avLst/>
              </a:prstGeom>
              <a:solidFill>
                <a:srgbClr val="D7DF2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187" tIns="27093" rIns="54187" bIns="2709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70930">
                  <a:defRPr/>
                </a:pPr>
                <a:endParaRPr lang="en-US" sz="12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0" name="Rectangle 139"/>
              <p:cNvSpPr/>
              <p:nvPr/>
            </p:nvSpPr>
            <p:spPr>
              <a:xfrm>
                <a:off x="4247911" y="2356411"/>
                <a:ext cx="2777810" cy="10489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70930">
                  <a:lnSpc>
                    <a:spcPts val="1400"/>
                  </a:lnSpc>
                  <a:defRPr/>
                </a:pPr>
                <a:r>
                  <a:rPr lang="en-US" sz="1400" b="1" dirty="0">
                    <a:solidFill>
                      <a:srgbClr val="1F2A44"/>
                    </a:solidFill>
                    <a:latin typeface="Corbel" charset="0"/>
                    <a:ea typeface="Corbel" charset="0"/>
                    <a:cs typeface="Corbel" charset="0"/>
                  </a:rPr>
                  <a:t>Commercial </a:t>
                </a:r>
                <a:br>
                  <a:rPr lang="en-US" sz="1400" b="1" dirty="0">
                    <a:solidFill>
                      <a:srgbClr val="1F2A44"/>
                    </a:solidFill>
                    <a:latin typeface="Corbel" charset="0"/>
                    <a:ea typeface="Corbel" charset="0"/>
                    <a:cs typeface="Corbel" charset="0"/>
                  </a:rPr>
                </a:br>
                <a:r>
                  <a:rPr lang="en-US" sz="1400" b="1" dirty="0">
                    <a:solidFill>
                      <a:srgbClr val="1F2A44"/>
                    </a:solidFill>
                    <a:latin typeface="Corbel" charset="0"/>
                    <a:ea typeface="Corbel" charset="0"/>
                    <a:cs typeface="Corbel" charset="0"/>
                  </a:rPr>
                  <a:t>Mid-Market</a:t>
                </a:r>
              </a:p>
            </p:txBody>
          </p:sp>
        </p:grpSp>
        <p:grpSp>
          <p:nvGrpSpPr>
            <p:cNvPr id="133" name="Commercial SMB"/>
            <p:cNvGrpSpPr/>
            <p:nvPr/>
          </p:nvGrpSpPr>
          <p:grpSpPr>
            <a:xfrm>
              <a:off x="20106897" y="2094842"/>
              <a:ext cx="3200400" cy="1067822"/>
              <a:chOff x="5242377" y="2324046"/>
              <a:chExt cx="3240780" cy="1081294"/>
            </a:xfrm>
            <a:solidFill>
              <a:schemeClr val="accent1"/>
            </a:solidFill>
          </p:grpSpPr>
          <p:sp>
            <p:nvSpPr>
              <p:cNvPr id="137" name="Orange rect"/>
              <p:cNvSpPr/>
              <p:nvPr/>
            </p:nvSpPr>
            <p:spPr>
              <a:xfrm>
                <a:off x="5242377" y="2324046"/>
                <a:ext cx="3240780" cy="1022998"/>
              </a:xfrm>
              <a:prstGeom prst="rect">
                <a:avLst/>
              </a:prstGeom>
              <a:solidFill>
                <a:srgbClr val="D7DF2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187" tIns="27093" rIns="54187" bIns="2709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70930">
                  <a:defRPr/>
                </a:pPr>
                <a:endParaRPr lang="en-US" sz="12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8" name="Rectangle 137"/>
              <p:cNvSpPr/>
              <p:nvPr/>
            </p:nvSpPr>
            <p:spPr>
              <a:xfrm>
                <a:off x="5739132" y="2356411"/>
                <a:ext cx="2247273" cy="10489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 defTabSz="270930">
                  <a:lnSpc>
                    <a:spcPts val="1400"/>
                  </a:lnSpc>
                  <a:defRPr/>
                </a:pPr>
                <a:r>
                  <a:rPr lang="en-US" sz="1400" b="1" dirty="0">
                    <a:solidFill>
                      <a:srgbClr val="1F2A44"/>
                    </a:solidFill>
                    <a:latin typeface="Corbel" charset="0"/>
                    <a:ea typeface="Corbel" charset="0"/>
                    <a:cs typeface="Corbel" charset="0"/>
                  </a:rPr>
                  <a:t>Commercial SMB</a:t>
                </a:r>
              </a:p>
            </p:txBody>
          </p:sp>
        </p:grpSp>
        <p:grpSp>
          <p:nvGrpSpPr>
            <p:cNvPr id="134" name="Retail"/>
            <p:cNvGrpSpPr/>
            <p:nvPr/>
          </p:nvGrpSpPr>
          <p:grpSpPr>
            <a:xfrm>
              <a:off x="23514788" y="2094842"/>
              <a:ext cx="3200400" cy="1010252"/>
              <a:chOff x="6494246" y="2324046"/>
              <a:chExt cx="3240780" cy="1022998"/>
            </a:xfrm>
            <a:solidFill>
              <a:schemeClr val="accent1"/>
            </a:solidFill>
          </p:grpSpPr>
          <p:sp>
            <p:nvSpPr>
              <p:cNvPr id="135" name="Orange rect"/>
              <p:cNvSpPr/>
              <p:nvPr/>
            </p:nvSpPr>
            <p:spPr>
              <a:xfrm>
                <a:off x="6494246" y="2324046"/>
                <a:ext cx="3240780" cy="1022998"/>
              </a:xfrm>
              <a:prstGeom prst="rect">
                <a:avLst/>
              </a:prstGeom>
              <a:solidFill>
                <a:srgbClr val="D7DF2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187" tIns="27093" rIns="54187" bIns="27093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270930">
                  <a:defRPr/>
                </a:pPr>
                <a:endParaRPr lang="en-US" sz="12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6" name="Rectangle 135"/>
              <p:cNvSpPr/>
              <p:nvPr/>
            </p:nvSpPr>
            <p:spPr>
              <a:xfrm>
                <a:off x="6949016" y="2540484"/>
                <a:ext cx="2443480" cy="70123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270930">
                  <a:defRPr/>
                </a:pPr>
                <a:r>
                  <a:rPr lang="en-US" sz="1400" b="1" dirty="0">
                    <a:solidFill>
                      <a:srgbClr val="1F2A44"/>
                    </a:solidFill>
                    <a:latin typeface="Corbel" charset="0"/>
                    <a:ea typeface="Corbel" charset="0"/>
                    <a:cs typeface="Corbel" charset="0"/>
                  </a:rPr>
                  <a:t>Retail</a:t>
                </a:r>
              </a:p>
            </p:txBody>
          </p:sp>
        </p:grpSp>
      </p:grpSp>
      <p:sp>
        <p:nvSpPr>
          <p:cNvPr id="145" name="Orange rect"/>
          <p:cNvSpPr>
            <a:spLocks/>
          </p:cNvSpPr>
          <p:nvPr/>
        </p:nvSpPr>
        <p:spPr>
          <a:xfrm>
            <a:off x="2349556" y="3431729"/>
            <a:ext cx="8356526" cy="36278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187" tIns="27093" rIns="54187" bIns="27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70930">
              <a:defRPr/>
            </a:pP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6" name="VERTICALS Text Group"/>
          <p:cNvGrpSpPr>
            <a:grpSpLocks noChangeAspect="1"/>
          </p:cNvGrpSpPr>
          <p:nvPr/>
        </p:nvGrpSpPr>
        <p:grpSpPr>
          <a:xfrm>
            <a:off x="2934619" y="3454434"/>
            <a:ext cx="7119352" cy="338554"/>
            <a:chOff x="-43947" y="6123306"/>
            <a:chExt cx="9607896" cy="500507"/>
          </a:xfrm>
        </p:grpSpPr>
        <p:sp>
          <p:nvSpPr>
            <p:cNvPr id="147" name="Rectangle 146"/>
            <p:cNvSpPr/>
            <p:nvPr/>
          </p:nvSpPr>
          <p:spPr>
            <a:xfrm>
              <a:off x="-43947" y="6123306"/>
              <a:ext cx="1810966" cy="5005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600" b="1" dirty="0">
                  <a:solidFill>
                    <a:srgbClr val="052E58"/>
                  </a:solidFill>
                  <a:latin typeface="Corbel" charset="0"/>
                  <a:ea typeface="Corbel" charset="0"/>
                  <a:cs typeface="Corbel" charset="0"/>
                </a:rPr>
                <a:t>Public Sector</a:t>
              </a: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2390691" y="6123306"/>
              <a:ext cx="1562355" cy="5005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600" b="1" dirty="0">
                  <a:solidFill>
                    <a:srgbClr val="052E58"/>
                  </a:solidFill>
                  <a:latin typeface="Corbel" charset="0"/>
                  <a:ea typeface="Corbel" charset="0"/>
                  <a:cs typeface="Corbel" charset="0"/>
                </a:rPr>
                <a:t>Healthcare</a:t>
              </a:r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4471815" y="6123306"/>
              <a:ext cx="1458516" cy="5005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600" b="1" dirty="0">
                  <a:solidFill>
                    <a:srgbClr val="052E58"/>
                  </a:solidFill>
                  <a:latin typeface="Corbel" charset="0"/>
                  <a:ea typeface="Corbel" charset="0"/>
                  <a:cs typeface="Corbel" charset="0"/>
                </a:rPr>
                <a:t>Education</a:t>
              </a: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6522819" y="6123306"/>
              <a:ext cx="1315736" cy="5005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600" b="1" dirty="0">
                  <a:solidFill>
                    <a:srgbClr val="052E58"/>
                  </a:solidFill>
                  <a:latin typeface="Corbel" charset="0"/>
                  <a:ea typeface="Corbel" charset="0"/>
                  <a:cs typeface="Corbel" charset="0"/>
                </a:rPr>
                <a:t>Financial</a:t>
              </a:r>
            </a:p>
          </p:txBody>
        </p:sp>
        <p:sp>
          <p:nvSpPr>
            <p:cNvPr id="151" name="Rectangle 150"/>
            <p:cNvSpPr/>
            <p:nvPr/>
          </p:nvSpPr>
          <p:spPr>
            <a:xfrm>
              <a:off x="8616930" y="6123306"/>
              <a:ext cx="947019" cy="50050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600" b="1" dirty="0">
                  <a:solidFill>
                    <a:srgbClr val="052E58"/>
                  </a:solidFill>
                  <a:latin typeface="Corbel" charset="0"/>
                  <a:ea typeface="Corbel" charset="0"/>
                  <a:cs typeface="Corbel" charset="0"/>
                </a:rPr>
                <a:t>Retail</a:t>
              </a:r>
            </a:p>
          </p:txBody>
        </p:sp>
      </p:grpSp>
      <p:sp>
        <p:nvSpPr>
          <p:cNvPr id="152" name="VERTICALS text"/>
          <p:cNvSpPr txBox="1">
            <a:spLocks noChangeAspect="1"/>
          </p:cNvSpPr>
          <p:nvPr/>
        </p:nvSpPr>
        <p:spPr>
          <a:xfrm>
            <a:off x="1169852" y="3492216"/>
            <a:ext cx="111773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marR="0" lvl="0" indent="0" algn="r" defTabSz="6095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FFFD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200" dirty="0">
                <a:solidFill>
                  <a:srgbClr val="FFC000"/>
                </a:solidFill>
                <a:latin typeface="Corbel" charset="0"/>
                <a:ea typeface="Corbel" charset="0"/>
                <a:cs typeface="Corbel" charset="0"/>
              </a:rPr>
              <a:t>VERTICALS</a:t>
            </a:r>
          </a:p>
        </p:txBody>
      </p:sp>
      <p:sp>
        <p:nvSpPr>
          <p:cNvPr id="153" name="SPECIALIZATION text"/>
          <p:cNvSpPr txBox="1">
            <a:spLocks/>
          </p:cNvSpPr>
          <p:nvPr/>
        </p:nvSpPr>
        <p:spPr>
          <a:xfrm>
            <a:off x="382589" y="4101786"/>
            <a:ext cx="19050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270930">
              <a:defRPr/>
            </a:pPr>
            <a:r>
              <a:rPr lang="en-US" sz="1200" b="1" dirty="0">
                <a:solidFill>
                  <a:srgbClr val="FFFFFF"/>
                </a:solidFill>
                <a:latin typeface="Corbel" charset="0"/>
                <a:ea typeface="Corbel" charset="0"/>
                <a:cs typeface="Corbel" charset="0"/>
              </a:rPr>
              <a:t>NEXT GENERATION</a:t>
            </a:r>
          </a:p>
        </p:txBody>
      </p:sp>
      <p:sp>
        <p:nvSpPr>
          <p:cNvPr id="154" name="2nd Light Blue Rect"/>
          <p:cNvSpPr>
            <a:spLocks/>
          </p:cNvSpPr>
          <p:nvPr/>
        </p:nvSpPr>
        <p:spPr>
          <a:xfrm>
            <a:off x="2349556" y="3970712"/>
            <a:ext cx="8356526" cy="489424"/>
          </a:xfrm>
          <a:prstGeom prst="rect">
            <a:avLst/>
          </a:prstGeom>
          <a:solidFill>
            <a:srgbClr val="00B1E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187" tIns="27093" rIns="54187" bIns="2709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70930">
              <a:defRPr/>
            </a:pPr>
            <a:endParaRPr lang="en-US" sz="1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55" name="SPECIALIZATION Text Group"/>
          <p:cNvGrpSpPr>
            <a:grpSpLocks noChangeAspect="1"/>
          </p:cNvGrpSpPr>
          <p:nvPr/>
        </p:nvGrpSpPr>
        <p:grpSpPr>
          <a:xfrm>
            <a:off x="2847811" y="4052930"/>
            <a:ext cx="7291980" cy="338554"/>
            <a:chOff x="637455" y="6221218"/>
            <a:chExt cx="9432656" cy="437942"/>
          </a:xfrm>
        </p:grpSpPr>
        <p:sp>
          <p:nvSpPr>
            <p:cNvPr id="156" name="Rectangle 155"/>
            <p:cNvSpPr/>
            <p:nvPr/>
          </p:nvSpPr>
          <p:spPr>
            <a:xfrm>
              <a:off x="637455" y="6221218"/>
              <a:ext cx="1690390" cy="43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600" b="1" dirty="0">
                  <a:solidFill>
                    <a:srgbClr val="005073"/>
                  </a:solidFill>
                  <a:latin typeface="Corbel" charset="0"/>
                  <a:ea typeface="Corbel" charset="0"/>
                  <a:cs typeface="Corbel" charset="0"/>
                </a:rPr>
                <a:t>Hybrid cloud</a:t>
              </a: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4517418" y="6221218"/>
              <a:ext cx="2195269" cy="43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600" b="1" dirty="0">
                  <a:solidFill>
                    <a:srgbClr val="005073"/>
                  </a:solidFill>
                  <a:latin typeface="Corbel" charset="0"/>
                  <a:ea typeface="Corbel" charset="0"/>
                  <a:cs typeface="Corbel" charset="0"/>
                </a:rPr>
                <a:t>IoT          Analytics</a:t>
              </a:r>
            </a:p>
          </p:txBody>
        </p:sp>
        <p:sp>
          <p:nvSpPr>
            <p:cNvPr id="158" name="Rectangle 157"/>
            <p:cNvSpPr/>
            <p:nvPr/>
          </p:nvSpPr>
          <p:spPr>
            <a:xfrm>
              <a:off x="8881528" y="6221218"/>
              <a:ext cx="1188583" cy="43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600" b="1" dirty="0">
                  <a:solidFill>
                    <a:srgbClr val="005073"/>
                  </a:solidFill>
                  <a:latin typeface="Corbel" charset="0"/>
                  <a:ea typeface="Corbel" charset="0"/>
                  <a:cs typeface="Corbel" charset="0"/>
                </a:rPr>
                <a:t>Security</a:t>
              </a:r>
            </a:p>
          </p:txBody>
        </p:sp>
        <p:sp>
          <p:nvSpPr>
            <p:cNvPr id="159" name="Rectangle 158"/>
            <p:cNvSpPr/>
            <p:nvPr/>
          </p:nvSpPr>
          <p:spPr>
            <a:xfrm>
              <a:off x="2844657" y="6221218"/>
              <a:ext cx="1190656" cy="43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600" b="1" dirty="0">
                  <a:solidFill>
                    <a:srgbClr val="005073"/>
                  </a:solidFill>
                  <a:latin typeface="Corbel" charset="0"/>
                  <a:ea typeface="Corbel" charset="0"/>
                  <a:cs typeface="Corbel" charset="0"/>
                </a:rPr>
                <a:t>Mobility</a:t>
              </a: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7274625" y="6221218"/>
              <a:ext cx="958413" cy="4379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270930">
                <a:defRPr/>
              </a:pPr>
              <a:r>
                <a:rPr lang="en-US" sz="1600" b="1" dirty="0">
                  <a:solidFill>
                    <a:srgbClr val="005073"/>
                  </a:solidFill>
                  <a:latin typeface="Corbel" charset="0"/>
                  <a:ea typeface="Corbel" charset="0"/>
                  <a:cs typeface="Corbel" charset="0"/>
                </a:rPr>
                <a:t>CI/HCI</a:t>
              </a:r>
            </a:p>
          </p:txBody>
        </p:sp>
      </p:grpSp>
      <p:grpSp>
        <p:nvGrpSpPr>
          <p:cNvPr id="161" name="End to End Portfolio"/>
          <p:cNvGrpSpPr>
            <a:grpSpLocks noChangeAspect="1"/>
          </p:cNvGrpSpPr>
          <p:nvPr/>
        </p:nvGrpSpPr>
        <p:grpSpPr>
          <a:xfrm>
            <a:off x="2668588" y="4904986"/>
            <a:ext cx="7898508" cy="852598"/>
            <a:chOff x="5800607" y="5740779"/>
            <a:chExt cx="12283632" cy="1325946"/>
          </a:xfrm>
        </p:grpSpPr>
        <p:pic>
          <p:nvPicPr>
            <p:cNvPr id="162" name="Picture 1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170" t="12554" r="31488" b="33844"/>
            <a:stretch/>
          </p:blipFill>
          <p:spPr>
            <a:xfrm>
              <a:off x="15563395" y="5778887"/>
              <a:ext cx="982133" cy="792479"/>
            </a:xfrm>
            <a:prstGeom prst="rect">
              <a:avLst/>
            </a:prstGeom>
          </p:spPr>
        </p:pic>
        <p:pic>
          <p:nvPicPr>
            <p:cNvPr id="163" name="Picture 16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706" t="11407" r="24241" b="37539"/>
            <a:stretch/>
          </p:blipFill>
          <p:spPr>
            <a:xfrm>
              <a:off x="8884045" y="5778887"/>
              <a:ext cx="846667" cy="754794"/>
            </a:xfrm>
            <a:prstGeom prst="rect">
              <a:avLst/>
            </a:prstGeom>
          </p:spPr>
        </p:pic>
        <p:pic>
          <p:nvPicPr>
            <p:cNvPr id="164" name="Picture 16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796" t="13699" r="40829" b="36699"/>
            <a:stretch/>
          </p:blipFill>
          <p:spPr>
            <a:xfrm>
              <a:off x="11576896" y="5812754"/>
              <a:ext cx="880536" cy="733322"/>
            </a:xfrm>
            <a:prstGeom prst="rect">
              <a:avLst/>
            </a:prstGeom>
          </p:spPr>
        </p:pic>
        <p:pic>
          <p:nvPicPr>
            <p:cNvPr id="165" name="Picture 16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93" t="19426" r="88343" b="35555"/>
            <a:stretch/>
          </p:blipFill>
          <p:spPr>
            <a:xfrm>
              <a:off x="12724443" y="5880487"/>
              <a:ext cx="1016000" cy="665587"/>
            </a:xfrm>
            <a:prstGeom prst="rect">
              <a:avLst/>
            </a:prstGeom>
          </p:spPr>
        </p:pic>
        <p:pic>
          <p:nvPicPr>
            <p:cNvPr id="166" name="Picture 16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013" t="13699" r="75297" b="35555"/>
            <a:stretch/>
          </p:blipFill>
          <p:spPr>
            <a:xfrm>
              <a:off x="13866751" y="5795818"/>
              <a:ext cx="1439334" cy="750256"/>
            </a:xfrm>
            <a:prstGeom prst="rect">
              <a:avLst/>
            </a:prstGeom>
          </p:spPr>
        </p:pic>
        <p:grpSp>
          <p:nvGrpSpPr>
            <p:cNvPr id="167" name="Group 166"/>
            <p:cNvGrpSpPr/>
            <p:nvPr/>
          </p:nvGrpSpPr>
          <p:grpSpPr>
            <a:xfrm>
              <a:off x="9948282" y="5740779"/>
              <a:ext cx="1421671" cy="1325946"/>
              <a:chOff x="3352184" y="3349622"/>
              <a:chExt cx="1066253" cy="994460"/>
            </a:xfrm>
          </p:grpSpPr>
          <p:pic>
            <p:nvPicPr>
              <p:cNvPr id="178" name="Picture 17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3652" t="13700" r="8416" b="35045"/>
              <a:stretch/>
            </p:blipFill>
            <p:spPr>
              <a:xfrm>
                <a:off x="3441063" y="3349622"/>
                <a:ext cx="625475" cy="568325"/>
              </a:xfrm>
              <a:prstGeom prst="rect">
                <a:avLst/>
              </a:prstGeom>
            </p:spPr>
          </p:pic>
          <p:sp>
            <p:nvSpPr>
              <p:cNvPr id="179" name="TextBox 178"/>
              <p:cNvSpPr txBox="1"/>
              <p:nvPr/>
            </p:nvSpPr>
            <p:spPr>
              <a:xfrm>
                <a:off x="3352184" y="3945607"/>
                <a:ext cx="1066253" cy="3984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70930">
                  <a:lnSpc>
                    <a:spcPct val="90000"/>
                  </a:lnSpc>
                  <a:defRPr/>
                </a:pPr>
                <a:r>
                  <a:rPr lang="en-US" sz="900" b="1" i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CONSUMER ELECTRONICS</a:t>
                </a: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>
              <a:off x="11370342" y="5812747"/>
              <a:ext cx="6713897" cy="1253969"/>
              <a:chOff x="4418740" y="3403600"/>
              <a:chExt cx="5035433" cy="940477"/>
            </a:xfrm>
          </p:grpSpPr>
          <p:pic>
            <p:nvPicPr>
              <p:cNvPr id="172" name="Picture 171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5598" t="14845" r="15543" b="35554"/>
              <a:stretch/>
            </p:blipFill>
            <p:spPr>
              <a:xfrm>
                <a:off x="8586983" y="3403600"/>
                <a:ext cx="698501" cy="549991"/>
              </a:xfrm>
              <a:prstGeom prst="rect">
                <a:avLst/>
              </a:prstGeom>
            </p:spPr>
          </p:pic>
          <p:sp>
            <p:nvSpPr>
              <p:cNvPr id="173" name="TextBox 172"/>
              <p:cNvSpPr txBox="1"/>
              <p:nvPr/>
            </p:nvSpPr>
            <p:spPr>
              <a:xfrm>
                <a:off x="8418292" y="3945602"/>
                <a:ext cx="1035881" cy="3984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70930">
                  <a:lnSpc>
                    <a:spcPct val="90000"/>
                  </a:lnSpc>
                  <a:defRPr/>
                </a:pPr>
                <a:r>
                  <a:rPr lang="en-US" sz="900" b="1" i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ANALYTICS /</a:t>
                </a:r>
              </a:p>
              <a:p>
                <a:pPr algn="ctr" defTabSz="270930">
                  <a:lnSpc>
                    <a:spcPct val="90000"/>
                  </a:lnSpc>
                  <a:defRPr/>
                </a:pPr>
                <a:r>
                  <a:rPr lang="en-US" sz="900" b="1" i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IoT</a:t>
                </a:r>
              </a:p>
            </p:txBody>
          </p:sp>
          <p:sp>
            <p:nvSpPr>
              <p:cNvPr id="174" name="TextBox 173"/>
              <p:cNvSpPr txBox="1"/>
              <p:nvPr/>
            </p:nvSpPr>
            <p:spPr>
              <a:xfrm>
                <a:off x="7534260" y="3945602"/>
                <a:ext cx="795154" cy="2530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70930">
                  <a:lnSpc>
                    <a:spcPct val="90000"/>
                  </a:lnSpc>
                  <a:defRPr/>
                </a:pPr>
                <a:r>
                  <a:rPr lang="en-US" sz="900" b="1" i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SECURITY</a:t>
                </a:r>
              </a:p>
            </p:txBody>
          </p:sp>
          <p:sp>
            <p:nvSpPr>
              <p:cNvPr id="175" name="TextBox 174"/>
              <p:cNvSpPr txBox="1"/>
              <p:nvPr/>
            </p:nvSpPr>
            <p:spPr>
              <a:xfrm>
                <a:off x="6202172" y="3945602"/>
                <a:ext cx="1416210" cy="3984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70930">
                  <a:lnSpc>
                    <a:spcPct val="90000"/>
                  </a:lnSpc>
                  <a:defRPr/>
                </a:pPr>
                <a:r>
                  <a:rPr lang="en-US" sz="900" b="1" i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CONVERGED &amp;</a:t>
                </a:r>
              </a:p>
              <a:p>
                <a:pPr algn="ctr" defTabSz="270930">
                  <a:lnSpc>
                    <a:spcPct val="90000"/>
                  </a:lnSpc>
                  <a:defRPr/>
                </a:pPr>
                <a:r>
                  <a:rPr lang="en-US" sz="900" b="1" i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HYPER-CONVERGED</a:t>
                </a:r>
              </a:p>
            </p:txBody>
          </p:sp>
          <p:sp>
            <p:nvSpPr>
              <p:cNvPr id="176" name="TextBox 175"/>
              <p:cNvSpPr txBox="1"/>
              <p:nvPr/>
            </p:nvSpPr>
            <p:spPr>
              <a:xfrm>
                <a:off x="5450068" y="3945600"/>
                <a:ext cx="730500" cy="3984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70930">
                  <a:lnSpc>
                    <a:spcPct val="90000"/>
                  </a:lnSpc>
                  <a:defRPr/>
                </a:pPr>
                <a:r>
                  <a:rPr lang="en-US" sz="900" b="1" i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DATA CENTER</a:t>
                </a:r>
              </a:p>
            </p:txBody>
          </p:sp>
          <p:sp>
            <p:nvSpPr>
              <p:cNvPr id="177" name="TextBox 176"/>
              <p:cNvSpPr txBox="1"/>
              <p:nvPr/>
            </p:nvSpPr>
            <p:spPr>
              <a:xfrm>
                <a:off x="4418740" y="3945601"/>
                <a:ext cx="970234" cy="3984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270930">
                  <a:lnSpc>
                    <a:spcPct val="90000"/>
                  </a:lnSpc>
                  <a:defRPr/>
                </a:pPr>
                <a:r>
                  <a:rPr lang="en-US" sz="900" b="1" i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SOFTWARE</a:t>
                </a:r>
              </a:p>
              <a:p>
                <a:pPr algn="ctr" defTabSz="270930">
                  <a:lnSpc>
                    <a:spcPct val="90000"/>
                  </a:lnSpc>
                  <a:defRPr/>
                </a:pPr>
                <a:r>
                  <a:rPr lang="en-US" sz="900" b="1" i="1" dirty="0">
                    <a:solidFill>
                      <a:prstClr val="white"/>
                    </a:solidFill>
                    <a:latin typeface="Corbel" charset="0"/>
                    <a:ea typeface="Corbel" charset="0"/>
                    <a:cs typeface="Corbel" charset="0"/>
                  </a:rPr>
                  <a:t>&amp; CLOUD</a:t>
                </a:r>
              </a:p>
            </p:txBody>
          </p:sp>
        </p:grpSp>
        <p:pic>
          <p:nvPicPr>
            <p:cNvPr id="169" name="Picture 16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219" t="11406" r="49044" b="34991"/>
            <a:stretch/>
          </p:blipFill>
          <p:spPr>
            <a:xfrm>
              <a:off x="5800607" y="5778887"/>
              <a:ext cx="2810933" cy="792479"/>
            </a:xfrm>
            <a:prstGeom prst="rect">
              <a:avLst/>
            </a:prstGeom>
          </p:spPr>
        </p:pic>
        <p:sp>
          <p:nvSpPr>
            <p:cNvPr id="170" name="TextBox 169"/>
            <p:cNvSpPr txBox="1"/>
            <p:nvPr/>
          </p:nvSpPr>
          <p:spPr>
            <a:xfrm>
              <a:off x="6029448" y="6535419"/>
              <a:ext cx="2496775" cy="3589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70930">
                <a:defRPr/>
              </a:pPr>
              <a:r>
                <a:rPr lang="en-US" sz="900" b="1" i="1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ENDPOINT DEVICES</a:t>
              </a: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8763232" y="6535419"/>
              <a:ext cx="1088294" cy="3589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270930">
                <a:defRPr/>
              </a:pPr>
              <a:r>
                <a:rPr lang="en-US" sz="900" b="1" i="1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MOBI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023958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10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1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5" dur="10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6" dur="10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7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6" presetClass="entr" presetSubtype="37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8" dur="1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00"/>
                            </p:stCondLst>
                            <p:childTnLst>
                              <p:par>
                                <p:cTn id="6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6" presetClass="entr" presetSubtype="37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66" dur="1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00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4" grpId="0" animBg="1"/>
      <p:bldP spid="105" grpId="0" animBg="1"/>
      <p:bldP spid="106" grpId="0"/>
      <p:bldP spid="107" grpId="0"/>
      <p:bldP spid="108" grpId="0"/>
      <p:bldP spid="109" grpId="0"/>
      <p:bldP spid="115" grpId="0"/>
      <p:bldP spid="116" grpId="0"/>
      <p:bldP spid="145" grpId="0" animBg="1"/>
      <p:bldP spid="152" grpId="0"/>
      <p:bldP spid="153" grpId="0"/>
      <p:bldP spid="15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9" y="-11804"/>
            <a:ext cx="12217835" cy="6874497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2938556" y="1981577"/>
            <a:ext cx="7694196" cy="4646990"/>
            <a:chOff x="2937732" y="1981200"/>
            <a:chExt cx="7696200" cy="4648200"/>
          </a:xfrm>
        </p:grpSpPr>
        <p:sp>
          <p:nvSpPr>
            <p:cNvPr id="12" name="Text Placeholder 2"/>
            <p:cNvSpPr txBox="1">
              <a:spLocks/>
            </p:cNvSpPr>
            <p:nvPr/>
          </p:nvSpPr>
          <p:spPr>
            <a:xfrm>
              <a:off x="2937732" y="1981200"/>
              <a:ext cx="7696200" cy="4648200"/>
            </a:xfrm>
            <a:prstGeom prst="rect">
              <a:avLst/>
            </a:prstGeom>
          </p:spPr>
          <p:txBody>
            <a:bodyPr lIns="0" tIns="91416">
              <a:normAutofit/>
            </a:bodyPr>
            <a:lstStyle>
              <a:lvl1pPr marL="227013" indent="-227013" algn="l" defTabSz="1217978" rtl="0" eaLnBrk="0" fontAlgn="base" hangingPunct="0">
                <a:spcBef>
                  <a:spcPts val="0"/>
                </a:spcBef>
                <a:spcAft>
                  <a:spcPts val="1200"/>
                </a:spcAft>
                <a:buClr>
                  <a:schemeClr val="bg2"/>
                </a:buClr>
                <a:buFont typeface="Webdings" panose="05030102010509060703" pitchFamily="18" charset="2"/>
                <a:buChar char=""/>
                <a:defRPr sz="2801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458926" indent="-231845" algn="l" defTabSz="1217978" rtl="0" eaLnBrk="0" fontAlgn="base" hangingPunct="0">
                <a:spcBef>
                  <a:spcPts val="0"/>
                </a:spcBef>
                <a:spcAft>
                  <a:spcPts val="1200"/>
                </a:spcAft>
                <a:buFont typeface="Arial" charset="0"/>
                <a:buChar char="–"/>
                <a:defRPr sz="2401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913087" indent="-225493" algn="l" defTabSz="1217978" rtl="0" eaLnBrk="0" fontAlgn="base" hangingPunct="0">
                <a:spcBef>
                  <a:spcPts val="0"/>
                </a:spcBef>
                <a:spcAft>
                  <a:spcPts val="1200"/>
                </a:spcAft>
                <a:buFont typeface="Arial" charset="0"/>
                <a:buChar char="•"/>
                <a:defRPr sz="1801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1256090" indent="-227081" algn="l" defTabSz="1217978" rtl="0" eaLnBrk="0" fontAlgn="base" hangingPunct="0">
                <a:spcBef>
                  <a:spcPts val="0"/>
                </a:spcBef>
                <a:spcAft>
                  <a:spcPts val="1200"/>
                </a:spcAft>
                <a:buFont typeface="Arial" charset="0"/>
                <a:buChar char="–"/>
                <a:defRPr sz="16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1600680" indent="-225493" algn="l" defTabSz="1217978" rtl="0" eaLnBrk="0" fontAlgn="base" hangingPunct="0">
                <a:spcBef>
                  <a:spcPts val="0"/>
                </a:spcBef>
                <a:spcAft>
                  <a:spcPts val="1200"/>
                </a:spcAft>
                <a:buFont typeface="Arial" charset="0"/>
                <a:buChar char="»"/>
                <a:defRPr sz="16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3353219" indent="-304838" algn="l" defTabSz="12193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2896" indent="-304838" algn="l" defTabSz="12193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2571" indent="-304838" algn="l" defTabSz="12193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2247" indent="-304838" algn="l" defTabSz="1219353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70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defTabSz="914149" eaLnBrk="1" hangingPunct="1">
                <a:spcBef>
                  <a:spcPct val="0"/>
                </a:spcBef>
                <a:spcAft>
                  <a:spcPct val="0"/>
                </a:spcAft>
                <a:buClrTx/>
                <a:buNone/>
                <a:defRPr/>
              </a:pPr>
              <a:r>
                <a:rPr lang="en-US" sz="6598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Connecting </a:t>
              </a:r>
              <a:br>
                <a:rPr lang="en-US" sz="6598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</a:br>
              <a:r>
                <a:rPr lang="en-US" sz="6598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the World </a:t>
              </a:r>
              <a:br>
                <a:rPr lang="en-US" sz="6598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</a:br>
              <a:r>
                <a:rPr lang="en-US" sz="6598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with the Power </a:t>
              </a:r>
              <a:br>
                <a:rPr lang="en-US" sz="6598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</a:br>
              <a:r>
                <a:rPr lang="en-US" sz="6598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of Technology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8400375" y="5194300"/>
              <a:ext cx="532657" cy="52322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1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799" baseline="30000">
                  <a:solidFill>
                    <a:prstClr val="white"/>
                  </a:solidFill>
                  <a:latin typeface="Work Sans Regular" charset="0"/>
                  <a:cs typeface="Arial" charset="0"/>
                </a:rPr>
                <a:t>TM</a:t>
              </a:r>
              <a:endParaRPr lang="en-US" sz="2799">
                <a:solidFill>
                  <a:prstClr val="black"/>
                </a:solidFill>
                <a:latin typeface="Work Sans Regular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7849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10000">
        <p:fade/>
      </p:transition>
    </mc:Choice>
    <mc:Fallback xmlns="">
      <p:transition spd="med" advClick="0" advTm="1000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56524" y="299848"/>
            <a:ext cx="3213847" cy="5216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93">
              <a:defRPr/>
            </a:pPr>
            <a:r>
              <a:rPr lang="en-US" sz="33300" dirty="0">
                <a:solidFill>
                  <a:srgbClr val="FFFFFF"/>
                </a:solidFill>
                <a:latin typeface="Corbel" charset="0"/>
                <a:ea typeface="Corbel" charset="0"/>
                <a:cs typeface="Corbel" charset="0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5124" y="1801907"/>
            <a:ext cx="11124420" cy="3472706"/>
          </a:xfrm>
        </p:spPr>
        <p:txBody>
          <a:bodyPr/>
          <a:lstStyle/>
          <a:p>
            <a:pPr algn="ctr">
              <a:lnSpc>
                <a:spcPct val="125000"/>
              </a:lnSpc>
            </a:pPr>
            <a:r>
              <a:rPr lang="en-US" sz="4400" i="1" dirty="0"/>
              <a:t>The greatest danger in times of turbulence is not the turbulence, it is to act with yesterdays logic</a:t>
            </a:r>
            <a:r>
              <a:rPr lang="en-US" sz="4400" dirty="0"/>
              <a:t>”</a:t>
            </a:r>
            <a:br>
              <a:rPr lang="en-US" b="0" dirty="0"/>
            </a:br>
            <a:r>
              <a:rPr lang="en-US" b="0" dirty="0"/>
              <a:t>								</a:t>
            </a:r>
            <a:r>
              <a:rPr lang="en-US" sz="3200" dirty="0">
                <a:solidFill>
                  <a:schemeClr val="bg2"/>
                </a:solidFill>
              </a:rPr>
              <a:t>- Peter Drucker </a:t>
            </a:r>
          </a:p>
        </p:txBody>
      </p:sp>
    </p:spTree>
    <p:extLst>
      <p:ext uri="{BB962C8B-B14F-4D97-AF65-F5344CB8AC3E}">
        <p14:creationId xmlns:p14="http://schemas.microsoft.com/office/powerpoint/2010/main" val="40448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chnology Is Evolving Faster Than Ever Before</a:t>
            </a:r>
            <a:endParaRPr lang="en-US" dirty="0"/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1374716" y="1816332"/>
            <a:ext cx="0" cy="3821370"/>
          </a:xfrm>
          <a:prstGeom prst="line">
            <a:avLst/>
          </a:prstGeom>
          <a:noFill/>
          <a:ln w="6350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 flipH="1">
            <a:off x="1374717" y="5639458"/>
            <a:ext cx="9661647" cy="0"/>
          </a:xfrm>
          <a:prstGeom prst="line">
            <a:avLst/>
          </a:prstGeom>
          <a:noFill/>
          <a:ln w="6350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1512862" y="5838177"/>
            <a:ext cx="514564" cy="266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71">
              <a:defRPr/>
            </a:pPr>
            <a:r>
              <a:rPr lang="en-US" altLang="en-US" sz="1733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1970s</a:t>
            </a:r>
            <a:endParaRPr lang="en-US" altLang="en-US" sz="3199" dirty="0">
              <a:solidFill>
                <a:prstClr val="white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7778144" y="1651070"/>
            <a:ext cx="98411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71">
              <a:defRPr/>
            </a:pPr>
            <a:r>
              <a:rPr lang="en-US" altLang="en-US" sz="1600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Technology</a:t>
            </a:r>
            <a:endParaRPr lang="en-US" altLang="en-US" sz="3199" dirty="0">
              <a:solidFill>
                <a:prstClr val="white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9390741" y="2145821"/>
            <a:ext cx="90890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71">
              <a:defRPr/>
            </a:pPr>
            <a:r>
              <a:rPr lang="en-US" altLang="en-US" sz="16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Individuals</a:t>
            </a:r>
            <a:endParaRPr lang="en-US" altLang="en-US" sz="3199">
              <a:solidFill>
                <a:prstClr val="white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10195410" y="2904989"/>
            <a:ext cx="92333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71">
              <a:defRPr/>
            </a:pPr>
            <a:r>
              <a:rPr lang="en-US" altLang="en-US" sz="16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Businesses</a:t>
            </a:r>
            <a:endParaRPr lang="en-US" altLang="en-US" sz="3199">
              <a:solidFill>
                <a:prstClr val="white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15" name="Rectangle 16"/>
          <p:cNvSpPr>
            <a:spLocks noChangeArrowheads="1"/>
          </p:cNvSpPr>
          <p:nvPr/>
        </p:nvSpPr>
        <p:spPr bwMode="auto">
          <a:xfrm>
            <a:off x="10195411" y="4151488"/>
            <a:ext cx="106195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71">
              <a:defRPr/>
            </a:pPr>
            <a:r>
              <a:rPr lang="en-US" altLang="en-US" sz="16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Public Policy</a:t>
            </a:r>
            <a:endParaRPr lang="en-US" altLang="en-US" sz="3199">
              <a:solidFill>
                <a:prstClr val="white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29" name="Rectangle 29"/>
          <p:cNvSpPr>
            <a:spLocks noChangeArrowheads="1"/>
          </p:cNvSpPr>
          <p:nvPr/>
        </p:nvSpPr>
        <p:spPr bwMode="auto">
          <a:xfrm>
            <a:off x="3270119" y="5838177"/>
            <a:ext cx="533800" cy="266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71">
              <a:defRPr/>
            </a:pPr>
            <a:r>
              <a:rPr lang="en-US" altLang="en-US" sz="1733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1980s</a:t>
            </a:r>
            <a:endParaRPr lang="en-US" altLang="en-US" sz="3199">
              <a:solidFill>
                <a:prstClr val="white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30" name="Rectangle 30"/>
          <p:cNvSpPr>
            <a:spLocks noChangeArrowheads="1"/>
          </p:cNvSpPr>
          <p:nvPr/>
        </p:nvSpPr>
        <p:spPr bwMode="auto">
          <a:xfrm>
            <a:off x="5027376" y="5838177"/>
            <a:ext cx="537006" cy="266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71">
              <a:defRPr/>
            </a:pPr>
            <a:r>
              <a:rPr lang="en-US" altLang="en-US" sz="1733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1990s</a:t>
            </a:r>
            <a:endParaRPr lang="en-US" altLang="en-US" sz="3199">
              <a:solidFill>
                <a:prstClr val="white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31" name="Rectangle 31"/>
          <p:cNvSpPr>
            <a:spLocks noChangeArrowheads="1"/>
          </p:cNvSpPr>
          <p:nvPr/>
        </p:nvSpPr>
        <p:spPr bwMode="auto">
          <a:xfrm>
            <a:off x="6784634" y="5838177"/>
            <a:ext cx="542393" cy="266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71">
              <a:defRPr/>
            </a:pPr>
            <a:r>
              <a:rPr lang="en-US" altLang="en-US" sz="1733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2000s</a:t>
            </a:r>
            <a:endParaRPr lang="en-US" altLang="en-US" sz="3199">
              <a:solidFill>
                <a:prstClr val="white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32" name="Rectangle 32"/>
          <p:cNvSpPr>
            <a:spLocks noChangeArrowheads="1"/>
          </p:cNvSpPr>
          <p:nvPr/>
        </p:nvSpPr>
        <p:spPr bwMode="auto">
          <a:xfrm>
            <a:off x="8541891" y="5838177"/>
            <a:ext cx="539187" cy="266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71">
              <a:defRPr/>
            </a:pPr>
            <a:r>
              <a:rPr lang="en-US" altLang="en-US" sz="1733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2010s</a:t>
            </a:r>
            <a:endParaRPr lang="en-US" altLang="en-US" sz="3199">
              <a:solidFill>
                <a:prstClr val="white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33" name="Rectangle 34"/>
          <p:cNvSpPr>
            <a:spLocks noChangeArrowheads="1"/>
          </p:cNvSpPr>
          <p:nvPr/>
        </p:nvSpPr>
        <p:spPr bwMode="auto">
          <a:xfrm>
            <a:off x="10299144" y="5838177"/>
            <a:ext cx="561500" cy="266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171">
              <a:defRPr/>
            </a:pPr>
            <a:r>
              <a:rPr lang="en-US" altLang="en-US" sz="1733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Today</a:t>
            </a:r>
            <a:endParaRPr lang="en-US" altLang="en-US" sz="3199">
              <a:solidFill>
                <a:prstClr val="white"/>
              </a:solidFill>
              <a:latin typeface="Corbel" charset="0"/>
              <a:ea typeface="Corbel" charset="0"/>
              <a:cs typeface="Corbel" charset="0"/>
            </a:endParaRPr>
          </a:p>
        </p:txBody>
      </p:sp>
      <p:sp>
        <p:nvSpPr>
          <p:cNvPr id="34" name="Freeform 294"/>
          <p:cNvSpPr>
            <a:spLocks noChangeAspect="1"/>
          </p:cNvSpPr>
          <p:nvPr/>
        </p:nvSpPr>
        <p:spPr bwMode="auto">
          <a:xfrm>
            <a:off x="7426869" y="1715220"/>
            <a:ext cx="243777" cy="243777"/>
          </a:xfrm>
          <a:custGeom>
            <a:avLst/>
            <a:gdLst>
              <a:gd name="T0" fmla="*/ 161 w 161"/>
              <a:gd name="T1" fmla="*/ 81 h 163"/>
              <a:gd name="T2" fmla="*/ 161 w 161"/>
              <a:gd name="T3" fmla="*/ 81 h 163"/>
              <a:gd name="T4" fmla="*/ 161 w 161"/>
              <a:gd name="T5" fmla="*/ 97 h 163"/>
              <a:gd name="T6" fmla="*/ 155 w 161"/>
              <a:gd name="T7" fmla="*/ 114 h 163"/>
              <a:gd name="T8" fmla="*/ 148 w 161"/>
              <a:gd name="T9" fmla="*/ 126 h 163"/>
              <a:gd name="T10" fmla="*/ 137 w 161"/>
              <a:gd name="T11" fmla="*/ 139 h 163"/>
              <a:gd name="T12" fmla="*/ 126 w 161"/>
              <a:gd name="T13" fmla="*/ 150 h 163"/>
              <a:gd name="T14" fmla="*/ 112 w 161"/>
              <a:gd name="T15" fmla="*/ 157 h 163"/>
              <a:gd name="T16" fmla="*/ 97 w 161"/>
              <a:gd name="T17" fmla="*/ 161 h 163"/>
              <a:gd name="T18" fmla="*/ 81 w 161"/>
              <a:gd name="T19" fmla="*/ 163 h 163"/>
              <a:gd name="T20" fmla="*/ 81 w 161"/>
              <a:gd name="T21" fmla="*/ 163 h 163"/>
              <a:gd name="T22" fmla="*/ 65 w 161"/>
              <a:gd name="T23" fmla="*/ 161 h 163"/>
              <a:gd name="T24" fmla="*/ 49 w 161"/>
              <a:gd name="T25" fmla="*/ 157 h 163"/>
              <a:gd name="T26" fmla="*/ 36 w 161"/>
              <a:gd name="T27" fmla="*/ 150 h 163"/>
              <a:gd name="T28" fmla="*/ 23 w 161"/>
              <a:gd name="T29" fmla="*/ 139 h 163"/>
              <a:gd name="T30" fmla="*/ 12 w 161"/>
              <a:gd name="T31" fmla="*/ 126 h 163"/>
              <a:gd name="T32" fmla="*/ 5 w 161"/>
              <a:gd name="T33" fmla="*/ 114 h 163"/>
              <a:gd name="T34" fmla="*/ 1 w 161"/>
              <a:gd name="T35" fmla="*/ 97 h 163"/>
              <a:gd name="T36" fmla="*/ 0 w 161"/>
              <a:gd name="T37" fmla="*/ 81 h 163"/>
              <a:gd name="T38" fmla="*/ 0 w 161"/>
              <a:gd name="T39" fmla="*/ 81 h 163"/>
              <a:gd name="T40" fmla="*/ 1 w 161"/>
              <a:gd name="T41" fmla="*/ 65 h 163"/>
              <a:gd name="T42" fmla="*/ 5 w 161"/>
              <a:gd name="T43" fmla="*/ 50 h 163"/>
              <a:gd name="T44" fmla="*/ 12 w 161"/>
              <a:gd name="T45" fmla="*/ 36 h 163"/>
              <a:gd name="T46" fmla="*/ 23 w 161"/>
              <a:gd name="T47" fmla="*/ 25 h 163"/>
              <a:gd name="T48" fmla="*/ 36 w 161"/>
              <a:gd name="T49" fmla="*/ 14 h 163"/>
              <a:gd name="T50" fmla="*/ 49 w 161"/>
              <a:gd name="T51" fmla="*/ 7 h 163"/>
              <a:gd name="T52" fmla="*/ 65 w 161"/>
              <a:gd name="T53" fmla="*/ 1 h 163"/>
              <a:gd name="T54" fmla="*/ 81 w 161"/>
              <a:gd name="T55" fmla="*/ 0 h 163"/>
              <a:gd name="T56" fmla="*/ 81 w 161"/>
              <a:gd name="T57" fmla="*/ 0 h 163"/>
              <a:gd name="T58" fmla="*/ 97 w 161"/>
              <a:gd name="T59" fmla="*/ 1 h 163"/>
              <a:gd name="T60" fmla="*/ 112 w 161"/>
              <a:gd name="T61" fmla="*/ 7 h 163"/>
              <a:gd name="T62" fmla="*/ 126 w 161"/>
              <a:gd name="T63" fmla="*/ 14 h 163"/>
              <a:gd name="T64" fmla="*/ 137 w 161"/>
              <a:gd name="T65" fmla="*/ 25 h 163"/>
              <a:gd name="T66" fmla="*/ 148 w 161"/>
              <a:gd name="T67" fmla="*/ 36 h 163"/>
              <a:gd name="T68" fmla="*/ 155 w 161"/>
              <a:gd name="T69" fmla="*/ 50 h 163"/>
              <a:gd name="T70" fmla="*/ 161 w 161"/>
              <a:gd name="T71" fmla="*/ 65 h 163"/>
              <a:gd name="T72" fmla="*/ 161 w 161"/>
              <a:gd name="T73" fmla="*/ 81 h 163"/>
              <a:gd name="T74" fmla="*/ 161 w 161"/>
              <a:gd name="T75" fmla="*/ 81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1" h="163">
                <a:moveTo>
                  <a:pt x="161" y="81"/>
                </a:moveTo>
                <a:lnTo>
                  <a:pt x="161" y="81"/>
                </a:lnTo>
                <a:lnTo>
                  <a:pt x="161" y="97"/>
                </a:lnTo>
                <a:lnTo>
                  <a:pt x="155" y="114"/>
                </a:lnTo>
                <a:lnTo>
                  <a:pt x="148" y="126"/>
                </a:lnTo>
                <a:lnTo>
                  <a:pt x="137" y="139"/>
                </a:lnTo>
                <a:lnTo>
                  <a:pt x="126" y="150"/>
                </a:lnTo>
                <a:lnTo>
                  <a:pt x="112" y="157"/>
                </a:lnTo>
                <a:lnTo>
                  <a:pt x="97" y="161"/>
                </a:lnTo>
                <a:lnTo>
                  <a:pt x="81" y="163"/>
                </a:lnTo>
                <a:lnTo>
                  <a:pt x="81" y="163"/>
                </a:lnTo>
                <a:lnTo>
                  <a:pt x="65" y="161"/>
                </a:lnTo>
                <a:lnTo>
                  <a:pt x="49" y="157"/>
                </a:lnTo>
                <a:lnTo>
                  <a:pt x="36" y="150"/>
                </a:lnTo>
                <a:lnTo>
                  <a:pt x="23" y="139"/>
                </a:lnTo>
                <a:lnTo>
                  <a:pt x="12" y="126"/>
                </a:lnTo>
                <a:lnTo>
                  <a:pt x="5" y="114"/>
                </a:lnTo>
                <a:lnTo>
                  <a:pt x="1" y="97"/>
                </a:lnTo>
                <a:lnTo>
                  <a:pt x="0" y="81"/>
                </a:lnTo>
                <a:lnTo>
                  <a:pt x="0" y="81"/>
                </a:lnTo>
                <a:lnTo>
                  <a:pt x="1" y="65"/>
                </a:lnTo>
                <a:lnTo>
                  <a:pt x="5" y="50"/>
                </a:lnTo>
                <a:lnTo>
                  <a:pt x="12" y="36"/>
                </a:lnTo>
                <a:lnTo>
                  <a:pt x="23" y="25"/>
                </a:lnTo>
                <a:lnTo>
                  <a:pt x="36" y="14"/>
                </a:lnTo>
                <a:lnTo>
                  <a:pt x="49" y="7"/>
                </a:lnTo>
                <a:lnTo>
                  <a:pt x="65" y="1"/>
                </a:lnTo>
                <a:lnTo>
                  <a:pt x="81" y="0"/>
                </a:lnTo>
                <a:lnTo>
                  <a:pt x="81" y="0"/>
                </a:lnTo>
                <a:lnTo>
                  <a:pt x="97" y="1"/>
                </a:lnTo>
                <a:lnTo>
                  <a:pt x="112" y="7"/>
                </a:lnTo>
                <a:lnTo>
                  <a:pt x="126" y="14"/>
                </a:lnTo>
                <a:lnTo>
                  <a:pt x="137" y="25"/>
                </a:lnTo>
                <a:lnTo>
                  <a:pt x="148" y="36"/>
                </a:lnTo>
                <a:lnTo>
                  <a:pt x="155" y="50"/>
                </a:lnTo>
                <a:lnTo>
                  <a:pt x="161" y="65"/>
                </a:lnTo>
                <a:lnTo>
                  <a:pt x="161" y="81"/>
                </a:lnTo>
                <a:lnTo>
                  <a:pt x="161" y="81"/>
                </a:lnTo>
                <a:close/>
              </a:path>
            </a:pathLst>
          </a:custGeom>
          <a:solidFill>
            <a:schemeClr val="accent4"/>
          </a:solidFill>
          <a:ln w="38100">
            <a:solidFill>
              <a:schemeClr val="accent3">
                <a:lumMod val="40000"/>
                <a:lumOff val="6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35" name="Freeform 295"/>
          <p:cNvSpPr>
            <a:spLocks noChangeAspect="1"/>
          </p:cNvSpPr>
          <p:nvPr/>
        </p:nvSpPr>
        <p:spPr bwMode="auto">
          <a:xfrm>
            <a:off x="9119845" y="2418559"/>
            <a:ext cx="243777" cy="243777"/>
          </a:xfrm>
          <a:custGeom>
            <a:avLst/>
            <a:gdLst>
              <a:gd name="T0" fmla="*/ 161 w 161"/>
              <a:gd name="T1" fmla="*/ 82 h 162"/>
              <a:gd name="T2" fmla="*/ 161 w 161"/>
              <a:gd name="T3" fmla="*/ 82 h 162"/>
              <a:gd name="T4" fmla="*/ 159 w 161"/>
              <a:gd name="T5" fmla="*/ 98 h 162"/>
              <a:gd name="T6" fmla="*/ 156 w 161"/>
              <a:gd name="T7" fmla="*/ 113 h 162"/>
              <a:gd name="T8" fmla="*/ 148 w 161"/>
              <a:gd name="T9" fmla="*/ 127 h 162"/>
              <a:gd name="T10" fmla="*/ 137 w 161"/>
              <a:gd name="T11" fmla="*/ 138 h 162"/>
              <a:gd name="T12" fmla="*/ 127 w 161"/>
              <a:gd name="T13" fmla="*/ 149 h 162"/>
              <a:gd name="T14" fmla="*/ 112 w 161"/>
              <a:gd name="T15" fmla="*/ 156 h 162"/>
              <a:gd name="T16" fmla="*/ 98 w 161"/>
              <a:gd name="T17" fmla="*/ 162 h 162"/>
              <a:gd name="T18" fmla="*/ 81 w 161"/>
              <a:gd name="T19" fmla="*/ 162 h 162"/>
              <a:gd name="T20" fmla="*/ 81 w 161"/>
              <a:gd name="T21" fmla="*/ 162 h 162"/>
              <a:gd name="T22" fmla="*/ 63 w 161"/>
              <a:gd name="T23" fmla="*/ 162 h 162"/>
              <a:gd name="T24" fmla="*/ 49 w 161"/>
              <a:gd name="T25" fmla="*/ 156 h 162"/>
              <a:gd name="T26" fmla="*/ 34 w 161"/>
              <a:gd name="T27" fmla="*/ 149 h 162"/>
              <a:gd name="T28" fmla="*/ 23 w 161"/>
              <a:gd name="T29" fmla="*/ 138 h 162"/>
              <a:gd name="T30" fmla="*/ 12 w 161"/>
              <a:gd name="T31" fmla="*/ 127 h 162"/>
              <a:gd name="T32" fmla="*/ 5 w 161"/>
              <a:gd name="T33" fmla="*/ 113 h 162"/>
              <a:gd name="T34" fmla="*/ 2 w 161"/>
              <a:gd name="T35" fmla="*/ 98 h 162"/>
              <a:gd name="T36" fmla="*/ 0 w 161"/>
              <a:gd name="T37" fmla="*/ 82 h 162"/>
              <a:gd name="T38" fmla="*/ 0 w 161"/>
              <a:gd name="T39" fmla="*/ 82 h 162"/>
              <a:gd name="T40" fmla="*/ 2 w 161"/>
              <a:gd name="T41" fmla="*/ 66 h 162"/>
              <a:gd name="T42" fmla="*/ 5 w 161"/>
              <a:gd name="T43" fmla="*/ 49 h 162"/>
              <a:gd name="T44" fmla="*/ 12 w 161"/>
              <a:gd name="T45" fmla="*/ 37 h 162"/>
              <a:gd name="T46" fmla="*/ 23 w 161"/>
              <a:gd name="T47" fmla="*/ 24 h 162"/>
              <a:gd name="T48" fmla="*/ 34 w 161"/>
              <a:gd name="T49" fmla="*/ 13 h 162"/>
              <a:gd name="T50" fmla="*/ 49 w 161"/>
              <a:gd name="T51" fmla="*/ 6 h 162"/>
              <a:gd name="T52" fmla="*/ 63 w 161"/>
              <a:gd name="T53" fmla="*/ 2 h 162"/>
              <a:gd name="T54" fmla="*/ 81 w 161"/>
              <a:gd name="T55" fmla="*/ 0 h 162"/>
              <a:gd name="T56" fmla="*/ 81 w 161"/>
              <a:gd name="T57" fmla="*/ 0 h 162"/>
              <a:gd name="T58" fmla="*/ 98 w 161"/>
              <a:gd name="T59" fmla="*/ 2 h 162"/>
              <a:gd name="T60" fmla="*/ 112 w 161"/>
              <a:gd name="T61" fmla="*/ 6 h 162"/>
              <a:gd name="T62" fmla="*/ 127 w 161"/>
              <a:gd name="T63" fmla="*/ 13 h 162"/>
              <a:gd name="T64" fmla="*/ 137 w 161"/>
              <a:gd name="T65" fmla="*/ 24 h 162"/>
              <a:gd name="T66" fmla="*/ 148 w 161"/>
              <a:gd name="T67" fmla="*/ 37 h 162"/>
              <a:gd name="T68" fmla="*/ 156 w 161"/>
              <a:gd name="T69" fmla="*/ 49 h 162"/>
              <a:gd name="T70" fmla="*/ 159 w 161"/>
              <a:gd name="T71" fmla="*/ 66 h 162"/>
              <a:gd name="T72" fmla="*/ 161 w 161"/>
              <a:gd name="T73" fmla="*/ 82 h 162"/>
              <a:gd name="T74" fmla="*/ 161 w 161"/>
              <a:gd name="T75" fmla="*/ 8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1" h="162">
                <a:moveTo>
                  <a:pt x="161" y="82"/>
                </a:moveTo>
                <a:lnTo>
                  <a:pt x="161" y="82"/>
                </a:lnTo>
                <a:lnTo>
                  <a:pt x="159" y="98"/>
                </a:lnTo>
                <a:lnTo>
                  <a:pt x="156" y="113"/>
                </a:lnTo>
                <a:lnTo>
                  <a:pt x="148" y="127"/>
                </a:lnTo>
                <a:lnTo>
                  <a:pt x="137" y="138"/>
                </a:lnTo>
                <a:lnTo>
                  <a:pt x="127" y="149"/>
                </a:lnTo>
                <a:lnTo>
                  <a:pt x="112" y="156"/>
                </a:lnTo>
                <a:lnTo>
                  <a:pt x="98" y="162"/>
                </a:lnTo>
                <a:lnTo>
                  <a:pt x="81" y="162"/>
                </a:lnTo>
                <a:lnTo>
                  <a:pt x="81" y="162"/>
                </a:lnTo>
                <a:lnTo>
                  <a:pt x="63" y="162"/>
                </a:lnTo>
                <a:lnTo>
                  <a:pt x="49" y="156"/>
                </a:lnTo>
                <a:lnTo>
                  <a:pt x="34" y="149"/>
                </a:lnTo>
                <a:lnTo>
                  <a:pt x="23" y="138"/>
                </a:lnTo>
                <a:lnTo>
                  <a:pt x="12" y="127"/>
                </a:lnTo>
                <a:lnTo>
                  <a:pt x="5" y="113"/>
                </a:lnTo>
                <a:lnTo>
                  <a:pt x="2" y="98"/>
                </a:lnTo>
                <a:lnTo>
                  <a:pt x="0" y="82"/>
                </a:lnTo>
                <a:lnTo>
                  <a:pt x="0" y="82"/>
                </a:lnTo>
                <a:lnTo>
                  <a:pt x="2" y="66"/>
                </a:lnTo>
                <a:lnTo>
                  <a:pt x="5" y="49"/>
                </a:lnTo>
                <a:lnTo>
                  <a:pt x="12" y="37"/>
                </a:lnTo>
                <a:lnTo>
                  <a:pt x="23" y="24"/>
                </a:lnTo>
                <a:lnTo>
                  <a:pt x="34" y="13"/>
                </a:lnTo>
                <a:lnTo>
                  <a:pt x="49" y="6"/>
                </a:lnTo>
                <a:lnTo>
                  <a:pt x="63" y="2"/>
                </a:lnTo>
                <a:lnTo>
                  <a:pt x="81" y="0"/>
                </a:lnTo>
                <a:lnTo>
                  <a:pt x="81" y="0"/>
                </a:lnTo>
                <a:lnTo>
                  <a:pt x="98" y="2"/>
                </a:lnTo>
                <a:lnTo>
                  <a:pt x="112" y="6"/>
                </a:lnTo>
                <a:lnTo>
                  <a:pt x="127" y="13"/>
                </a:lnTo>
                <a:lnTo>
                  <a:pt x="137" y="24"/>
                </a:lnTo>
                <a:lnTo>
                  <a:pt x="148" y="37"/>
                </a:lnTo>
                <a:lnTo>
                  <a:pt x="156" y="49"/>
                </a:lnTo>
                <a:lnTo>
                  <a:pt x="159" y="66"/>
                </a:lnTo>
                <a:lnTo>
                  <a:pt x="161" y="82"/>
                </a:lnTo>
                <a:lnTo>
                  <a:pt x="161" y="82"/>
                </a:lnTo>
                <a:close/>
              </a:path>
            </a:pathLst>
          </a:custGeom>
          <a:solidFill>
            <a:schemeClr val="accent2"/>
          </a:solidFill>
          <a:ln w="38100">
            <a:solidFill>
              <a:schemeClr val="accent3">
                <a:lumMod val="40000"/>
                <a:lumOff val="6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36" name="Freeform 296"/>
          <p:cNvSpPr>
            <a:spLocks noChangeAspect="1"/>
          </p:cNvSpPr>
          <p:nvPr/>
        </p:nvSpPr>
        <p:spPr bwMode="auto">
          <a:xfrm>
            <a:off x="9999659" y="3207263"/>
            <a:ext cx="243777" cy="243777"/>
          </a:xfrm>
          <a:custGeom>
            <a:avLst/>
            <a:gdLst>
              <a:gd name="T0" fmla="*/ 163 w 163"/>
              <a:gd name="T1" fmla="*/ 82 h 163"/>
              <a:gd name="T2" fmla="*/ 163 w 163"/>
              <a:gd name="T3" fmla="*/ 82 h 163"/>
              <a:gd name="T4" fmla="*/ 161 w 163"/>
              <a:gd name="T5" fmla="*/ 98 h 163"/>
              <a:gd name="T6" fmla="*/ 156 w 163"/>
              <a:gd name="T7" fmla="*/ 113 h 163"/>
              <a:gd name="T8" fmla="*/ 149 w 163"/>
              <a:gd name="T9" fmla="*/ 127 h 163"/>
              <a:gd name="T10" fmla="*/ 140 w 163"/>
              <a:gd name="T11" fmla="*/ 140 h 163"/>
              <a:gd name="T12" fmla="*/ 127 w 163"/>
              <a:gd name="T13" fmla="*/ 149 h 163"/>
              <a:gd name="T14" fmla="*/ 112 w 163"/>
              <a:gd name="T15" fmla="*/ 156 h 163"/>
              <a:gd name="T16" fmla="*/ 98 w 163"/>
              <a:gd name="T17" fmla="*/ 161 h 163"/>
              <a:gd name="T18" fmla="*/ 82 w 163"/>
              <a:gd name="T19" fmla="*/ 163 h 163"/>
              <a:gd name="T20" fmla="*/ 82 w 163"/>
              <a:gd name="T21" fmla="*/ 163 h 163"/>
              <a:gd name="T22" fmla="*/ 65 w 163"/>
              <a:gd name="T23" fmla="*/ 161 h 163"/>
              <a:gd name="T24" fmla="*/ 49 w 163"/>
              <a:gd name="T25" fmla="*/ 156 h 163"/>
              <a:gd name="T26" fmla="*/ 36 w 163"/>
              <a:gd name="T27" fmla="*/ 149 h 163"/>
              <a:gd name="T28" fmla="*/ 24 w 163"/>
              <a:gd name="T29" fmla="*/ 140 h 163"/>
              <a:gd name="T30" fmla="*/ 15 w 163"/>
              <a:gd name="T31" fmla="*/ 127 h 163"/>
              <a:gd name="T32" fmla="*/ 7 w 163"/>
              <a:gd name="T33" fmla="*/ 113 h 163"/>
              <a:gd name="T34" fmla="*/ 2 w 163"/>
              <a:gd name="T35" fmla="*/ 98 h 163"/>
              <a:gd name="T36" fmla="*/ 0 w 163"/>
              <a:gd name="T37" fmla="*/ 82 h 163"/>
              <a:gd name="T38" fmla="*/ 0 w 163"/>
              <a:gd name="T39" fmla="*/ 82 h 163"/>
              <a:gd name="T40" fmla="*/ 2 w 163"/>
              <a:gd name="T41" fmla="*/ 65 h 163"/>
              <a:gd name="T42" fmla="*/ 7 w 163"/>
              <a:gd name="T43" fmla="*/ 49 h 163"/>
              <a:gd name="T44" fmla="*/ 15 w 163"/>
              <a:gd name="T45" fmla="*/ 36 h 163"/>
              <a:gd name="T46" fmla="*/ 24 w 163"/>
              <a:gd name="T47" fmla="*/ 24 h 163"/>
              <a:gd name="T48" fmla="*/ 36 w 163"/>
              <a:gd name="T49" fmla="*/ 15 h 163"/>
              <a:gd name="T50" fmla="*/ 49 w 163"/>
              <a:gd name="T51" fmla="*/ 6 h 163"/>
              <a:gd name="T52" fmla="*/ 65 w 163"/>
              <a:gd name="T53" fmla="*/ 2 h 163"/>
              <a:gd name="T54" fmla="*/ 82 w 163"/>
              <a:gd name="T55" fmla="*/ 0 h 163"/>
              <a:gd name="T56" fmla="*/ 82 w 163"/>
              <a:gd name="T57" fmla="*/ 0 h 163"/>
              <a:gd name="T58" fmla="*/ 98 w 163"/>
              <a:gd name="T59" fmla="*/ 2 h 163"/>
              <a:gd name="T60" fmla="*/ 112 w 163"/>
              <a:gd name="T61" fmla="*/ 6 h 163"/>
              <a:gd name="T62" fmla="*/ 127 w 163"/>
              <a:gd name="T63" fmla="*/ 15 h 163"/>
              <a:gd name="T64" fmla="*/ 140 w 163"/>
              <a:gd name="T65" fmla="*/ 24 h 163"/>
              <a:gd name="T66" fmla="*/ 149 w 163"/>
              <a:gd name="T67" fmla="*/ 36 h 163"/>
              <a:gd name="T68" fmla="*/ 156 w 163"/>
              <a:gd name="T69" fmla="*/ 49 h 163"/>
              <a:gd name="T70" fmla="*/ 161 w 163"/>
              <a:gd name="T71" fmla="*/ 65 h 163"/>
              <a:gd name="T72" fmla="*/ 163 w 163"/>
              <a:gd name="T73" fmla="*/ 82 h 163"/>
              <a:gd name="T74" fmla="*/ 163 w 163"/>
              <a:gd name="T75" fmla="*/ 82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3" h="163">
                <a:moveTo>
                  <a:pt x="163" y="82"/>
                </a:moveTo>
                <a:lnTo>
                  <a:pt x="163" y="82"/>
                </a:lnTo>
                <a:lnTo>
                  <a:pt x="161" y="98"/>
                </a:lnTo>
                <a:lnTo>
                  <a:pt x="156" y="113"/>
                </a:lnTo>
                <a:lnTo>
                  <a:pt x="149" y="127"/>
                </a:lnTo>
                <a:lnTo>
                  <a:pt x="140" y="140"/>
                </a:lnTo>
                <a:lnTo>
                  <a:pt x="127" y="149"/>
                </a:lnTo>
                <a:lnTo>
                  <a:pt x="112" y="156"/>
                </a:lnTo>
                <a:lnTo>
                  <a:pt x="98" y="161"/>
                </a:lnTo>
                <a:lnTo>
                  <a:pt x="82" y="163"/>
                </a:lnTo>
                <a:lnTo>
                  <a:pt x="82" y="163"/>
                </a:lnTo>
                <a:lnTo>
                  <a:pt x="65" y="161"/>
                </a:lnTo>
                <a:lnTo>
                  <a:pt x="49" y="156"/>
                </a:lnTo>
                <a:lnTo>
                  <a:pt x="36" y="149"/>
                </a:lnTo>
                <a:lnTo>
                  <a:pt x="24" y="140"/>
                </a:lnTo>
                <a:lnTo>
                  <a:pt x="15" y="127"/>
                </a:lnTo>
                <a:lnTo>
                  <a:pt x="7" y="113"/>
                </a:lnTo>
                <a:lnTo>
                  <a:pt x="2" y="98"/>
                </a:lnTo>
                <a:lnTo>
                  <a:pt x="0" y="82"/>
                </a:lnTo>
                <a:lnTo>
                  <a:pt x="0" y="82"/>
                </a:lnTo>
                <a:lnTo>
                  <a:pt x="2" y="65"/>
                </a:lnTo>
                <a:lnTo>
                  <a:pt x="7" y="49"/>
                </a:lnTo>
                <a:lnTo>
                  <a:pt x="15" y="36"/>
                </a:lnTo>
                <a:lnTo>
                  <a:pt x="24" y="24"/>
                </a:lnTo>
                <a:lnTo>
                  <a:pt x="36" y="15"/>
                </a:lnTo>
                <a:lnTo>
                  <a:pt x="49" y="6"/>
                </a:lnTo>
                <a:lnTo>
                  <a:pt x="65" y="2"/>
                </a:lnTo>
                <a:lnTo>
                  <a:pt x="82" y="0"/>
                </a:lnTo>
                <a:lnTo>
                  <a:pt x="82" y="0"/>
                </a:lnTo>
                <a:lnTo>
                  <a:pt x="98" y="2"/>
                </a:lnTo>
                <a:lnTo>
                  <a:pt x="112" y="6"/>
                </a:lnTo>
                <a:lnTo>
                  <a:pt x="127" y="15"/>
                </a:lnTo>
                <a:lnTo>
                  <a:pt x="140" y="24"/>
                </a:lnTo>
                <a:lnTo>
                  <a:pt x="149" y="36"/>
                </a:lnTo>
                <a:lnTo>
                  <a:pt x="156" y="49"/>
                </a:lnTo>
                <a:lnTo>
                  <a:pt x="161" y="65"/>
                </a:lnTo>
                <a:lnTo>
                  <a:pt x="163" y="82"/>
                </a:lnTo>
                <a:lnTo>
                  <a:pt x="163" y="82"/>
                </a:lnTo>
                <a:close/>
              </a:path>
            </a:pathLst>
          </a:custGeom>
          <a:solidFill>
            <a:schemeClr val="accent1"/>
          </a:solidFill>
          <a:ln w="38100">
            <a:solidFill>
              <a:schemeClr val="accent3">
                <a:lumMod val="40000"/>
                <a:lumOff val="6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37" name="Freeform 305"/>
          <p:cNvSpPr>
            <a:spLocks/>
          </p:cNvSpPr>
          <p:nvPr/>
        </p:nvSpPr>
        <p:spPr bwMode="auto">
          <a:xfrm>
            <a:off x="1531542" y="1997648"/>
            <a:ext cx="6001303" cy="2891046"/>
          </a:xfrm>
          <a:custGeom>
            <a:avLst/>
            <a:gdLst>
              <a:gd name="T0" fmla="*/ 0 w 2836"/>
              <a:gd name="T1" fmla="*/ 1492 h 1492"/>
              <a:gd name="T2" fmla="*/ 0 w 2836"/>
              <a:gd name="T3" fmla="*/ 1492 h 1492"/>
              <a:gd name="T4" fmla="*/ 28 w 2836"/>
              <a:gd name="T5" fmla="*/ 1492 h 1492"/>
              <a:gd name="T6" fmla="*/ 112 w 2836"/>
              <a:gd name="T7" fmla="*/ 1489 h 1492"/>
              <a:gd name="T8" fmla="*/ 171 w 2836"/>
              <a:gd name="T9" fmla="*/ 1487 h 1492"/>
              <a:gd name="T10" fmla="*/ 241 w 2836"/>
              <a:gd name="T11" fmla="*/ 1483 h 1492"/>
              <a:gd name="T12" fmla="*/ 320 w 2836"/>
              <a:gd name="T13" fmla="*/ 1477 h 1492"/>
              <a:gd name="T14" fmla="*/ 409 w 2836"/>
              <a:gd name="T15" fmla="*/ 1469 h 1492"/>
              <a:gd name="T16" fmla="*/ 506 w 2836"/>
              <a:gd name="T17" fmla="*/ 1459 h 1492"/>
              <a:gd name="T18" fmla="*/ 609 w 2836"/>
              <a:gd name="T19" fmla="*/ 1447 h 1492"/>
              <a:gd name="T20" fmla="*/ 718 w 2836"/>
              <a:gd name="T21" fmla="*/ 1431 h 1492"/>
              <a:gd name="T22" fmla="*/ 834 w 2836"/>
              <a:gd name="T23" fmla="*/ 1414 h 1492"/>
              <a:gd name="T24" fmla="*/ 953 w 2836"/>
              <a:gd name="T25" fmla="*/ 1393 h 1492"/>
              <a:gd name="T26" fmla="*/ 1075 w 2836"/>
              <a:gd name="T27" fmla="*/ 1367 h 1492"/>
              <a:gd name="T28" fmla="*/ 1137 w 2836"/>
              <a:gd name="T29" fmla="*/ 1353 h 1492"/>
              <a:gd name="T30" fmla="*/ 1200 w 2836"/>
              <a:gd name="T31" fmla="*/ 1339 h 1492"/>
              <a:gd name="T32" fmla="*/ 1264 w 2836"/>
              <a:gd name="T33" fmla="*/ 1322 h 1492"/>
              <a:gd name="T34" fmla="*/ 1327 w 2836"/>
              <a:gd name="T35" fmla="*/ 1306 h 1492"/>
              <a:gd name="T36" fmla="*/ 1391 w 2836"/>
              <a:gd name="T37" fmla="*/ 1288 h 1492"/>
              <a:gd name="T38" fmla="*/ 1454 w 2836"/>
              <a:gd name="T39" fmla="*/ 1269 h 1492"/>
              <a:gd name="T40" fmla="*/ 1518 w 2836"/>
              <a:gd name="T41" fmla="*/ 1248 h 1492"/>
              <a:gd name="T42" fmla="*/ 1581 w 2836"/>
              <a:gd name="T43" fmla="*/ 1227 h 1492"/>
              <a:gd name="T44" fmla="*/ 1645 w 2836"/>
              <a:gd name="T45" fmla="*/ 1204 h 1492"/>
              <a:gd name="T46" fmla="*/ 1708 w 2836"/>
              <a:gd name="T47" fmla="*/ 1180 h 1492"/>
              <a:gd name="T48" fmla="*/ 1770 w 2836"/>
              <a:gd name="T49" fmla="*/ 1154 h 1492"/>
              <a:gd name="T50" fmla="*/ 1832 w 2836"/>
              <a:gd name="T51" fmla="*/ 1128 h 1492"/>
              <a:gd name="T52" fmla="*/ 1894 w 2836"/>
              <a:gd name="T53" fmla="*/ 1100 h 1492"/>
              <a:gd name="T54" fmla="*/ 1954 w 2836"/>
              <a:gd name="T55" fmla="*/ 1071 h 1492"/>
              <a:gd name="T56" fmla="*/ 2012 w 2836"/>
              <a:gd name="T57" fmla="*/ 1039 h 1492"/>
              <a:gd name="T58" fmla="*/ 2071 w 2836"/>
              <a:gd name="T59" fmla="*/ 1008 h 1492"/>
              <a:gd name="T60" fmla="*/ 2128 w 2836"/>
              <a:gd name="T61" fmla="*/ 973 h 1492"/>
              <a:gd name="T62" fmla="*/ 2184 w 2836"/>
              <a:gd name="T63" fmla="*/ 939 h 1492"/>
              <a:gd name="T64" fmla="*/ 2238 w 2836"/>
              <a:gd name="T65" fmla="*/ 901 h 1492"/>
              <a:gd name="T66" fmla="*/ 2290 w 2836"/>
              <a:gd name="T67" fmla="*/ 863 h 1492"/>
              <a:gd name="T68" fmla="*/ 2341 w 2836"/>
              <a:gd name="T69" fmla="*/ 823 h 1492"/>
              <a:gd name="T70" fmla="*/ 2392 w 2836"/>
              <a:gd name="T71" fmla="*/ 781 h 1492"/>
              <a:gd name="T72" fmla="*/ 2439 w 2836"/>
              <a:gd name="T73" fmla="*/ 737 h 1492"/>
              <a:gd name="T74" fmla="*/ 2484 w 2836"/>
              <a:gd name="T75" fmla="*/ 691 h 1492"/>
              <a:gd name="T76" fmla="*/ 2528 w 2836"/>
              <a:gd name="T77" fmla="*/ 645 h 1492"/>
              <a:gd name="T78" fmla="*/ 2569 w 2836"/>
              <a:gd name="T79" fmla="*/ 596 h 1492"/>
              <a:gd name="T80" fmla="*/ 2607 w 2836"/>
              <a:gd name="T81" fmla="*/ 545 h 1492"/>
              <a:gd name="T82" fmla="*/ 2644 w 2836"/>
              <a:gd name="T83" fmla="*/ 493 h 1492"/>
              <a:gd name="T84" fmla="*/ 2679 w 2836"/>
              <a:gd name="T85" fmla="*/ 437 h 1492"/>
              <a:gd name="T86" fmla="*/ 2709 w 2836"/>
              <a:gd name="T87" fmla="*/ 382 h 1492"/>
              <a:gd name="T88" fmla="*/ 2737 w 2836"/>
              <a:gd name="T89" fmla="*/ 323 h 1492"/>
              <a:gd name="T90" fmla="*/ 2764 w 2836"/>
              <a:gd name="T91" fmla="*/ 262 h 1492"/>
              <a:gd name="T92" fmla="*/ 2787 w 2836"/>
              <a:gd name="T93" fmla="*/ 200 h 1492"/>
              <a:gd name="T94" fmla="*/ 2806 w 2836"/>
              <a:gd name="T95" fmla="*/ 135 h 1492"/>
              <a:gd name="T96" fmla="*/ 2823 w 2836"/>
              <a:gd name="T97" fmla="*/ 69 h 1492"/>
              <a:gd name="T98" fmla="*/ 2836 w 2836"/>
              <a:gd name="T99" fmla="*/ 0 h 14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836" h="1492">
                <a:moveTo>
                  <a:pt x="0" y="1492"/>
                </a:moveTo>
                <a:lnTo>
                  <a:pt x="0" y="1492"/>
                </a:lnTo>
                <a:lnTo>
                  <a:pt x="28" y="1492"/>
                </a:lnTo>
                <a:lnTo>
                  <a:pt x="112" y="1489"/>
                </a:lnTo>
                <a:lnTo>
                  <a:pt x="171" y="1487"/>
                </a:lnTo>
                <a:lnTo>
                  <a:pt x="241" y="1483"/>
                </a:lnTo>
                <a:lnTo>
                  <a:pt x="320" y="1477"/>
                </a:lnTo>
                <a:lnTo>
                  <a:pt x="409" y="1469"/>
                </a:lnTo>
                <a:lnTo>
                  <a:pt x="506" y="1459"/>
                </a:lnTo>
                <a:lnTo>
                  <a:pt x="609" y="1447"/>
                </a:lnTo>
                <a:lnTo>
                  <a:pt x="718" y="1431"/>
                </a:lnTo>
                <a:lnTo>
                  <a:pt x="834" y="1414"/>
                </a:lnTo>
                <a:lnTo>
                  <a:pt x="953" y="1393"/>
                </a:lnTo>
                <a:lnTo>
                  <a:pt x="1075" y="1367"/>
                </a:lnTo>
                <a:lnTo>
                  <a:pt x="1137" y="1353"/>
                </a:lnTo>
                <a:lnTo>
                  <a:pt x="1200" y="1339"/>
                </a:lnTo>
                <a:lnTo>
                  <a:pt x="1264" y="1322"/>
                </a:lnTo>
                <a:lnTo>
                  <a:pt x="1327" y="1306"/>
                </a:lnTo>
                <a:lnTo>
                  <a:pt x="1391" y="1288"/>
                </a:lnTo>
                <a:lnTo>
                  <a:pt x="1454" y="1269"/>
                </a:lnTo>
                <a:lnTo>
                  <a:pt x="1518" y="1248"/>
                </a:lnTo>
                <a:lnTo>
                  <a:pt x="1581" y="1227"/>
                </a:lnTo>
                <a:lnTo>
                  <a:pt x="1645" y="1204"/>
                </a:lnTo>
                <a:lnTo>
                  <a:pt x="1708" y="1180"/>
                </a:lnTo>
                <a:lnTo>
                  <a:pt x="1770" y="1154"/>
                </a:lnTo>
                <a:lnTo>
                  <a:pt x="1832" y="1128"/>
                </a:lnTo>
                <a:lnTo>
                  <a:pt x="1894" y="1100"/>
                </a:lnTo>
                <a:lnTo>
                  <a:pt x="1954" y="1071"/>
                </a:lnTo>
                <a:lnTo>
                  <a:pt x="2012" y="1039"/>
                </a:lnTo>
                <a:lnTo>
                  <a:pt x="2071" y="1008"/>
                </a:lnTo>
                <a:lnTo>
                  <a:pt x="2128" y="973"/>
                </a:lnTo>
                <a:lnTo>
                  <a:pt x="2184" y="939"/>
                </a:lnTo>
                <a:lnTo>
                  <a:pt x="2238" y="901"/>
                </a:lnTo>
                <a:lnTo>
                  <a:pt x="2290" y="863"/>
                </a:lnTo>
                <a:lnTo>
                  <a:pt x="2341" y="823"/>
                </a:lnTo>
                <a:lnTo>
                  <a:pt x="2392" y="781"/>
                </a:lnTo>
                <a:lnTo>
                  <a:pt x="2439" y="737"/>
                </a:lnTo>
                <a:lnTo>
                  <a:pt x="2484" y="691"/>
                </a:lnTo>
                <a:lnTo>
                  <a:pt x="2528" y="645"/>
                </a:lnTo>
                <a:lnTo>
                  <a:pt x="2569" y="596"/>
                </a:lnTo>
                <a:lnTo>
                  <a:pt x="2607" y="545"/>
                </a:lnTo>
                <a:lnTo>
                  <a:pt x="2644" y="493"/>
                </a:lnTo>
                <a:lnTo>
                  <a:pt x="2679" y="437"/>
                </a:lnTo>
                <a:lnTo>
                  <a:pt x="2709" y="382"/>
                </a:lnTo>
                <a:lnTo>
                  <a:pt x="2737" y="323"/>
                </a:lnTo>
                <a:lnTo>
                  <a:pt x="2764" y="262"/>
                </a:lnTo>
                <a:lnTo>
                  <a:pt x="2787" y="200"/>
                </a:lnTo>
                <a:lnTo>
                  <a:pt x="2806" y="135"/>
                </a:lnTo>
                <a:lnTo>
                  <a:pt x="2823" y="69"/>
                </a:lnTo>
                <a:lnTo>
                  <a:pt x="2836" y="0"/>
                </a:lnTo>
              </a:path>
            </a:pathLst>
          </a:custGeom>
          <a:noFill/>
          <a:ln w="20638">
            <a:solidFill>
              <a:schemeClr val="accent4"/>
            </a:solidFill>
            <a:prstDash val="sysDash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ln>
                <a:solidFill>
                  <a:srgbClr val="00558C"/>
                </a:solidFill>
              </a:ln>
              <a:solidFill>
                <a:prstClr val="white"/>
              </a:solidFill>
              <a:latin typeface="Corbel"/>
            </a:endParaRPr>
          </a:p>
        </p:txBody>
      </p:sp>
      <p:sp>
        <p:nvSpPr>
          <p:cNvPr id="38" name="Freeform 306"/>
          <p:cNvSpPr>
            <a:spLocks/>
          </p:cNvSpPr>
          <p:nvPr/>
        </p:nvSpPr>
        <p:spPr bwMode="auto">
          <a:xfrm>
            <a:off x="1531542" y="2689617"/>
            <a:ext cx="7634945" cy="2363992"/>
          </a:xfrm>
          <a:custGeom>
            <a:avLst/>
            <a:gdLst>
              <a:gd name="T0" fmla="*/ 0 w 3608"/>
              <a:gd name="T1" fmla="*/ 1220 h 1220"/>
              <a:gd name="T2" fmla="*/ 0 w 3608"/>
              <a:gd name="T3" fmla="*/ 1220 h 1220"/>
              <a:gd name="T4" fmla="*/ 241 w 3608"/>
              <a:gd name="T5" fmla="*/ 1212 h 1220"/>
              <a:gd name="T6" fmla="*/ 355 w 3608"/>
              <a:gd name="T7" fmla="*/ 1207 h 1220"/>
              <a:gd name="T8" fmla="*/ 468 w 3608"/>
              <a:gd name="T9" fmla="*/ 1201 h 1220"/>
              <a:gd name="T10" fmla="*/ 577 w 3608"/>
              <a:gd name="T11" fmla="*/ 1194 h 1220"/>
              <a:gd name="T12" fmla="*/ 683 w 3608"/>
              <a:gd name="T13" fmla="*/ 1187 h 1220"/>
              <a:gd name="T14" fmla="*/ 785 w 3608"/>
              <a:gd name="T15" fmla="*/ 1179 h 1220"/>
              <a:gd name="T16" fmla="*/ 885 w 3608"/>
              <a:gd name="T17" fmla="*/ 1171 h 1220"/>
              <a:gd name="T18" fmla="*/ 983 w 3608"/>
              <a:gd name="T19" fmla="*/ 1162 h 1220"/>
              <a:gd name="T20" fmla="*/ 1077 w 3608"/>
              <a:gd name="T21" fmla="*/ 1153 h 1220"/>
              <a:gd name="T22" fmla="*/ 1169 w 3608"/>
              <a:gd name="T23" fmla="*/ 1142 h 1220"/>
              <a:gd name="T24" fmla="*/ 1257 w 3608"/>
              <a:gd name="T25" fmla="*/ 1131 h 1220"/>
              <a:gd name="T26" fmla="*/ 1343 w 3608"/>
              <a:gd name="T27" fmla="*/ 1120 h 1220"/>
              <a:gd name="T28" fmla="*/ 1426 w 3608"/>
              <a:gd name="T29" fmla="*/ 1107 h 1220"/>
              <a:gd name="T30" fmla="*/ 1507 w 3608"/>
              <a:gd name="T31" fmla="*/ 1095 h 1220"/>
              <a:gd name="T32" fmla="*/ 1586 w 3608"/>
              <a:gd name="T33" fmla="*/ 1082 h 1220"/>
              <a:gd name="T34" fmla="*/ 1662 w 3608"/>
              <a:gd name="T35" fmla="*/ 1069 h 1220"/>
              <a:gd name="T36" fmla="*/ 1735 w 3608"/>
              <a:gd name="T37" fmla="*/ 1053 h 1220"/>
              <a:gd name="T38" fmla="*/ 1806 w 3608"/>
              <a:gd name="T39" fmla="*/ 1040 h 1220"/>
              <a:gd name="T40" fmla="*/ 1876 w 3608"/>
              <a:gd name="T41" fmla="*/ 1023 h 1220"/>
              <a:gd name="T42" fmla="*/ 1943 w 3608"/>
              <a:gd name="T43" fmla="*/ 1008 h 1220"/>
              <a:gd name="T44" fmla="*/ 2008 w 3608"/>
              <a:gd name="T45" fmla="*/ 991 h 1220"/>
              <a:gd name="T46" fmla="*/ 2071 w 3608"/>
              <a:gd name="T47" fmla="*/ 975 h 1220"/>
              <a:gd name="T48" fmla="*/ 2131 w 3608"/>
              <a:gd name="T49" fmla="*/ 958 h 1220"/>
              <a:gd name="T50" fmla="*/ 2190 w 3608"/>
              <a:gd name="T51" fmla="*/ 940 h 1220"/>
              <a:gd name="T52" fmla="*/ 2247 w 3608"/>
              <a:gd name="T53" fmla="*/ 922 h 1220"/>
              <a:gd name="T54" fmla="*/ 2303 w 3608"/>
              <a:gd name="T55" fmla="*/ 903 h 1220"/>
              <a:gd name="T56" fmla="*/ 2355 w 3608"/>
              <a:gd name="T57" fmla="*/ 884 h 1220"/>
              <a:gd name="T58" fmla="*/ 2407 w 3608"/>
              <a:gd name="T59" fmla="*/ 864 h 1220"/>
              <a:gd name="T60" fmla="*/ 2457 w 3608"/>
              <a:gd name="T61" fmla="*/ 845 h 1220"/>
              <a:gd name="T62" fmla="*/ 2506 w 3608"/>
              <a:gd name="T63" fmla="*/ 824 h 1220"/>
              <a:gd name="T64" fmla="*/ 2553 w 3608"/>
              <a:gd name="T65" fmla="*/ 804 h 1220"/>
              <a:gd name="T66" fmla="*/ 2598 w 3608"/>
              <a:gd name="T67" fmla="*/ 783 h 1220"/>
              <a:gd name="T68" fmla="*/ 2642 w 3608"/>
              <a:gd name="T69" fmla="*/ 761 h 1220"/>
              <a:gd name="T70" fmla="*/ 2685 w 3608"/>
              <a:gd name="T71" fmla="*/ 740 h 1220"/>
              <a:gd name="T72" fmla="*/ 2726 w 3608"/>
              <a:gd name="T73" fmla="*/ 718 h 1220"/>
              <a:gd name="T74" fmla="*/ 2766 w 3608"/>
              <a:gd name="T75" fmla="*/ 694 h 1220"/>
              <a:gd name="T76" fmla="*/ 2806 w 3608"/>
              <a:gd name="T77" fmla="*/ 672 h 1220"/>
              <a:gd name="T78" fmla="*/ 2880 w 3608"/>
              <a:gd name="T79" fmla="*/ 625 h 1220"/>
              <a:gd name="T80" fmla="*/ 2951 w 3608"/>
              <a:gd name="T81" fmla="*/ 578 h 1220"/>
              <a:gd name="T82" fmla="*/ 3018 w 3608"/>
              <a:gd name="T83" fmla="*/ 530 h 1220"/>
              <a:gd name="T84" fmla="*/ 3083 w 3608"/>
              <a:gd name="T85" fmla="*/ 480 h 1220"/>
              <a:gd name="T86" fmla="*/ 3145 w 3608"/>
              <a:gd name="T87" fmla="*/ 429 h 1220"/>
              <a:gd name="T88" fmla="*/ 3205 w 3608"/>
              <a:gd name="T89" fmla="*/ 378 h 1220"/>
              <a:gd name="T90" fmla="*/ 3264 w 3608"/>
              <a:gd name="T91" fmla="*/ 326 h 1220"/>
              <a:gd name="T92" fmla="*/ 3321 w 3608"/>
              <a:gd name="T93" fmla="*/ 272 h 1220"/>
              <a:gd name="T94" fmla="*/ 3378 w 3608"/>
              <a:gd name="T95" fmla="*/ 219 h 1220"/>
              <a:gd name="T96" fmla="*/ 3491 w 3608"/>
              <a:gd name="T97" fmla="*/ 110 h 1220"/>
              <a:gd name="T98" fmla="*/ 3608 w 3608"/>
              <a:gd name="T99" fmla="*/ 0 h 1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608" h="1220">
                <a:moveTo>
                  <a:pt x="0" y="1220"/>
                </a:moveTo>
                <a:lnTo>
                  <a:pt x="0" y="1220"/>
                </a:lnTo>
                <a:lnTo>
                  <a:pt x="241" y="1212"/>
                </a:lnTo>
                <a:lnTo>
                  <a:pt x="355" y="1207"/>
                </a:lnTo>
                <a:lnTo>
                  <a:pt x="468" y="1201"/>
                </a:lnTo>
                <a:lnTo>
                  <a:pt x="577" y="1194"/>
                </a:lnTo>
                <a:lnTo>
                  <a:pt x="683" y="1187"/>
                </a:lnTo>
                <a:lnTo>
                  <a:pt x="785" y="1179"/>
                </a:lnTo>
                <a:lnTo>
                  <a:pt x="885" y="1171"/>
                </a:lnTo>
                <a:lnTo>
                  <a:pt x="983" y="1162"/>
                </a:lnTo>
                <a:lnTo>
                  <a:pt x="1077" y="1153"/>
                </a:lnTo>
                <a:lnTo>
                  <a:pt x="1169" y="1142"/>
                </a:lnTo>
                <a:lnTo>
                  <a:pt x="1257" y="1131"/>
                </a:lnTo>
                <a:lnTo>
                  <a:pt x="1343" y="1120"/>
                </a:lnTo>
                <a:lnTo>
                  <a:pt x="1426" y="1107"/>
                </a:lnTo>
                <a:lnTo>
                  <a:pt x="1507" y="1095"/>
                </a:lnTo>
                <a:lnTo>
                  <a:pt x="1586" y="1082"/>
                </a:lnTo>
                <a:lnTo>
                  <a:pt x="1662" y="1069"/>
                </a:lnTo>
                <a:lnTo>
                  <a:pt x="1735" y="1053"/>
                </a:lnTo>
                <a:lnTo>
                  <a:pt x="1806" y="1040"/>
                </a:lnTo>
                <a:lnTo>
                  <a:pt x="1876" y="1023"/>
                </a:lnTo>
                <a:lnTo>
                  <a:pt x="1943" y="1008"/>
                </a:lnTo>
                <a:lnTo>
                  <a:pt x="2008" y="991"/>
                </a:lnTo>
                <a:lnTo>
                  <a:pt x="2071" y="975"/>
                </a:lnTo>
                <a:lnTo>
                  <a:pt x="2131" y="958"/>
                </a:lnTo>
                <a:lnTo>
                  <a:pt x="2190" y="940"/>
                </a:lnTo>
                <a:lnTo>
                  <a:pt x="2247" y="922"/>
                </a:lnTo>
                <a:lnTo>
                  <a:pt x="2303" y="903"/>
                </a:lnTo>
                <a:lnTo>
                  <a:pt x="2355" y="884"/>
                </a:lnTo>
                <a:lnTo>
                  <a:pt x="2407" y="864"/>
                </a:lnTo>
                <a:lnTo>
                  <a:pt x="2457" y="845"/>
                </a:lnTo>
                <a:lnTo>
                  <a:pt x="2506" y="824"/>
                </a:lnTo>
                <a:lnTo>
                  <a:pt x="2553" y="804"/>
                </a:lnTo>
                <a:lnTo>
                  <a:pt x="2598" y="783"/>
                </a:lnTo>
                <a:lnTo>
                  <a:pt x="2642" y="761"/>
                </a:lnTo>
                <a:lnTo>
                  <a:pt x="2685" y="740"/>
                </a:lnTo>
                <a:lnTo>
                  <a:pt x="2726" y="718"/>
                </a:lnTo>
                <a:lnTo>
                  <a:pt x="2766" y="694"/>
                </a:lnTo>
                <a:lnTo>
                  <a:pt x="2806" y="672"/>
                </a:lnTo>
                <a:lnTo>
                  <a:pt x="2880" y="625"/>
                </a:lnTo>
                <a:lnTo>
                  <a:pt x="2951" y="578"/>
                </a:lnTo>
                <a:lnTo>
                  <a:pt x="3018" y="530"/>
                </a:lnTo>
                <a:lnTo>
                  <a:pt x="3083" y="480"/>
                </a:lnTo>
                <a:lnTo>
                  <a:pt x="3145" y="429"/>
                </a:lnTo>
                <a:lnTo>
                  <a:pt x="3205" y="378"/>
                </a:lnTo>
                <a:lnTo>
                  <a:pt x="3264" y="326"/>
                </a:lnTo>
                <a:lnTo>
                  <a:pt x="3321" y="272"/>
                </a:lnTo>
                <a:lnTo>
                  <a:pt x="3378" y="219"/>
                </a:lnTo>
                <a:lnTo>
                  <a:pt x="3491" y="110"/>
                </a:lnTo>
                <a:lnTo>
                  <a:pt x="3608" y="0"/>
                </a:lnTo>
              </a:path>
            </a:pathLst>
          </a:custGeom>
          <a:noFill/>
          <a:ln w="20638">
            <a:solidFill>
              <a:schemeClr val="accent2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39" name="Freeform 307"/>
          <p:cNvSpPr>
            <a:spLocks/>
          </p:cNvSpPr>
          <p:nvPr/>
        </p:nvSpPr>
        <p:spPr bwMode="auto">
          <a:xfrm>
            <a:off x="1531542" y="3457768"/>
            <a:ext cx="8494087" cy="1790434"/>
          </a:xfrm>
          <a:custGeom>
            <a:avLst/>
            <a:gdLst>
              <a:gd name="T0" fmla="*/ 0 w 4014"/>
              <a:gd name="T1" fmla="*/ 924 h 924"/>
              <a:gd name="T2" fmla="*/ 0 w 4014"/>
              <a:gd name="T3" fmla="*/ 924 h 924"/>
              <a:gd name="T4" fmla="*/ 241 w 4014"/>
              <a:gd name="T5" fmla="*/ 915 h 924"/>
              <a:gd name="T6" fmla="*/ 471 w 4014"/>
              <a:gd name="T7" fmla="*/ 907 h 924"/>
              <a:gd name="T8" fmla="*/ 690 w 4014"/>
              <a:gd name="T9" fmla="*/ 897 h 924"/>
              <a:gd name="T10" fmla="*/ 899 w 4014"/>
              <a:gd name="T11" fmla="*/ 886 h 924"/>
              <a:gd name="T12" fmla="*/ 1097 w 4014"/>
              <a:gd name="T13" fmla="*/ 874 h 924"/>
              <a:gd name="T14" fmla="*/ 1286 w 4014"/>
              <a:gd name="T15" fmla="*/ 860 h 924"/>
              <a:gd name="T16" fmla="*/ 1465 w 4014"/>
              <a:gd name="T17" fmla="*/ 845 h 924"/>
              <a:gd name="T18" fmla="*/ 1635 w 4014"/>
              <a:gd name="T19" fmla="*/ 828 h 924"/>
              <a:gd name="T20" fmla="*/ 1797 w 4014"/>
              <a:gd name="T21" fmla="*/ 811 h 924"/>
              <a:gd name="T22" fmla="*/ 1951 w 4014"/>
              <a:gd name="T23" fmla="*/ 791 h 924"/>
              <a:gd name="T24" fmla="*/ 2097 w 4014"/>
              <a:gd name="T25" fmla="*/ 772 h 924"/>
              <a:gd name="T26" fmla="*/ 2235 w 4014"/>
              <a:gd name="T27" fmla="*/ 750 h 924"/>
              <a:gd name="T28" fmla="*/ 2365 w 4014"/>
              <a:gd name="T29" fmla="*/ 726 h 924"/>
              <a:gd name="T30" fmla="*/ 2490 w 4014"/>
              <a:gd name="T31" fmla="*/ 701 h 924"/>
              <a:gd name="T32" fmla="*/ 2607 w 4014"/>
              <a:gd name="T33" fmla="*/ 675 h 924"/>
              <a:gd name="T34" fmla="*/ 2720 w 4014"/>
              <a:gd name="T35" fmla="*/ 648 h 924"/>
              <a:gd name="T36" fmla="*/ 2826 w 4014"/>
              <a:gd name="T37" fmla="*/ 619 h 924"/>
              <a:gd name="T38" fmla="*/ 2928 w 4014"/>
              <a:gd name="T39" fmla="*/ 588 h 924"/>
              <a:gd name="T40" fmla="*/ 3023 w 4014"/>
              <a:gd name="T41" fmla="*/ 556 h 924"/>
              <a:gd name="T42" fmla="*/ 3115 w 4014"/>
              <a:gd name="T43" fmla="*/ 523 h 924"/>
              <a:gd name="T44" fmla="*/ 3204 w 4014"/>
              <a:gd name="T45" fmla="*/ 489 h 924"/>
              <a:gd name="T46" fmla="*/ 3288 w 4014"/>
              <a:gd name="T47" fmla="*/ 452 h 924"/>
              <a:gd name="T48" fmla="*/ 3369 w 4014"/>
              <a:gd name="T49" fmla="*/ 414 h 924"/>
              <a:gd name="T50" fmla="*/ 3446 w 4014"/>
              <a:gd name="T51" fmla="*/ 374 h 924"/>
              <a:gd name="T52" fmla="*/ 3522 w 4014"/>
              <a:gd name="T53" fmla="*/ 334 h 924"/>
              <a:gd name="T54" fmla="*/ 3597 w 4014"/>
              <a:gd name="T55" fmla="*/ 291 h 924"/>
              <a:gd name="T56" fmla="*/ 3668 w 4014"/>
              <a:gd name="T57" fmla="*/ 247 h 924"/>
              <a:gd name="T58" fmla="*/ 3738 w 4014"/>
              <a:gd name="T59" fmla="*/ 200 h 924"/>
              <a:gd name="T60" fmla="*/ 3808 w 4014"/>
              <a:gd name="T61" fmla="*/ 153 h 924"/>
              <a:gd name="T62" fmla="*/ 3876 w 4014"/>
              <a:gd name="T63" fmla="*/ 104 h 924"/>
              <a:gd name="T64" fmla="*/ 3946 w 4014"/>
              <a:gd name="T65" fmla="*/ 53 h 924"/>
              <a:gd name="T66" fmla="*/ 4014 w 4014"/>
              <a:gd name="T67" fmla="*/ 0 h 9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014" h="924">
                <a:moveTo>
                  <a:pt x="0" y="924"/>
                </a:moveTo>
                <a:lnTo>
                  <a:pt x="0" y="924"/>
                </a:lnTo>
                <a:lnTo>
                  <a:pt x="241" y="915"/>
                </a:lnTo>
                <a:lnTo>
                  <a:pt x="471" y="907"/>
                </a:lnTo>
                <a:lnTo>
                  <a:pt x="690" y="897"/>
                </a:lnTo>
                <a:lnTo>
                  <a:pt x="899" y="886"/>
                </a:lnTo>
                <a:lnTo>
                  <a:pt x="1097" y="874"/>
                </a:lnTo>
                <a:lnTo>
                  <a:pt x="1286" y="860"/>
                </a:lnTo>
                <a:lnTo>
                  <a:pt x="1465" y="845"/>
                </a:lnTo>
                <a:lnTo>
                  <a:pt x="1635" y="828"/>
                </a:lnTo>
                <a:lnTo>
                  <a:pt x="1797" y="811"/>
                </a:lnTo>
                <a:lnTo>
                  <a:pt x="1951" y="791"/>
                </a:lnTo>
                <a:lnTo>
                  <a:pt x="2097" y="772"/>
                </a:lnTo>
                <a:lnTo>
                  <a:pt x="2235" y="750"/>
                </a:lnTo>
                <a:lnTo>
                  <a:pt x="2365" y="726"/>
                </a:lnTo>
                <a:lnTo>
                  <a:pt x="2490" y="701"/>
                </a:lnTo>
                <a:lnTo>
                  <a:pt x="2607" y="675"/>
                </a:lnTo>
                <a:lnTo>
                  <a:pt x="2720" y="648"/>
                </a:lnTo>
                <a:lnTo>
                  <a:pt x="2826" y="619"/>
                </a:lnTo>
                <a:lnTo>
                  <a:pt x="2928" y="588"/>
                </a:lnTo>
                <a:lnTo>
                  <a:pt x="3023" y="556"/>
                </a:lnTo>
                <a:lnTo>
                  <a:pt x="3115" y="523"/>
                </a:lnTo>
                <a:lnTo>
                  <a:pt x="3204" y="489"/>
                </a:lnTo>
                <a:lnTo>
                  <a:pt x="3288" y="452"/>
                </a:lnTo>
                <a:lnTo>
                  <a:pt x="3369" y="414"/>
                </a:lnTo>
                <a:lnTo>
                  <a:pt x="3446" y="374"/>
                </a:lnTo>
                <a:lnTo>
                  <a:pt x="3522" y="334"/>
                </a:lnTo>
                <a:lnTo>
                  <a:pt x="3597" y="291"/>
                </a:lnTo>
                <a:lnTo>
                  <a:pt x="3668" y="247"/>
                </a:lnTo>
                <a:lnTo>
                  <a:pt x="3738" y="200"/>
                </a:lnTo>
                <a:lnTo>
                  <a:pt x="3808" y="153"/>
                </a:lnTo>
                <a:lnTo>
                  <a:pt x="3876" y="104"/>
                </a:lnTo>
                <a:lnTo>
                  <a:pt x="3946" y="53"/>
                </a:lnTo>
                <a:lnTo>
                  <a:pt x="4014" y="0"/>
                </a:lnTo>
              </a:path>
            </a:pathLst>
          </a:custGeom>
          <a:noFill/>
          <a:ln w="20638">
            <a:solidFill>
              <a:schemeClr val="accent1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40" name="Freeform 308"/>
          <p:cNvSpPr>
            <a:spLocks/>
          </p:cNvSpPr>
          <p:nvPr/>
        </p:nvSpPr>
        <p:spPr bwMode="auto">
          <a:xfrm>
            <a:off x="1531540" y="4576381"/>
            <a:ext cx="8735325" cy="935908"/>
          </a:xfrm>
          <a:custGeom>
            <a:avLst/>
            <a:gdLst>
              <a:gd name="T0" fmla="*/ 0 w 4128"/>
              <a:gd name="T1" fmla="*/ 483 h 483"/>
              <a:gd name="T2" fmla="*/ 0 w 4128"/>
              <a:gd name="T3" fmla="*/ 483 h 483"/>
              <a:gd name="T4" fmla="*/ 472 w 4128"/>
              <a:gd name="T5" fmla="*/ 473 h 483"/>
              <a:gd name="T6" fmla="*/ 899 w 4128"/>
              <a:gd name="T7" fmla="*/ 464 h 483"/>
              <a:gd name="T8" fmla="*/ 1284 w 4128"/>
              <a:gd name="T9" fmla="*/ 451 h 483"/>
              <a:gd name="T10" fmla="*/ 1462 w 4128"/>
              <a:gd name="T11" fmla="*/ 444 h 483"/>
              <a:gd name="T12" fmla="*/ 1630 w 4128"/>
              <a:gd name="T13" fmla="*/ 437 h 483"/>
              <a:gd name="T14" fmla="*/ 1790 w 4128"/>
              <a:gd name="T15" fmla="*/ 431 h 483"/>
              <a:gd name="T16" fmla="*/ 1943 w 4128"/>
              <a:gd name="T17" fmla="*/ 422 h 483"/>
              <a:gd name="T18" fmla="*/ 2085 w 4128"/>
              <a:gd name="T19" fmla="*/ 413 h 483"/>
              <a:gd name="T20" fmla="*/ 2222 w 4128"/>
              <a:gd name="T21" fmla="*/ 403 h 483"/>
              <a:gd name="T22" fmla="*/ 2352 w 4128"/>
              <a:gd name="T23" fmla="*/ 393 h 483"/>
              <a:gd name="T24" fmla="*/ 2476 w 4128"/>
              <a:gd name="T25" fmla="*/ 382 h 483"/>
              <a:gd name="T26" fmla="*/ 2593 w 4128"/>
              <a:gd name="T27" fmla="*/ 370 h 483"/>
              <a:gd name="T28" fmla="*/ 2704 w 4128"/>
              <a:gd name="T29" fmla="*/ 357 h 483"/>
              <a:gd name="T30" fmla="*/ 2812 w 4128"/>
              <a:gd name="T31" fmla="*/ 344 h 483"/>
              <a:gd name="T32" fmla="*/ 2913 w 4128"/>
              <a:gd name="T33" fmla="*/ 328 h 483"/>
              <a:gd name="T34" fmla="*/ 3012 w 4128"/>
              <a:gd name="T35" fmla="*/ 313 h 483"/>
              <a:gd name="T36" fmla="*/ 3107 w 4128"/>
              <a:gd name="T37" fmla="*/ 297 h 483"/>
              <a:gd name="T38" fmla="*/ 3197 w 4128"/>
              <a:gd name="T39" fmla="*/ 279 h 483"/>
              <a:gd name="T40" fmla="*/ 3286 w 4128"/>
              <a:gd name="T41" fmla="*/ 259 h 483"/>
              <a:gd name="T42" fmla="*/ 3373 w 4128"/>
              <a:gd name="T43" fmla="*/ 240 h 483"/>
              <a:gd name="T44" fmla="*/ 3457 w 4128"/>
              <a:gd name="T45" fmla="*/ 218 h 483"/>
              <a:gd name="T46" fmla="*/ 3542 w 4128"/>
              <a:gd name="T47" fmla="*/ 196 h 483"/>
              <a:gd name="T48" fmla="*/ 3624 w 4128"/>
              <a:gd name="T49" fmla="*/ 172 h 483"/>
              <a:gd name="T50" fmla="*/ 3706 w 4128"/>
              <a:gd name="T51" fmla="*/ 148 h 483"/>
              <a:gd name="T52" fmla="*/ 3789 w 4128"/>
              <a:gd name="T53" fmla="*/ 121 h 483"/>
              <a:gd name="T54" fmla="*/ 3871 w 4128"/>
              <a:gd name="T55" fmla="*/ 92 h 483"/>
              <a:gd name="T56" fmla="*/ 3956 w 4128"/>
              <a:gd name="T57" fmla="*/ 63 h 483"/>
              <a:gd name="T58" fmla="*/ 4128 w 4128"/>
              <a:gd name="T59" fmla="*/ 0 h 4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128" h="483">
                <a:moveTo>
                  <a:pt x="0" y="483"/>
                </a:moveTo>
                <a:lnTo>
                  <a:pt x="0" y="483"/>
                </a:lnTo>
                <a:lnTo>
                  <a:pt x="472" y="473"/>
                </a:lnTo>
                <a:lnTo>
                  <a:pt x="899" y="464"/>
                </a:lnTo>
                <a:lnTo>
                  <a:pt x="1284" y="451"/>
                </a:lnTo>
                <a:lnTo>
                  <a:pt x="1462" y="444"/>
                </a:lnTo>
                <a:lnTo>
                  <a:pt x="1630" y="437"/>
                </a:lnTo>
                <a:lnTo>
                  <a:pt x="1790" y="431"/>
                </a:lnTo>
                <a:lnTo>
                  <a:pt x="1943" y="422"/>
                </a:lnTo>
                <a:lnTo>
                  <a:pt x="2085" y="413"/>
                </a:lnTo>
                <a:lnTo>
                  <a:pt x="2222" y="403"/>
                </a:lnTo>
                <a:lnTo>
                  <a:pt x="2352" y="393"/>
                </a:lnTo>
                <a:lnTo>
                  <a:pt x="2476" y="382"/>
                </a:lnTo>
                <a:lnTo>
                  <a:pt x="2593" y="370"/>
                </a:lnTo>
                <a:lnTo>
                  <a:pt x="2704" y="357"/>
                </a:lnTo>
                <a:lnTo>
                  <a:pt x="2812" y="344"/>
                </a:lnTo>
                <a:lnTo>
                  <a:pt x="2913" y="328"/>
                </a:lnTo>
                <a:lnTo>
                  <a:pt x="3012" y="313"/>
                </a:lnTo>
                <a:lnTo>
                  <a:pt x="3107" y="297"/>
                </a:lnTo>
                <a:lnTo>
                  <a:pt x="3197" y="279"/>
                </a:lnTo>
                <a:lnTo>
                  <a:pt x="3286" y="259"/>
                </a:lnTo>
                <a:lnTo>
                  <a:pt x="3373" y="240"/>
                </a:lnTo>
                <a:lnTo>
                  <a:pt x="3457" y="218"/>
                </a:lnTo>
                <a:lnTo>
                  <a:pt x="3542" y="196"/>
                </a:lnTo>
                <a:lnTo>
                  <a:pt x="3624" y="172"/>
                </a:lnTo>
                <a:lnTo>
                  <a:pt x="3706" y="148"/>
                </a:lnTo>
                <a:lnTo>
                  <a:pt x="3789" y="121"/>
                </a:lnTo>
                <a:lnTo>
                  <a:pt x="3871" y="92"/>
                </a:lnTo>
                <a:lnTo>
                  <a:pt x="3956" y="63"/>
                </a:lnTo>
                <a:lnTo>
                  <a:pt x="4128" y="0"/>
                </a:lnTo>
              </a:path>
            </a:pathLst>
          </a:custGeom>
          <a:noFill/>
          <a:ln w="20638">
            <a:solidFill>
              <a:schemeClr val="accent3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41" name="Freeform 297"/>
          <p:cNvSpPr>
            <a:spLocks noChangeAspect="1"/>
          </p:cNvSpPr>
          <p:nvPr/>
        </p:nvSpPr>
        <p:spPr bwMode="auto">
          <a:xfrm>
            <a:off x="10074906" y="4442642"/>
            <a:ext cx="243777" cy="243777"/>
          </a:xfrm>
          <a:custGeom>
            <a:avLst/>
            <a:gdLst>
              <a:gd name="T0" fmla="*/ 163 w 163"/>
              <a:gd name="T1" fmla="*/ 82 h 163"/>
              <a:gd name="T2" fmla="*/ 163 w 163"/>
              <a:gd name="T3" fmla="*/ 82 h 163"/>
              <a:gd name="T4" fmla="*/ 161 w 163"/>
              <a:gd name="T5" fmla="*/ 98 h 163"/>
              <a:gd name="T6" fmla="*/ 156 w 163"/>
              <a:gd name="T7" fmla="*/ 112 h 163"/>
              <a:gd name="T8" fmla="*/ 148 w 163"/>
              <a:gd name="T9" fmla="*/ 127 h 163"/>
              <a:gd name="T10" fmla="*/ 137 w 163"/>
              <a:gd name="T11" fmla="*/ 140 h 163"/>
              <a:gd name="T12" fmla="*/ 127 w 163"/>
              <a:gd name="T13" fmla="*/ 149 h 163"/>
              <a:gd name="T14" fmla="*/ 112 w 163"/>
              <a:gd name="T15" fmla="*/ 156 h 163"/>
              <a:gd name="T16" fmla="*/ 98 w 163"/>
              <a:gd name="T17" fmla="*/ 161 h 163"/>
              <a:gd name="T18" fmla="*/ 81 w 163"/>
              <a:gd name="T19" fmla="*/ 163 h 163"/>
              <a:gd name="T20" fmla="*/ 81 w 163"/>
              <a:gd name="T21" fmla="*/ 163 h 163"/>
              <a:gd name="T22" fmla="*/ 65 w 163"/>
              <a:gd name="T23" fmla="*/ 161 h 163"/>
              <a:gd name="T24" fmla="*/ 49 w 163"/>
              <a:gd name="T25" fmla="*/ 156 h 163"/>
              <a:gd name="T26" fmla="*/ 36 w 163"/>
              <a:gd name="T27" fmla="*/ 149 h 163"/>
              <a:gd name="T28" fmla="*/ 23 w 163"/>
              <a:gd name="T29" fmla="*/ 140 h 163"/>
              <a:gd name="T30" fmla="*/ 12 w 163"/>
              <a:gd name="T31" fmla="*/ 127 h 163"/>
              <a:gd name="T32" fmla="*/ 5 w 163"/>
              <a:gd name="T33" fmla="*/ 112 h 163"/>
              <a:gd name="T34" fmla="*/ 2 w 163"/>
              <a:gd name="T35" fmla="*/ 98 h 163"/>
              <a:gd name="T36" fmla="*/ 0 w 163"/>
              <a:gd name="T37" fmla="*/ 82 h 163"/>
              <a:gd name="T38" fmla="*/ 0 w 163"/>
              <a:gd name="T39" fmla="*/ 82 h 163"/>
              <a:gd name="T40" fmla="*/ 2 w 163"/>
              <a:gd name="T41" fmla="*/ 65 h 163"/>
              <a:gd name="T42" fmla="*/ 5 w 163"/>
              <a:gd name="T43" fmla="*/ 49 h 163"/>
              <a:gd name="T44" fmla="*/ 12 w 163"/>
              <a:gd name="T45" fmla="*/ 36 h 163"/>
              <a:gd name="T46" fmla="*/ 23 w 163"/>
              <a:gd name="T47" fmla="*/ 24 h 163"/>
              <a:gd name="T48" fmla="*/ 36 w 163"/>
              <a:gd name="T49" fmla="*/ 15 h 163"/>
              <a:gd name="T50" fmla="*/ 49 w 163"/>
              <a:gd name="T51" fmla="*/ 7 h 163"/>
              <a:gd name="T52" fmla="*/ 65 w 163"/>
              <a:gd name="T53" fmla="*/ 2 h 163"/>
              <a:gd name="T54" fmla="*/ 81 w 163"/>
              <a:gd name="T55" fmla="*/ 0 h 163"/>
              <a:gd name="T56" fmla="*/ 81 w 163"/>
              <a:gd name="T57" fmla="*/ 0 h 163"/>
              <a:gd name="T58" fmla="*/ 98 w 163"/>
              <a:gd name="T59" fmla="*/ 2 h 163"/>
              <a:gd name="T60" fmla="*/ 112 w 163"/>
              <a:gd name="T61" fmla="*/ 7 h 163"/>
              <a:gd name="T62" fmla="*/ 127 w 163"/>
              <a:gd name="T63" fmla="*/ 15 h 163"/>
              <a:gd name="T64" fmla="*/ 137 w 163"/>
              <a:gd name="T65" fmla="*/ 24 h 163"/>
              <a:gd name="T66" fmla="*/ 148 w 163"/>
              <a:gd name="T67" fmla="*/ 36 h 163"/>
              <a:gd name="T68" fmla="*/ 156 w 163"/>
              <a:gd name="T69" fmla="*/ 49 h 163"/>
              <a:gd name="T70" fmla="*/ 161 w 163"/>
              <a:gd name="T71" fmla="*/ 65 h 163"/>
              <a:gd name="T72" fmla="*/ 163 w 163"/>
              <a:gd name="T73" fmla="*/ 82 h 163"/>
              <a:gd name="T74" fmla="*/ 163 w 163"/>
              <a:gd name="T75" fmla="*/ 82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3" h="163">
                <a:moveTo>
                  <a:pt x="163" y="82"/>
                </a:moveTo>
                <a:lnTo>
                  <a:pt x="163" y="82"/>
                </a:lnTo>
                <a:lnTo>
                  <a:pt x="161" y="98"/>
                </a:lnTo>
                <a:lnTo>
                  <a:pt x="156" y="112"/>
                </a:lnTo>
                <a:lnTo>
                  <a:pt x="148" y="127"/>
                </a:lnTo>
                <a:lnTo>
                  <a:pt x="137" y="140"/>
                </a:lnTo>
                <a:lnTo>
                  <a:pt x="127" y="149"/>
                </a:lnTo>
                <a:lnTo>
                  <a:pt x="112" y="156"/>
                </a:lnTo>
                <a:lnTo>
                  <a:pt x="98" y="161"/>
                </a:lnTo>
                <a:lnTo>
                  <a:pt x="81" y="163"/>
                </a:lnTo>
                <a:lnTo>
                  <a:pt x="81" y="163"/>
                </a:lnTo>
                <a:lnTo>
                  <a:pt x="65" y="161"/>
                </a:lnTo>
                <a:lnTo>
                  <a:pt x="49" y="156"/>
                </a:lnTo>
                <a:lnTo>
                  <a:pt x="36" y="149"/>
                </a:lnTo>
                <a:lnTo>
                  <a:pt x="23" y="140"/>
                </a:lnTo>
                <a:lnTo>
                  <a:pt x="12" y="127"/>
                </a:lnTo>
                <a:lnTo>
                  <a:pt x="5" y="112"/>
                </a:lnTo>
                <a:lnTo>
                  <a:pt x="2" y="98"/>
                </a:lnTo>
                <a:lnTo>
                  <a:pt x="0" y="82"/>
                </a:lnTo>
                <a:lnTo>
                  <a:pt x="0" y="82"/>
                </a:lnTo>
                <a:lnTo>
                  <a:pt x="2" y="65"/>
                </a:lnTo>
                <a:lnTo>
                  <a:pt x="5" y="49"/>
                </a:lnTo>
                <a:lnTo>
                  <a:pt x="12" y="36"/>
                </a:lnTo>
                <a:lnTo>
                  <a:pt x="23" y="24"/>
                </a:lnTo>
                <a:lnTo>
                  <a:pt x="36" y="15"/>
                </a:lnTo>
                <a:lnTo>
                  <a:pt x="49" y="7"/>
                </a:lnTo>
                <a:lnTo>
                  <a:pt x="65" y="2"/>
                </a:lnTo>
                <a:lnTo>
                  <a:pt x="81" y="0"/>
                </a:lnTo>
                <a:lnTo>
                  <a:pt x="81" y="0"/>
                </a:lnTo>
                <a:lnTo>
                  <a:pt x="98" y="2"/>
                </a:lnTo>
                <a:lnTo>
                  <a:pt x="112" y="7"/>
                </a:lnTo>
                <a:lnTo>
                  <a:pt x="127" y="15"/>
                </a:lnTo>
                <a:lnTo>
                  <a:pt x="137" y="24"/>
                </a:lnTo>
                <a:lnTo>
                  <a:pt x="148" y="36"/>
                </a:lnTo>
                <a:lnTo>
                  <a:pt x="156" y="49"/>
                </a:lnTo>
                <a:lnTo>
                  <a:pt x="161" y="65"/>
                </a:lnTo>
                <a:lnTo>
                  <a:pt x="163" y="82"/>
                </a:lnTo>
                <a:lnTo>
                  <a:pt x="163" y="82"/>
                </a:lnTo>
                <a:close/>
              </a:path>
            </a:pathLst>
          </a:custGeom>
          <a:solidFill>
            <a:schemeClr val="accent3"/>
          </a:solidFill>
          <a:ln w="38100">
            <a:solidFill>
              <a:schemeClr val="accent3">
                <a:lumMod val="40000"/>
                <a:lumOff val="60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374714" y="6325918"/>
            <a:ext cx="9918466" cy="348755"/>
          </a:xfrm>
          <a:prstGeom prst="rect">
            <a:avLst/>
          </a:prstGeom>
          <a:noFill/>
        </p:spPr>
        <p:txBody>
          <a:bodyPr wrap="square" lIns="0" tIns="81251" rIns="162503" bIns="81251" rtlCol="0">
            <a:spAutoFit/>
          </a:bodyPr>
          <a:lstStyle/>
          <a:p>
            <a:pPr marL="150229" indent="-150229" algn="r" defTabSz="1218743">
              <a:defRPr/>
            </a:pPr>
            <a:r>
              <a:rPr lang="en-US" sz="1200" ker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oitte University Press | dupress.deloitte.com</a:t>
            </a:r>
          </a:p>
        </p:txBody>
      </p:sp>
      <p:sp>
        <p:nvSpPr>
          <p:cNvPr id="10" name="TextBox 9"/>
          <p:cNvSpPr txBox="1"/>
          <p:nvPr/>
        </p:nvSpPr>
        <p:spPr>
          <a:xfrm rot="16200000">
            <a:off x="-213439" y="2980650"/>
            <a:ext cx="260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93">
              <a:defRPr/>
            </a:pPr>
            <a:r>
              <a:rPr lang="en-US" sz="1600" dirty="0">
                <a:solidFill>
                  <a:srgbClr val="FFFFFF"/>
                </a:solidFill>
                <a:latin typeface="Corbel" charset="0"/>
                <a:ea typeface="Corbel" charset="0"/>
                <a:cs typeface="Corbel" charset="0"/>
              </a:rPr>
              <a:t>RATE OF CHANGE</a:t>
            </a:r>
          </a:p>
        </p:txBody>
      </p:sp>
    </p:spTree>
    <p:extLst>
      <p:ext uri="{BB962C8B-B14F-4D97-AF65-F5344CB8AC3E}">
        <p14:creationId xmlns:p14="http://schemas.microsoft.com/office/powerpoint/2010/main" val="385920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exity Equals Opportunity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2134632" y="1279981"/>
            <a:ext cx="7998916" cy="3018678"/>
            <a:chOff x="2133600" y="2139335"/>
            <a:chExt cx="8001000" cy="3441294"/>
          </a:xfrm>
        </p:grpSpPr>
        <p:cxnSp>
          <p:nvCxnSpPr>
            <p:cNvPr id="4" name="Straight Connector 3"/>
            <p:cNvCxnSpPr/>
            <p:nvPr/>
          </p:nvCxnSpPr>
          <p:spPr>
            <a:xfrm flipV="1">
              <a:off x="2133600" y="2139335"/>
              <a:ext cx="0" cy="3441294"/>
            </a:xfrm>
            <a:prstGeom prst="line">
              <a:avLst/>
            </a:prstGeom>
            <a:ln w="3175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/>
            <p:nvPr/>
          </p:nvCxnSpPr>
          <p:spPr>
            <a:xfrm flipV="1">
              <a:off x="4133850" y="2139335"/>
              <a:ext cx="0" cy="3441294"/>
            </a:xfrm>
            <a:prstGeom prst="line">
              <a:avLst/>
            </a:prstGeom>
            <a:ln w="3175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 flipV="1">
              <a:off x="6134100" y="2139335"/>
              <a:ext cx="0" cy="3441294"/>
            </a:xfrm>
            <a:prstGeom prst="line">
              <a:avLst/>
            </a:prstGeom>
            <a:ln w="3175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 flipV="1">
              <a:off x="8134350" y="2139335"/>
              <a:ext cx="0" cy="3441294"/>
            </a:xfrm>
            <a:prstGeom prst="line">
              <a:avLst/>
            </a:prstGeom>
            <a:ln w="3175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10134600" y="2139335"/>
              <a:ext cx="0" cy="3441294"/>
            </a:xfrm>
            <a:prstGeom prst="line">
              <a:avLst/>
            </a:prstGeom>
            <a:ln w="3175" cmpd="sng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36202" y="1261127"/>
            <a:ext cx="639913" cy="63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00514" y="1326429"/>
            <a:ext cx="548497" cy="54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00937" y="1219775"/>
            <a:ext cx="728416" cy="731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48748" y="1261127"/>
            <a:ext cx="639913" cy="63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848475" y="1261127"/>
            <a:ext cx="639913" cy="63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 Placeholder 16"/>
          <p:cNvSpPr txBox="1">
            <a:spLocks/>
          </p:cNvSpPr>
          <p:nvPr/>
        </p:nvSpPr>
        <p:spPr>
          <a:xfrm>
            <a:off x="134904" y="2723270"/>
            <a:ext cx="1999731" cy="1621814"/>
          </a:xfrm>
          <a:prstGeom prst="rect">
            <a:avLst/>
          </a:prstGeom>
        </p:spPr>
        <p:txBody>
          <a:bodyPr anchor="t"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lnSpc>
                <a:spcPct val="110000"/>
              </a:lnSpc>
              <a:spcBef>
                <a:spcPct val="0"/>
              </a:spcBef>
              <a:buClr>
                <a:srgbClr val="00B1E2"/>
              </a:buClr>
              <a:buNone/>
              <a:defRPr/>
            </a:pPr>
            <a:r>
              <a:rPr lang="en-US" sz="1400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By 2020, there will be 20.4B connected devices; </a:t>
            </a:r>
            <a:r>
              <a:rPr lang="en-US" sz="1400" dirty="0" err="1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IoT</a:t>
            </a:r>
            <a:r>
              <a:rPr lang="en-US" sz="1400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 hardware spending will reach almost </a:t>
            </a:r>
            <a:br>
              <a:rPr lang="en-US" sz="1400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</a:br>
            <a:r>
              <a:rPr lang="en-US" sz="1400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$3 trillion</a:t>
            </a:r>
          </a:p>
        </p:txBody>
      </p:sp>
      <p:sp>
        <p:nvSpPr>
          <p:cNvPr id="19" name="Text Placeholder 17"/>
          <p:cNvSpPr txBox="1">
            <a:spLocks/>
          </p:cNvSpPr>
          <p:nvPr/>
        </p:nvSpPr>
        <p:spPr>
          <a:xfrm>
            <a:off x="134902" y="2046676"/>
            <a:ext cx="1999730" cy="63017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buNone/>
              <a:defRPr/>
            </a:pPr>
            <a:r>
              <a:rPr lang="en-US" sz="1600" dirty="0">
                <a:solidFill>
                  <a:srgbClr val="1F2A44"/>
                </a:solidFill>
                <a:latin typeface="Corbel" charset="0"/>
                <a:ea typeface="Corbel" charset="0"/>
                <a:cs typeface="Corbel" charset="0"/>
              </a:rPr>
              <a:t>Connected Devices</a:t>
            </a:r>
          </a:p>
        </p:txBody>
      </p:sp>
      <p:sp>
        <p:nvSpPr>
          <p:cNvPr id="20" name="Text Placeholder 16"/>
          <p:cNvSpPr txBox="1">
            <a:spLocks/>
          </p:cNvSpPr>
          <p:nvPr/>
        </p:nvSpPr>
        <p:spPr>
          <a:xfrm>
            <a:off x="4134362" y="2723270"/>
            <a:ext cx="1999731" cy="1562594"/>
          </a:xfrm>
          <a:prstGeom prst="rect">
            <a:avLst/>
          </a:prstGeom>
        </p:spPr>
        <p:txBody>
          <a:bodyPr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lnSpc>
                <a:spcPct val="110000"/>
              </a:lnSpc>
              <a:spcBef>
                <a:spcPct val="0"/>
              </a:spcBef>
              <a:buClr>
                <a:srgbClr val="00B1E2"/>
              </a:buClr>
              <a:buNone/>
              <a:defRPr/>
            </a:pP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By the end of 2018, spending on IT </a:t>
            </a:r>
            <a:b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</a:b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as-a-service will </a:t>
            </a:r>
            <a:b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</a:b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be $547B worldwide</a:t>
            </a:r>
          </a:p>
        </p:txBody>
      </p:sp>
      <p:sp>
        <p:nvSpPr>
          <p:cNvPr id="21" name="Text Placeholder 17"/>
          <p:cNvSpPr txBox="1">
            <a:spLocks/>
          </p:cNvSpPr>
          <p:nvPr/>
        </p:nvSpPr>
        <p:spPr>
          <a:xfrm>
            <a:off x="4134352" y="2046676"/>
            <a:ext cx="1999730" cy="63017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buNone/>
              <a:defRPr/>
            </a:pPr>
            <a:r>
              <a:rPr lang="en-US" sz="1600">
                <a:solidFill>
                  <a:srgbClr val="1F2A44"/>
                </a:solidFill>
                <a:latin typeface="Corbel" charset="0"/>
                <a:ea typeface="Corbel" charset="0"/>
                <a:cs typeface="Corbel" charset="0"/>
              </a:rPr>
              <a:t>Technology</a:t>
            </a:r>
            <a:br>
              <a:rPr lang="en-US" sz="1600">
                <a:solidFill>
                  <a:srgbClr val="1F2A44"/>
                </a:solidFill>
                <a:latin typeface="Corbel" charset="0"/>
                <a:ea typeface="Corbel" charset="0"/>
                <a:cs typeface="Corbel" charset="0"/>
              </a:rPr>
            </a:br>
            <a:r>
              <a:rPr lang="en-US" sz="1600">
                <a:solidFill>
                  <a:srgbClr val="1F2A44"/>
                </a:solidFill>
                <a:latin typeface="Corbel" charset="0"/>
                <a:ea typeface="Corbel" charset="0"/>
                <a:cs typeface="Corbel" charset="0"/>
              </a:rPr>
              <a:t>as-a-Service</a:t>
            </a:r>
          </a:p>
        </p:txBody>
      </p:sp>
      <p:sp>
        <p:nvSpPr>
          <p:cNvPr id="22" name="Text Placeholder 16"/>
          <p:cNvSpPr txBox="1">
            <a:spLocks/>
          </p:cNvSpPr>
          <p:nvPr/>
        </p:nvSpPr>
        <p:spPr>
          <a:xfrm>
            <a:off x="6134086" y="2723269"/>
            <a:ext cx="1999731" cy="1562593"/>
          </a:xfrm>
          <a:prstGeom prst="rect">
            <a:avLst/>
          </a:prstGeom>
        </p:spPr>
        <p:txBody>
          <a:bodyPr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lnSpc>
                <a:spcPct val="110000"/>
              </a:lnSpc>
              <a:spcBef>
                <a:spcPct val="0"/>
              </a:spcBef>
              <a:buClr>
                <a:srgbClr val="00B1E2"/>
              </a:buClr>
              <a:buNone/>
              <a:defRPr/>
            </a:pP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By 2020, worldwide software market will exceed $500B with a CAGR of 7%, growing 2x faster than hardware</a:t>
            </a:r>
          </a:p>
        </p:txBody>
      </p:sp>
      <p:sp>
        <p:nvSpPr>
          <p:cNvPr id="23" name="Text Placeholder 17"/>
          <p:cNvSpPr txBox="1">
            <a:spLocks/>
          </p:cNvSpPr>
          <p:nvPr/>
        </p:nvSpPr>
        <p:spPr>
          <a:xfrm>
            <a:off x="6134087" y="2046676"/>
            <a:ext cx="1999730" cy="63017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buNone/>
              <a:defRPr/>
            </a:pPr>
            <a:r>
              <a:rPr lang="en-US" sz="1600">
                <a:solidFill>
                  <a:srgbClr val="1F2A44"/>
                </a:solidFill>
                <a:latin typeface="Corbel" charset="0"/>
                <a:ea typeface="Corbel" charset="0"/>
                <a:cs typeface="Corbel" charset="0"/>
              </a:rPr>
              <a:t>Software</a:t>
            </a:r>
          </a:p>
        </p:txBody>
      </p:sp>
      <p:sp>
        <p:nvSpPr>
          <p:cNvPr id="24" name="Text Placeholder 16"/>
          <p:cNvSpPr txBox="1">
            <a:spLocks/>
          </p:cNvSpPr>
          <p:nvPr/>
        </p:nvSpPr>
        <p:spPr>
          <a:xfrm>
            <a:off x="8133814" y="2723270"/>
            <a:ext cx="1999731" cy="1940937"/>
          </a:xfrm>
          <a:prstGeom prst="rect">
            <a:avLst/>
          </a:prstGeom>
        </p:spPr>
        <p:txBody>
          <a:bodyPr anchor="t"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lnSpc>
                <a:spcPct val="110000"/>
              </a:lnSpc>
              <a:spcBef>
                <a:spcPct val="0"/>
              </a:spcBef>
              <a:buClr>
                <a:srgbClr val="00B1E2"/>
              </a:buClr>
              <a:buNone/>
              <a:defRPr/>
            </a:pP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By 2019, 3rd Platform technologies and services will drive ~75% of IT spending, growing 2x the rate of the total </a:t>
            </a:r>
            <a:b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</a:b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IT market</a:t>
            </a:r>
          </a:p>
        </p:txBody>
      </p:sp>
      <p:sp>
        <p:nvSpPr>
          <p:cNvPr id="25" name="Text Placeholder 17"/>
          <p:cNvSpPr txBox="1">
            <a:spLocks/>
          </p:cNvSpPr>
          <p:nvPr/>
        </p:nvSpPr>
        <p:spPr>
          <a:xfrm>
            <a:off x="8133814" y="2046676"/>
            <a:ext cx="1999730" cy="63017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buNone/>
              <a:defRPr/>
            </a:pPr>
            <a:r>
              <a:rPr lang="en-US" sz="1600">
                <a:solidFill>
                  <a:srgbClr val="1F2A44"/>
                </a:solidFill>
                <a:latin typeface="Corbel" charset="0"/>
                <a:ea typeface="Corbel" charset="0"/>
                <a:cs typeface="Corbel" charset="0"/>
              </a:rPr>
              <a:t>Convergence</a:t>
            </a:r>
          </a:p>
        </p:txBody>
      </p:sp>
      <p:sp>
        <p:nvSpPr>
          <p:cNvPr id="26" name="Text Placeholder 16"/>
          <p:cNvSpPr txBox="1">
            <a:spLocks/>
          </p:cNvSpPr>
          <p:nvPr/>
        </p:nvSpPr>
        <p:spPr>
          <a:xfrm>
            <a:off x="10133539" y="2723268"/>
            <a:ext cx="1999731" cy="2046504"/>
          </a:xfrm>
          <a:prstGeom prst="rect">
            <a:avLst/>
          </a:prstGeom>
        </p:spPr>
        <p:txBody>
          <a:bodyPr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lnSpc>
                <a:spcPct val="110000"/>
              </a:lnSpc>
              <a:spcBef>
                <a:spcPct val="0"/>
              </a:spcBef>
              <a:buClr>
                <a:srgbClr val="00B1E2"/>
              </a:buClr>
              <a:buNone/>
              <a:defRPr/>
            </a:pP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By 2020, 90% of organizations will adopt hybrid infrastructure management capabilities</a:t>
            </a:r>
          </a:p>
          <a:p>
            <a:pPr marL="0" indent="0" algn="ctr" defTabSz="1217674">
              <a:lnSpc>
                <a:spcPct val="110000"/>
              </a:lnSpc>
              <a:spcBef>
                <a:spcPts val="600"/>
              </a:spcBef>
              <a:buClr>
                <a:srgbClr val="00B1E2"/>
              </a:buClr>
              <a:buNone/>
              <a:defRPr/>
            </a:pPr>
            <a:r>
              <a:rPr lang="en-US" sz="1400" i="1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”Multi Cloud is the new normal.”</a:t>
            </a:r>
          </a:p>
        </p:txBody>
      </p:sp>
      <p:sp>
        <p:nvSpPr>
          <p:cNvPr id="27" name="Text Placeholder 17"/>
          <p:cNvSpPr txBox="1">
            <a:spLocks/>
          </p:cNvSpPr>
          <p:nvPr/>
        </p:nvSpPr>
        <p:spPr>
          <a:xfrm>
            <a:off x="10133538" y="2046676"/>
            <a:ext cx="1999730" cy="63017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buNone/>
              <a:defRPr/>
            </a:pPr>
            <a:r>
              <a:rPr lang="en-US" sz="1600">
                <a:solidFill>
                  <a:srgbClr val="1F2A44"/>
                </a:solidFill>
                <a:latin typeface="Corbel" charset="0"/>
                <a:ea typeface="Corbel" charset="0"/>
                <a:cs typeface="Corbel" charset="0"/>
              </a:rPr>
              <a:t>DC/Hybrid Cloud</a:t>
            </a:r>
          </a:p>
        </p:txBody>
      </p:sp>
      <p:sp>
        <p:nvSpPr>
          <p:cNvPr id="28" name="Text Placeholder 16"/>
          <p:cNvSpPr txBox="1">
            <a:spLocks/>
          </p:cNvSpPr>
          <p:nvPr/>
        </p:nvSpPr>
        <p:spPr>
          <a:xfrm>
            <a:off x="2134632" y="2723268"/>
            <a:ext cx="1999731" cy="1394642"/>
          </a:xfrm>
          <a:prstGeom prst="rect">
            <a:avLst/>
          </a:prstGeom>
        </p:spPr>
        <p:txBody>
          <a:bodyPr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lnSpc>
                <a:spcPct val="110000"/>
              </a:lnSpc>
              <a:spcBef>
                <a:spcPct val="0"/>
              </a:spcBef>
              <a:buClr>
                <a:srgbClr val="00B1E2"/>
              </a:buClr>
              <a:buNone/>
              <a:defRPr/>
            </a:pP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By 2019, 40% of </a:t>
            </a:r>
            <a:b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</a:b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all data stored, processed and analyzed at </a:t>
            </a:r>
            <a:b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</a:b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the edge</a:t>
            </a:r>
          </a:p>
        </p:txBody>
      </p:sp>
      <p:sp>
        <p:nvSpPr>
          <p:cNvPr id="29" name="Text Placeholder 17"/>
          <p:cNvSpPr txBox="1">
            <a:spLocks/>
          </p:cNvSpPr>
          <p:nvPr/>
        </p:nvSpPr>
        <p:spPr>
          <a:xfrm>
            <a:off x="2134633" y="2046676"/>
            <a:ext cx="1999730" cy="63017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455750" indent="-455750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6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989310" indent="-379527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2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2870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2132653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2435" indent="-303304" algn="l" defTabSz="121797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3219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896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571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2247" indent="-304838" algn="l" defTabSz="12193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7674">
              <a:buNone/>
              <a:defRPr/>
            </a:pPr>
            <a:r>
              <a:rPr lang="en-US" sz="1600">
                <a:solidFill>
                  <a:srgbClr val="1F2A44"/>
                </a:solidFill>
                <a:latin typeface="Corbel" charset="0"/>
                <a:ea typeface="Corbel" charset="0"/>
                <a:cs typeface="Corbel" charset="0"/>
              </a:rPr>
              <a:t>Edge Computing</a:t>
            </a:r>
          </a:p>
        </p:txBody>
      </p:sp>
      <p:sp>
        <p:nvSpPr>
          <p:cNvPr id="43" name="Left-Right Arrow 42"/>
          <p:cNvSpPr/>
          <p:nvPr/>
        </p:nvSpPr>
        <p:spPr>
          <a:xfrm>
            <a:off x="134904" y="4664206"/>
            <a:ext cx="11998367" cy="1368354"/>
          </a:xfrm>
          <a:prstGeom prst="leftRightArrow">
            <a:avLst>
              <a:gd name="adj1" fmla="val 65448"/>
              <a:gd name="adj2" fmla="val 50000"/>
            </a:avLst>
          </a:prstGeom>
          <a:solidFill>
            <a:srgbClr val="00B4DE"/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433">
              <a:defRPr/>
            </a:pPr>
            <a:endParaRPr lang="nl-BE" sz="105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219996" y="5225307"/>
            <a:ext cx="105455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895083">
              <a:buClr>
                <a:srgbClr val="002960"/>
              </a:buClr>
              <a:defRPr/>
            </a:pPr>
            <a:r>
              <a:rPr lang="en-US" sz="1600" b="1">
                <a:solidFill>
                  <a:srgbClr val="1F2A44"/>
                </a:solidFill>
                <a:latin typeface="Work Sans SemiBold" charset="0"/>
                <a:ea typeface="Work Sans SemiBold" charset="0"/>
                <a:cs typeface="Work Sans SemiBold" charset="0"/>
              </a:rPr>
              <a:t>Security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314885" y="5225307"/>
            <a:ext cx="105455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895083">
              <a:buClr>
                <a:srgbClr val="002960"/>
              </a:buClr>
              <a:defRPr/>
            </a:pPr>
            <a:r>
              <a:rPr lang="en-US" sz="1600" b="1">
                <a:solidFill>
                  <a:srgbClr val="1F2A44"/>
                </a:solidFill>
                <a:latin typeface="Work Sans SemiBold" charset="0"/>
                <a:ea typeface="Work Sans SemiBold" charset="0"/>
                <a:cs typeface="Work Sans SemiBold" charset="0"/>
              </a:rPr>
              <a:t>Cloud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685549" y="5225307"/>
            <a:ext cx="1958413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895083">
              <a:buClr>
                <a:srgbClr val="002960"/>
              </a:buClr>
              <a:defRPr/>
            </a:pPr>
            <a:r>
              <a:rPr lang="en-US" sz="1600" b="1">
                <a:solidFill>
                  <a:srgbClr val="1F2A44"/>
                </a:solidFill>
                <a:latin typeface="Work Sans SemiBold" charset="0"/>
                <a:ea typeface="Work Sans SemiBold" charset="0"/>
                <a:cs typeface="Work Sans SemiBold" charset="0"/>
              </a:rPr>
              <a:t>Analytics / IoT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9813746" y="5225307"/>
            <a:ext cx="105455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895083">
              <a:buClr>
                <a:srgbClr val="002960"/>
              </a:buClr>
              <a:defRPr/>
            </a:pPr>
            <a:r>
              <a:rPr lang="en-US" sz="1600" b="1">
                <a:solidFill>
                  <a:srgbClr val="1F2A44"/>
                </a:solidFill>
                <a:latin typeface="Work Sans SemiBold" charset="0"/>
                <a:ea typeface="Work Sans SemiBold" charset="0"/>
                <a:cs typeface="Work Sans SemiBold" charset="0"/>
              </a:rPr>
              <a:t>Services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3901" y="5074135"/>
            <a:ext cx="548497" cy="548497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0206" y="5074135"/>
            <a:ext cx="548497" cy="548497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6136" y="5073038"/>
            <a:ext cx="548497" cy="550691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2694" y="5051611"/>
            <a:ext cx="591179" cy="593544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78713" y="1261127"/>
            <a:ext cx="637365" cy="63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450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IT Distributor of the Future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428577" y="1743336"/>
            <a:ext cx="2193989" cy="3564462"/>
          </a:xfrm>
          <a:prstGeom prst="rect">
            <a:avLst/>
          </a:prstGeom>
          <a:solidFill>
            <a:srgbClr val="00B4DE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>
              <a:defRPr/>
            </a:pPr>
            <a:endParaRPr lang="en-US" sz="3199">
              <a:solidFill>
                <a:prstClr val="white"/>
              </a:solidFill>
              <a:latin typeface="Corbel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7227131" y="1743337"/>
            <a:ext cx="2193989" cy="3564462"/>
          </a:xfrm>
          <a:prstGeom prst="rect">
            <a:avLst/>
          </a:prstGeom>
          <a:solidFill>
            <a:srgbClr val="00558C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>
              <a:defRPr/>
            </a:pPr>
            <a:endParaRPr lang="en-US" sz="3199">
              <a:solidFill>
                <a:prstClr val="white"/>
              </a:solidFill>
              <a:latin typeface="Corbel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22796" y="1743337"/>
            <a:ext cx="2193989" cy="3564462"/>
          </a:xfrm>
          <a:prstGeom prst="rect">
            <a:avLst/>
          </a:prstGeom>
          <a:solidFill>
            <a:srgbClr val="00B4DE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>
              <a:defRPr/>
            </a:pPr>
            <a:endParaRPr lang="en-US" sz="3199">
              <a:solidFill>
                <a:prstClr val="white"/>
              </a:solidFill>
              <a:latin typeface="Corbel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824241" y="1743336"/>
            <a:ext cx="2193989" cy="3564462"/>
          </a:xfrm>
          <a:prstGeom prst="rect">
            <a:avLst/>
          </a:prstGeom>
          <a:solidFill>
            <a:srgbClr val="00558C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>
              <a:defRPr/>
            </a:pPr>
            <a:endParaRPr lang="en-US" sz="3199">
              <a:solidFill>
                <a:prstClr val="white"/>
              </a:solidFill>
              <a:latin typeface="Corbel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025686" y="1743334"/>
            <a:ext cx="2193989" cy="3564464"/>
          </a:xfrm>
          <a:prstGeom prst="rect">
            <a:avLst/>
          </a:prstGeom>
          <a:solidFill>
            <a:srgbClr val="CDD82B"/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>
              <a:defRPr/>
            </a:pPr>
            <a:endParaRPr lang="en-US" sz="3199">
              <a:solidFill>
                <a:prstClr val="white"/>
              </a:solidFill>
              <a:latin typeface="Corbe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69444" y="5672794"/>
            <a:ext cx="10796498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 algn="ctr">
              <a:lnSpc>
                <a:spcPct val="110000"/>
              </a:lnSpc>
              <a:defRPr sz="14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609433">
              <a:defRPr/>
            </a:pPr>
            <a:r>
              <a:rPr lang="en-US" sz="1866">
                <a:latin typeface="Corbel" charset="0"/>
                <a:ea typeface="Corbel" charset="0"/>
                <a:cs typeface="Corbel" charset="0"/>
              </a:rPr>
              <a:t>Tech Data Is the Premier Global IT Distributor with the Most Complete End-to-End Solutions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893784" y="3188258"/>
            <a:ext cx="20440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33">
              <a:defRPr/>
            </a:pPr>
            <a:r>
              <a:rPr lang="en-US" sz="1600" b="1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END-TO-END PORTFOLIO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166492" y="3188258"/>
            <a:ext cx="20440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33">
              <a:defRPr/>
            </a:pPr>
            <a:r>
              <a:rPr lang="en-US" sz="1600" b="1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SPECIALIZED SKILL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284712" y="3188258"/>
            <a:ext cx="20440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33">
              <a:defRPr/>
            </a:pPr>
            <a:r>
              <a:rPr lang="en-US" sz="1600" b="1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WORLD-CLASS </a:t>
            </a:r>
            <a:br>
              <a:rPr lang="en-US" sz="1600" b="1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</a:br>
            <a:r>
              <a:rPr lang="en-US" sz="1600" b="1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IT SYSTEM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481544" y="3196240"/>
            <a:ext cx="20440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33">
              <a:defRPr/>
            </a:pPr>
            <a:r>
              <a:rPr lang="en-US" sz="1600" b="1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FINANCIAL STRENGTH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893785" y="3958473"/>
            <a:ext cx="20063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33">
              <a:defRPr/>
            </a:pP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Breadth and depth of products, solutions and services across the IT continuum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153482" y="3958472"/>
            <a:ext cx="20063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33">
              <a:defRPr/>
            </a:pP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Extensive technical capabilities / skills and deep domain knowledge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299536" y="3958471"/>
            <a:ext cx="193658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33">
              <a:defRPr/>
            </a:pP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Consistent global execution that  delivers efficiency and speed to market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9515654" y="3958473"/>
            <a:ext cx="210691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33">
              <a:defRPr/>
            </a:pP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Well-capitalized with ability to invest and generate strong cash flow and ROIC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27113" y="3188257"/>
            <a:ext cx="21456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33">
              <a:defRPr/>
            </a:pPr>
            <a:r>
              <a:rPr lang="en-US" sz="1600" b="1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GLOBAL FOOTPRINT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97569" y="3958472"/>
            <a:ext cx="20063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433">
              <a:defRPr/>
            </a:pPr>
            <a:r>
              <a:rPr lang="en-US" sz="14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Global competence with local execu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2465" y="2102053"/>
            <a:ext cx="503142" cy="503142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2934" y="2088356"/>
            <a:ext cx="511782" cy="511782"/>
          </a:xfrm>
          <a:prstGeom prst="rect">
            <a:avLst/>
          </a:prstGeom>
        </p:spPr>
      </p:pic>
      <p:cxnSp>
        <p:nvCxnSpPr>
          <p:cNvPr id="38" name="Straight Connector 37"/>
          <p:cNvCxnSpPr/>
          <p:nvPr/>
        </p:nvCxnSpPr>
        <p:spPr>
          <a:xfrm>
            <a:off x="839974" y="2901381"/>
            <a:ext cx="1791396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2984304" y="2901381"/>
            <a:ext cx="1842725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5275353" y="2901381"/>
            <a:ext cx="1738986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7374540" y="2901381"/>
            <a:ext cx="1793715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9552728" y="2901381"/>
            <a:ext cx="1766862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5444" y="2066422"/>
            <a:ext cx="354438" cy="53165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62739" y="2127861"/>
            <a:ext cx="466822" cy="46682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73104" y="2189505"/>
            <a:ext cx="643500" cy="378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126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>
            <a:spLocks/>
          </p:cNvSpPr>
          <p:nvPr/>
        </p:nvSpPr>
        <p:spPr>
          <a:xfrm>
            <a:off x="8510911" y="3376616"/>
            <a:ext cx="2714946" cy="16409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4799" lvl="1" indent="0" defTabSz="895127">
              <a:buClr>
                <a:srgbClr val="21314D"/>
              </a:buClr>
              <a:buNone/>
              <a:defRPr/>
            </a:pPr>
            <a:r>
              <a:rPr lang="en-US" sz="2666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Tech Data is well positioned with an end-to-end value proposition</a:t>
            </a:r>
          </a:p>
        </p:txBody>
      </p:sp>
      <p:sp>
        <p:nvSpPr>
          <p:cNvPr id="23" name="Freeform 36"/>
          <p:cNvSpPr>
            <a:spLocks noEditPoints="1"/>
          </p:cNvSpPr>
          <p:nvPr/>
        </p:nvSpPr>
        <p:spPr bwMode="auto">
          <a:xfrm>
            <a:off x="8510912" y="2125504"/>
            <a:ext cx="754185" cy="715971"/>
          </a:xfrm>
          <a:custGeom>
            <a:avLst/>
            <a:gdLst>
              <a:gd name="T0" fmla="*/ 1540 w 4121"/>
              <a:gd name="T1" fmla="*/ 3282 h 3343"/>
              <a:gd name="T2" fmla="*/ 778 w 4121"/>
              <a:gd name="T3" fmla="*/ 3226 h 3343"/>
              <a:gd name="T4" fmla="*/ 438 w 4121"/>
              <a:gd name="T5" fmla="*/ 3310 h 3343"/>
              <a:gd name="T6" fmla="*/ 34 w 4121"/>
              <a:gd name="T7" fmla="*/ 2895 h 3343"/>
              <a:gd name="T8" fmla="*/ 270 w 4121"/>
              <a:gd name="T9" fmla="*/ 2100 h 3343"/>
              <a:gd name="T10" fmla="*/ 700 w 4121"/>
              <a:gd name="T11" fmla="*/ 2130 h 3343"/>
              <a:gd name="T12" fmla="*/ 872 w 4121"/>
              <a:gd name="T13" fmla="*/ 2141 h 3343"/>
              <a:gd name="T14" fmla="*/ 1724 w 4121"/>
              <a:gd name="T15" fmla="*/ 2211 h 3343"/>
              <a:gd name="T16" fmla="*/ 2790 w 4121"/>
              <a:gd name="T17" fmla="*/ 2436 h 3343"/>
              <a:gd name="T18" fmla="*/ 2329 w 4121"/>
              <a:gd name="T19" fmla="*/ 2682 h 3343"/>
              <a:gd name="T20" fmla="*/ 1939 w 4121"/>
              <a:gd name="T21" fmla="*/ 2761 h 3343"/>
              <a:gd name="T22" fmla="*/ 3720 w 4121"/>
              <a:gd name="T23" fmla="*/ 2207 h 3343"/>
              <a:gd name="T24" fmla="*/ 4057 w 4121"/>
              <a:gd name="T25" fmla="*/ 2423 h 3343"/>
              <a:gd name="T26" fmla="*/ 2726 w 4121"/>
              <a:gd name="T27" fmla="*/ 3310 h 3343"/>
              <a:gd name="T28" fmla="*/ 453 w 4121"/>
              <a:gd name="T29" fmla="*/ 3123 h 3343"/>
              <a:gd name="T30" fmla="*/ 326 w 4121"/>
              <a:gd name="T31" fmla="*/ 2928 h 3343"/>
              <a:gd name="T32" fmla="*/ 453 w 4121"/>
              <a:gd name="T33" fmla="*/ 3123 h 3343"/>
              <a:gd name="T34" fmla="*/ 2907 w 4121"/>
              <a:gd name="T35" fmla="*/ 2395 h 3343"/>
              <a:gd name="T36" fmla="*/ 3521 w 4121"/>
              <a:gd name="T37" fmla="*/ 2044 h 3343"/>
              <a:gd name="T38" fmla="*/ 3643 w 4121"/>
              <a:gd name="T39" fmla="*/ 2095 h 3343"/>
              <a:gd name="T40" fmla="*/ 2952 w 4121"/>
              <a:gd name="T41" fmla="*/ 2525 h 3343"/>
              <a:gd name="T42" fmla="*/ 2747 w 4121"/>
              <a:gd name="T43" fmla="*/ 2255 h 3343"/>
              <a:gd name="T44" fmla="*/ 2614 w 4121"/>
              <a:gd name="T45" fmla="*/ 2234 h 3343"/>
              <a:gd name="T46" fmla="*/ 3199 w 4121"/>
              <a:gd name="T47" fmla="*/ 2009 h 3343"/>
              <a:gd name="T48" fmla="*/ 2806 w 4121"/>
              <a:gd name="T49" fmla="*/ 2274 h 3343"/>
              <a:gd name="T50" fmla="*/ 2084 w 4121"/>
              <a:gd name="T51" fmla="*/ 2075 h 3343"/>
              <a:gd name="T52" fmla="*/ 2007 w 4121"/>
              <a:gd name="T53" fmla="*/ 1689 h 3343"/>
              <a:gd name="T54" fmla="*/ 1615 w 4121"/>
              <a:gd name="T55" fmla="*/ 1604 h 3343"/>
              <a:gd name="T56" fmla="*/ 1870 w 4121"/>
              <a:gd name="T57" fmla="*/ 1329 h 3343"/>
              <a:gd name="T58" fmla="*/ 2007 w 4121"/>
              <a:gd name="T59" fmla="*/ 1188 h 3343"/>
              <a:gd name="T60" fmla="*/ 2341 w 4121"/>
              <a:gd name="T61" fmla="*/ 1000 h 3343"/>
              <a:gd name="T62" fmla="*/ 2367 w 4121"/>
              <a:gd name="T63" fmla="*/ 1326 h 3343"/>
              <a:gd name="T64" fmla="*/ 2736 w 4121"/>
              <a:gd name="T65" fmla="*/ 1363 h 3343"/>
              <a:gd name="T66" fmla="*/ 2533 w 4121"/>
              <a:gd name="T67" fmla="*/ 1687 h 3343"/>
              <a:gd name="T68" fmla="*/ 2367 w 4121"/>
              <a:gd name="T69" fmla="*/ 1830 h 3343"/>
              <a:gd name="T70" fmla="*/ 2084 w 4121"/>
              <a:gd name="T71" fmla="*/ 2075 h 3343"/>
              <a:gd name="T72" fmla="*/ 3007 w 4121"/>
              <a:gd name="T73" fmla="*/ 961 h 3343"/>
              <a:gd name="T74" fmla="*/ 2900 w 4121"/>
              <a:gd name="T75" fmla="*/ 862 h 3343"/>
              <a:gd name="T76" fmla="*/ 2726 w 4121"/>
              <a:gd name="T77" fmla="*/ 647 h 3343"/>
              <a:gd name="T78" fmla="*/ 3000 w 4121"/>
              <a:gd name="T79" fmla="*/ 602 h 3343"/>
              <a:gd name="T80" fmla="*/ 3077 w 4121"/>
              <a:gd name="T81" fmla="*/ 296 h 3343"/>
              <a:gd name="T82" fmla="*/ 3274 w 4121"/>
              <a:gd name="T83" fmla="*/ 477 h 3343"/>
              <a:gd name="T84" fmla="*/ 3403 w 4121"/>
              <a:gd name="T85" fmla="*/ 606 h 3343"/>
              <a:gd name="T86" fmla="*/ 3552 w 4121"/>
              <a:gd name="T87" fmla="*/ 823 h 3343"/>
              <a:gd name="T88" fmla="*/ 3274 w 4121"/>
              <a:gd name="T89" fmla="*/ 862 h 3343"/>
              <a:gd name="T90" fmla="*/ 3137 w 4121"/>
              <a:gd name="T91" fmla="*/ 1182 h 3343"/>
              <a:gd name="T92" fmla="*/ 1553 w 4121"/>
              <a:gd name="T93" fmla="*/ 796 h 3343"/>
              <a:gd name="T94" fmla="*/ 1514 w 4121"/>
              <a:gd name="T95" fmla="*/ 558 h 3343"/>
              <a:gd name="T96" fmla="*/ 1268 w 4121"/>
              <a:gd name="T97" fmla="*/ 516 h 3343"/>
              <a:gd name="T98" fmla="*/ 1396 w 4121"/>
              <a:gd name="T99" fmla="*/ 329 h 3343"/>
              <a:gd name="T100" fmla="*/ 1514 w 4121"/>
              <a:gd name="T101" fmla="*/ 211 h 3343"/>
              <a:gd name="T102" fmla="*/ 1740 w 4121"/>
              <a:gd name="T103" fmla="*/ 234 h 3343"/>
              <a:gd name="T104" fmla="*/ 1841 w 4121"/>
              <a:gd name="T105" fmla="*/ 329 h 3343"/>
              <a:gd name="T106" fmla="*/ 1994 w 4121"/>
              <a:gd name="T107" fmla="*/ 501 h 3343"/>
              <a:gd name="T108" fmla="*/ 1740 w 4121"/>
              <a:gd name="T109" fmla="*/ 555 h 3343"/>
              <a:gd name="T110" fmla="*/ 1667 w 4121"/>
              <a:gd name="T111" fmla="*/ 822 h 3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121" h="3343">
                <a:moveTo>
                  <a:pt x="2094" y="3322"/>
                </a:moveTo>
                <a:cubicBezTo>
                  <a:pt x="1962" y="3312"/>
                  <a:pt x="1713" y="3294"/>
                  <a:pt x="1540" y="3282"/>
                </a:cubicBezTo>
                <a:cubicBezTo>
                  <a:pt x="995" y="3246"/>
                  <a:pt x="841" y="3232"/>
                  <a:pt x="815" y="3219"/>
                </a:cubicBezTo>
                <a:cubicBezTo>
                  <a:pt x="796" y="3209"/>
                  <a:pt x="787" y="3211"/>
                  <a:pt x="778" y="3226"/>
                </a:cubicBezTo>
                <a:cubicBezTo>
                  <a:pt x="772" y="3237"/>
                  <a:pt x="746" y="3259"/>
                  <a:pt x="721" y="3275"/>
                </a:cubicBezTo>
                <a:cubicBezTo>
                  <a:pt x="681" y="3300"/>
                  <a:pt x="649" y="3304"/>
                  <a:pt x="438" y="3310"/>
                </a:cubicBezTo>
                <a:cubicBezTo>
                  <a:pt x="220" y="3317"/>
                  <a:pt x="197" y="3316"/>
                  <a:pt x="154" y="3292"/>
                </a:cubicBezTo>
                <a:cubicBezTo>
                  <a:pt x="65" y="3242"/>
                  <a:pt x="50" y="3195"/>
                  <a:pt x="34" y="2895"/>
                </a:cubicBezTo>
                <a:cubicBezTo>
                  <a:pt x="0" y="2258"/>
                  <a:pt x="0" y="2261"/>
                  <a:pt x="36" y="2210"/>
                </a:cubicBezTo>
                <a:cubicBezTo>
                  <a:pt x="92" y="2128"/>
                  <a:pt x="127" y="2112"/>
                  <a:pt x="270" y="2100"/>
                </a:cubicBezTo>
                <a:cubicBezTo>
                  <a:pt x="342" y="2095"/>
                  <a:pt x="455" y="2090"/>
                  <a:pt x="522" y="2089"/>
                </a:cubicBezTo>
                <a:cubicBezTo>
                  <a:pt x="637" y="2089"/>
                  <a:pt x="646" y="2091"/>
                  <a:pt x="700" y="2130"/>
                </a:cubicBezTo>
                <a:lnTo>
                  <a:pt x="757" y="2171"/>
                </a:lnTo>
                <a:lnTo>
                  <a:pt x="872" y="2141"/>
                </a:lnTo>
                <a:cubicBezTo>
                  <a:pt x="966" y="2116"/>
                  <a:pt x="1021" y="2110"/>
                  <a:pt x="1174" y="2111"/>
                </a:cubicBezTo>
                <a:cubicBezTo>
                  <a:pt x="1377" y="2111"/>
                  <a:pt x="1496" y="2133"/>
                  <a:pt x="1724" y="2211"/>
                </a:cubicBezTo>
                <a:cubicBezTo>
                  <a:pt x="1951" y="2288"/>
                  <a:pt x="2113" y="2315"/>
                  <a:pt x="2498" y="2341"/>
                </a:cubicBezTo>
                <a:cubicBezTo>
                  <a:pt x="2704" y="2355"/>
                  <a:pt x="2758" y="2373"/>
                  <a:pt x="2790" y="2436"/>
                </a:cubicBezTo>
                <a:cubicBezTo>
                  <a:pt x="2826" y="2507"/>
                  <a:pt x="2805" y="2605"/>
                  <a:pt x="2745" y="2645"/>
                </a:cubicBezTo>
                <a:cubicBezTo>
                  <a:pt x="2713" y="2665"/>
                  <a:pt x="2658" y="2670"/>
                  <a:pt x="2329" y="2682"/>
                </a:cubicBezTo>
                <a:cubicBezTo>
                  <a:pt x="1999" y="2694"/>
                  <a:pt x="1948" y="2698"/>
                  <a:pt x="1936" y="2718"/>
                </a:cubicBezTo>
                <a:cubicBezTo>
                  <a:pt x="1926" y="2734"/>
                  <a:pt x="1927" y="2746"/>
                  <a:pt x="1939" y="2761"/>
                </a:cubicBezTo>
                <a:cubicBezTo>
                  <a:pt x="1965" y="2792"/>
                  <a:pt x="2661" y="2792"/>
                  <a:pt x="2766" y="2761"/>
                </a:cubicBezTo>
                <a:cubicBezTo>
                  <a:pt x="2827" y="2743"/>
                  <a:pt x="3037" y="2621"/>
                  <a:pt x="3720" y="2207"/>
                </a:cubicBezTo>
                <a:cubicBezTo>
                  <a:pt x="3852" y="2127"/>
                  <a:pt x="3892" y="2118"/>
                  <a:pt x="3970" y="2152"/>
                </a:cubicBezTo>
                <a:cubicBezTo>
                  <a:pt x="4080" y="2201"/>
                  <a:pt x="4121" y="2328"/>
                  <a:pt x="4057" y="2423"/>
                </a:cubicBezTo>
                <a:cubicBezTo>
                  <a:pt x="4016" y="2483"/>
                  <a:pt x="3051" y="3166"/>
                  <a:pt x="2906" y="3237"/>
                </a:cubicBezTo>
                <a:cubicBezTo>
                  <a:pt x="2846" y="3266"/>
                  <a:pt x="2765" y="3299"/>
                  <a:pt x="2726" y="3310"/>
                </a:cubicBezTo>
                <a:cubicBezTo>
                  <a:pt x="2623" y="3339"/>
                  <a:pt x="2371" y="3343"/>
                  <a:pt x="2094" y="3322"/>
                </a:cubicBezTo>
                <a:close/>
                <a:moveTo>
                  <a:pt x="453" y="3123"/>
                </a:moveTo>
                <a:cubicBezTo>
                  <a:pt x="539" y="3087"/>
                  <a:pt x="556" y="2982"/>
                  <a:pt x="486" y="2923"/>
                </a:cubicBezTo>
                <a:cubicBezTo>
                  <a:pt x="430" y="2876"/>
                  <a:pt x="376" y="2878"/>
                  <a:pt x="326" y="2928"/>
                </a:cubicBezTo>
                <a:cubicBezTo>
                  <a:pt x="264" y="2989"/>
                  <a:pt x="282" y="3089"/>
                  <a:pt x="360" y="3123"/>
                </a:cubicBezTo>
                <a:cubicBezTo>
                  <a:pt x="410" y="3145"/>
                  <a:pt x="400" y="3145"/>
                  <a:pt x="453" y="3123"/>
                </a:cubicBezTo>
                <a:close/>
                <a:moveTo>
                  <a:pt x="2923" y="2480"/>
                </a:moveTo>
                <a:cubicBezTo>
                  <a:pt x="2919" y="2452"/>
                  <a:pt x="2912" y="2414"/>
                  <a:pt x="2907" y="2395"/>
                </a:cubicBezTo>
                <a:cubicBezTo>
                  <a:pt x="2899" y="2363"/>
                  <a:pt x="2912" y="2355"/>
                  <a:pt x="3210" y="2203"/>
                </a:cubicBezTo>
                <a:lnTo>
                  <a:pt x="3521" y="2044"/>
                </a:lnTo>
                <a:lnTo>
                  <a:pt x="3580" y="2063"/>
                </a:lnTo>
                <a:cubicBezTo>
                  <a:pt x="3612" y="2073"/>
                  <a:pt x="3640" y="2088"/>
                  <a:pt x="3643" y="2095"/>
                </a:cubicBezTo>
                <a:cubicBezTo>
                  <a:pt x="3645" y="2103"/>
                  <a:pt x="3622" y="2124"/>
                  <a:pt x="3590" y="2143"/>
                </a:cubicBezTo>
                <a:cubicBezTo>
                  <a:pt x="3152" y="2411"/>
                  <a:pt x="2970" y="2520"/>
                  <a:pt x="2952" y="2525"/>
                </a:cubicBezTo>
                <a:cubicBezTo>
                  <a:pt x="2935" y="2530"/>
                  <a:pt x="2928" y="2519"/>
                  <a:pt x="2923" y="2480"/>
                </a:cubicBezTo>
                <a:close/>
                <a:moveTo>
                  <a:pt x="2747" y="2255"/>
                </a:moveTo>
                <a:cubicBezTo>
                  <a:pt x="2725" y="2245"/>
                  <a:pt x="2686" y="2236"/>
                  <a:pt x="2660" y="2235"/>
                </a:cubicBezTo>
                <a:lnTo>
                  <a:pt x="2614" y="2234"/>
                </a:lnTo>
                <a:lnTo>
                  <a:pt x="2654" y="2215"/>
                </a:lnTo>
                <a:cubicBezTo>
                  <a:pt x="2754" y="2167"/>
                  <a:pt x="3174" y="2009"/>
                  <a:pt x="3199" y="2009"/>
                </a:cubicBezTo>
                <a:cubicBezTo>
                  <a:pt x="3239" y="2009"/>
                  <a:pt x="3287" y="2023"/>
                  <a:pt x="3287" y="2035"/>
                </a:cubicBezTo>
                <a:cubicBezTo>
                  <a:pt x="3287" y="2048"/>
                  <a:pt x="2830" y="2276"/>
                  <a:pt x="2806" y="2274"/>
                </a:cubicBezTo>
                <a:cubicBezTo>
                  <a:pt x="2796" y="2274"/>
                  <a:pt x="2769" y="2265"/>
                  <a:pt x="2747" y="2255"/>
                </a:cubicBezTo>
                <a:close/>
                <a:moveTo>
                  <a:pt x="2084" y="2075"/>
                </a:moveTo>
                <a:cubicBezTo>
                  <a:pt x="2022" y="2024"/>
                  <a:pt x="2007" y="1972"/>
                  <a:pt x="2007" y="1812"/>
                </a:cubicBezTo>
                <a:lnTo>
                  <a:pt x="2007" y="1689"/>
                </a:lnTo>
                <a:lnTo>
                  <a:pt x="1870" y="1689"/>
                </a:lnTo>
                <a:cubicBezTo>
                  <a:pt x="1718" y="1689"/>
                  <a:pt x="1663" y="1670"/>
                  <a:pt x="1615" y="1604"/>
                </a:cubicBezTo>
                <a:cubicBezTo>
                  <a:pt x="1578" y="1554"/>
                  <a:pt x="1578" y="1463"/>
                  <a:pt x="1615" y="1413"/>
                </a:cubicBezTo>
                <a:cubicBezTo>
                  <a:pt x="1663" y="1347"/>
                  <a:pt x="1718" y="1329"/>
                  <a:pt x="1870" y="1329"/>
                </a:cubicBezTo>
                <a:lnTo>
                  <a:pt x="2007" y="1329"/>
                </a:lnTo>
                <a:lnTo>
                  <a:pt x="2007" y="1188"/>
                </a:lnTo>
                <a:cubicBezTo>
                  <a:pt x="2007" y="1076"/>
                  <a:pt x="2012" y="1038"/>
                  <a:pt x="2032" y="998"/>
                </a:cubicBezTo>
                <a:cubicBezTo>
                  <a:pt x="2099" y="868"/>
                  <a:pt x="2282" y="869"/>
                  <a:pt x="2341" y="1000"/>
                </a:cubicBezTo>
                <a:cubicBezTo>
                  <a:pt x="2361" y="1042"/>
                  <a:pt x="2367" y="1087"/>
                  <a:pt x="2367" y="1191"/>
                </a:cubicBezTo>
                <a:lnTo>
                  <a:pt x="2367" y="1326"/>
                </a:lnTo>
                <a:lnTo>
                  <a:pt x="2533" y="1331"/>
                </a:lnTo>
                <a:cubicBezTo>
                  <a:pt x="2676" y="1335"/>
                  <a:pt x="2704" y="1339"/>
                  <a:pt x="2736" y="1363"/>
                </a:cubicBezTo>
                <a:cubicBezTo>
                  <a:pt x="2836" y="1437"/>
                  <a:pt x="2836" y="1580"/>
                  <a:pt x="2736" y="1654"/>
                </a:cubicBezTo>
                <a:cubicBezTo>
                  <a:pt x="2704" y="1678"/>
                  <a:pt x="2675" y="1683"/>
                  <a:pt x="2533" y="1687"/>
                </a:cubicBezTo>
                <a:lnTo>
                  <a:pt x="2367" y="1691"/>
                </a:lnTo>
                <a:lnTo>
                  <a:pt x="2367" y="1830"/>
                </a:lnTo>
                <a:cubicBezTo>
                  <a:pt x="2367" y="1993"/>
                  <a:pt x="2349" y="2049"/>
                  <a:pt x="2284" y="2088"/>
                </a:cubicBezTo>
                <a:cubicBezTo>
                  <a:pt x="2218" y="2129"/>
                  <a:pt x="2144" y="2124"/>
                  <a:pt x="2084" y="2075"/>
                </a:cubicBezTo>
                <a:close/>
                <a:moveTo>
                  <a:pt x="3062" y="1154"/>
                </a:moveTo>
                <a:cubicBezTo>
                  <a:pt x="3019" y="1114"/>
                  <a:pt x="3007" y="1073"/>
                  <a:pt x="3007" y="961"/>
                </a:cubicBezTo>
                <a:lnTo>
                  <a:pt x="3007" y="862"/>
                </a:lnTo>
                <a:lnTo>
                  <a:pt x="2900" y="862"/>
                </a:lnTo>
                <a:cubicBezTo>
                  <a:pt x="2775" y="862"/>
                  <a:pt x="2725" y="842"/>
                  <a:pt x="2701" y="783"/>
                </a:cubicBezTo>
                <a:cubicBezTo>
                  <a:pt x="2681" y="736"/>
                  <a:pt x="2689" y="692"/>
                  <a:pt x="2726" y="647"/>
                </a:cubicBezTo>
                <a:cubicBezTo>
                  <a:pt x="2748" y="619"/>
                  <a:pt x="2765" y="615"/>
                  <a:pt x="2876" y="609"/>
                </a:cubicBezTo>
                <a:lnTo>
                  <a:pt x="3000" y="602"/>
                </a:lnTo>
                <a:lnTo>
                  <a:pt x="3008" y="489"/>
                </a:lnTo>
                <a:cubicBezTo>
                  <a:pt x="3015" y="368"/>
                  <a:pt x="3029" y="329"/>
                  <a:pt x="3077" y="296"/>
                </a:cubicBezTo>
                <a:cubicBezTo>
                  <a:pt x="3122" y="264"/>
                  <a:pt x="3175" y="271"/>
                  <a:pt x="3223" y="314"/>
                </a:cubicBezTo>
                <a:cubicBezTo>
                  <a:pt x="3266" y="352"/>
                  <a:pt x="3267" y="357"/>
                  <a:pt x="3274" y="477"/>
                </a:cubicBezTo>
                <a:lnTo>
                  <a:pt x="3280" y="602"/>
                </a:lnTo>
                <a:lnTo>
                  <a:pt x="3403" y="606"/>
                </a:lnTo>
                <a:cubicBezTo>
                  <a:pt x="3521" y="609"/>
                  <a:pt x="3527" y="611"/>
                  <a:pt x="3560" y="650"/>
                </a:cubicBezTo>
                <a:cubicBezTo>
                  <a:pt x="3609" y="708"/>
                  <a:pt x="3606" y="773"/>
                  <a:pt x="3552" y="823"/>
                </a:cubicBezTo>
                <a:cubicBezTo>
                  <a:pt x="3513" y="860"/>
                  <a:pt x="3505" y="862"/>
                  <a:pt x="3392" y="862"/>
                </a:cubicBezTo>
                <a:lnTo>
                  <a:pt x="3274" y="862"/>
                </a:lnTo>
                <a:lnTo>
                  <a:pt x="3274" y="969"/>
                </a:lnTo>
                <a:cubicBezTo>
                  <a:pt x="3274" y="1126"/>
                  <a:pt x="3238" y="1182"/>
                  <a:pt x="3137" y="1182"/>
                </a:cubicBezTo>
                <a:cubicBezTo>
                  <a:pt x="3110" y="1182"/>
                  <a:pt x="3080" y="1171"/>
                  <a:pt x="3062" y="1154"/>
                </a:cubicBezTo>
                <a:close/>
                <a:moveTo>
                  <a:pt x="1553" y="796"/>
                </a:moveTo>
                <a:cubicBezTo>
                  <a:pt x="1517" y="760"/>
                  <a:pt x="1514" y="750"/>
                  <a:pt x="1514" y="658"/>
                </a:cubicBezTo>
                <a:lnTo>
                  <a:pt x="1514" y="558"/>
                </a:lnTo>
                <a:lnTo>
                  <a:pt x="1408" y="553"/>
                </a:lnTo>
                <a:cubicBezTo>
                  <a:pt x="1318" y="549"/>
                  <a:pt x="1297" y="544"/>
                  <a:pt x="1268" y="516"/>
                </a:cubicBezTo>
                <a:cubicBezTo>
                  <a:pt x="1227" y="477"/>
                  <a:pt x="1223" y="417"/>
                  <a:pt x="1259" y="369"/>
                </a:cubicBezTo>
                <a:cubicBezTo>
                  <a:pt x="1282" y="340"/>
                  <a:pt x="1298" y="336"/>
                  <a:pt x="1396" y="329"/>
                </a:cubicBezTo>
                <a:lnTo>
                  <a:pt x="1507" y="322"/>
                </a:lnTo>
                <a:lnTo>
                  <a:pt x="1514" y="211"/>
                </a:lnTo>
                <a:cubicBezTo>
                  <a:pt x="1519" y="114"/>
                  <a:pt x="1525" y="96"/>
                  <a:pt x="1552" y="74"/>
                </a:cubicBezTo>
                <a:cubicBezTo>
                  <a:pt x="1643" y="0"/>
                  <a:pt x="1745" y="86"/>
                  <a:pt x="1740" y="234"/>
                </a:cubicBezTo>
                <a:cubicBezTo>
                  <a:pt x="1739" y="268"/>
                  <a:pt x="1739" y="303"/>
                  <a:pt x="1739" y="312"/>
                </a:cubicBezTo>
                <a:cubicBezTo>
                  <a:pt x="1740" y="324"/>
                  <a:pt x="1770" y="329"/>
                  <a:pt x="1841" y="329"/>
                </a:cubicBezTo>
                <a:cubicBezTo>
                  <a:pt x="1930" y="329"/>
                  <a:pt x="1945" y="332"/>
                  <a:pt x="1974" y="361"/>
                </a:cubicBezTo>
                <a:cubicBezTo>
                  <a:pt x="2009" y="396"/>
                  <a:pt x="2018" y="457"/>
                  <a:pt x="1994" y="501"/>
                </a:cubicBezTo>
                <a:cubicBezTo>
                  <a:pt x="1976" y="535"/>
                  <a:pt x="1911" y="555"/>
                  <a:pt x="1818" y="555"/>
                </a:cubicBezTo>
                <a:lnTo>
                  <a:pt x="1740" y="555"/>
                </a:lnTo>
                <a:lnTo>
                  <a:pt x="1740" y="636"/>
                </a:lnTo>
                <a:cubicBezTo>
                  <a:pt x="1740" y="736"/>
                  <a:pt x="1713" y="804"/>
                  <a:pt x="1667" y="822"/>
                </a:cubicBezTo>
                <a:cubicBezTo>
                  <a:pt x="1613" y="842"/>
                  <a:pt x="1595" y="838"/>
                  <a:pt x="1553" y="796"/>
                </a:cubicBezTo>
                <a:close/>
              </a:path>
            </a:pathLst>
          </a:custGeom>
          <a:solidFill>
            <a:srgbClr val="CCD814"/>
          </a:solidFill>
          <a:ln w="0">
            <a:noFill/>
            <a:prstDash val="solid"/>
            <a:round/>
            <a:headEnd/>
            <a:tailEnd/>
          </a:ln>
          <a:effectLst>
            <a:reflection blurRad="6350" stA="52000" endA="300" endPos="35000" dir="5400000" sy="-100000" algn="bl" rotWithShape="0"/>
          </a:effectLst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4651355" y="3376616"/>
            <a:ext cx="2429910" cy="16409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4799" lvl="1" indent="0" defTabSz="895127">
              <a:buClr>
                <a:srgbClr val="21314D"/>
              </a:buClr>
              <a:buNone/>
              <a:defRPr/>
            </a:pPr>
            <a:r>
              <a:rPr lang="en-US" sz="2666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Distributors will need to evolve to remain competitive</a:t>
            </a:r>
          </a:p>
        </p:txBody>
      </p:sp>
      <p:sp>
        <p:nvSpPr>
          <p:cNvPr id="26" name="Freeform 29"/>
          <p:cNvSpPr>
            <a:spLocks noEditPoints="1"/>
          </p:cNvSpPr>
          <p:nvPr/>
        </p:nvSpPr>
        <p:spPr bwMode="auto">
          <a:xfrm>
            <a:off x="4651356" y="2111455"/>
            <a:ext cx="877201" cy="730018"/>
          </a:xfrm>
          <a:custGeom>
            <a:avLst/>
            <a:gdLst>
              <a:gd name="T0" fmla="*/ 1803 w 7668"/>
              <a:gd name="T1" fmla="*/ 4914 h 5457"/>
              <a:gd name="T2" fmla="*/ 618 w 7668"/>
              <a:gd name="T3" fmla="*/ 4566 h 5457"/>
              <a:gd name="T4" fmla="*/ 639 w 7668"/>
              <a:gd name="T5" fmla="*/ 3486 h 5457"/>
              <a:gd name="T6" fmla="*/ 1197 w 7668"/>
              <a:gd name="T7" fmla="*/ 4489 h 5457"/>
              <a:gd name="T8" fmla="*/ 1540 w 7668"/>
              <a:gd name="T9" fmla="*/ 3713 h 5457"/>
              <a:gd name="T10" fmla="*/ 1671 w 7668"/>
              <a:gd name="T11" fmla="*/ 2226 h 5457"/>
              <a:gd name="T12" fmla="*/ 2020 w 7668"/>
              <a:gd name="T13" fmla="*/ 1856 h 5457"/>
              <a:gd name="T14" fmla="*/ 2239 w 7668"/>
              <a:gd name="T15" fmla="*/ 693 h 5457"/>
              <a:gd name="T16" fmla="*/ 2458 w 7668"/>
              <a:gd name="T17" fmla="*/ 1857 h 5457"/>
              <a:gd name="T18" fmla="*/ 3087 w 7668"/>
              <a:gd name="T19" fmla="*/ 1940 h 5457"/>
              <a:gd name="T20" fmla="*/ 4385 w 7668"/>
              <a:gd name="T21" fmla="*/ 1654 h 5457"/>
              <a:gd name="T22" fmla="*/ 6535 w 7668"/>
              <a:gd name="T23" fmla="*/ 1180 h 5457"/>
              <a:gd name="T24" fmla="*/ 6420 w 7668"/>
              <a:gd name="T25" fmla="*/ 273 h 5457"/>
              <a:gd name="T26" fmla="*/ 7342 w 7668"/>
              <a:gd name="T27" fmla="*/ 440 h 5457"/>
              <a:gd name="T28" fmla="*/ 7232 w 7668"/>
              <a:gd name="T29" fmla="*/ 1187 h 5457"/>
              <a:gd name="T30" fmla="*/ 7367 w 7668"/>
              <a:gd name="T31" fmla="*/ 1547 h 5457"/>
              <a:gd name="T32" fmla="*/ 6879 w 7668"/>
              <a:gd name="T33" fmla="*/ 3293 h 5457"/>
              <a:gd name="T34" fmla="*/ 6544 w 7668"/>
              <a:gd name="T35" fmla="*/ 4878 h 5457"/>
              <a:gd name="T36" fmla="*/ 5839 w 7668"/>
              <a:gd name="T37" fmla="*/ 5454 h 5457"/>
              <a:gd name="T38" fmla="*/ 4661 w 7668"/>
              <a:gd name="T39" fmla="*/ 3687 h 5457"/>
              <a:gd name="T40" fmla="*/ 3739 w 7668"/>
              <a:gd name="T41" fmla="*/ 3573 h 5457"/>
              <a:gd name="T42" fmla="*/ 1973 w 7668"/>
              <a:gd name="T43" fmla="*/ 4509 h 5457"/>
              <a:gd name="T44" fmla="*/ 2493 w 7668"/>
              <a:gd name="T45" fmla="*/ 4847 h 5457"/>
              <a:gd name="T46" fmla="*/ 5064 w 7668"/>
              <a:gd name="T47" fmla="*/ 5151 h 5457"/>
              <a:gd name="T48" fmla="*/ 6712 w 7668"/>
              <a:gd name="T49" fmla="*/ 3287 h 5457"/>
              <a:gd name="T50" fmla="*/ 6517 w 7668"/>
              <a:gd name="T51" fmla="*/ 1586 h 5457"/>
              <a:gd name="T52" fmla="*/ 5189 w 7668"/>
              <a:gd name="T53" fmla="*/ 3203 h 5457"/>
              <a:gd name="T54" fmla="*/ 4899 w 7668"/>
              <a:gd name="T55" fmla="*/ 3881 h 5457"/>
              <a:gd name="T56" fmla="*/ 5520 w 7668"/>
              <a:gd name="T57" fmla="*/ 4913 h 5457"/>
              <a:gd name="T58" fmla="*/ 5792 w 7668"/>
              <a:gd name="T59" fmla="*/ 3854 h 5457"/>
              <a:gd name="T60" fmla="*/ 6097 w 7668"/>
              <a:gd name="T61" fmla="*/ 4845 h 5457"/>
              <a:gd name="T62" fmla="*/ 6337 w 7668"/>
              <a:gd name="T63" fmla="*/ 5057 h 5457"/>
              <a:gd name="T64" fmla="*/ 5486 w 7668"/>
              <a:gd name="T65" fmla="*/ 4320 h 5457"/>
              <a:gd name="T66" fmla="*/ 2758 w 7668"/>
              <a:gd name="T67" fmla="*/ 3909 h 5457"/>
              <a:gd name="T68" fmla="*/ 3698 w 7668"/>
              <a:gd name="T69" fmla="*/ 3143 h 5457"/>
              <a:gd name="T70" fmla="*/ 1968 w 7668"/>
              <a:gd name="T71" fmla="*/ 2300 h 5457"/>
              <a:gd name="T72" fmla="*/ 1585 w 7668"/>
              <a:gd name="T73" fmla="*/ 4371 h 5457"/>
              <a:gd name="T74" fmla="*/ 1244 w 7668"/>
              <a:gd name="T75" fmla="*/ 3944 h 5457"/>
              <a:gd name="T76" fmla="*/ 1033 w 7668"/>
              <a:gd name="T77" fmla="*/ 4138 h 5457"/>
              <a:gd name="T78" fmla="*/ 3991 w 7668"/>
              <a:gd name="T79" fmla="*/ 2600 h 5457"/>
              <a:gd name="T80" fmla="*/ 4419 w 7668"/>
              <a:gd name="T81" fmla="*/ 1880 h 5457"/>
              <a:gd name="T82" fmla="*/ 4664 w 7668"/>
              <a:gd name="T83" fmla="*/ 2983 h 5457"/>
              <a:gd name="T84" fmla="*/ 5449 w 7668"/>
              <a:gd name="T85" fmla="*/ 2437 h 5457"/>
              <a:gd name="T86" fmla="*/ 6155 w 7668"/>
              <a:gd name="T87" fmla="*/ 1479 h 5457"/>
              <a:gd name="T88" fmla="*/ 4972 w 7668"/>
              <a:gd name="T89" fmla="*/ 1692 h 5457"/>
              <a:gd name="T90" fmla="*/ 3166 w 7668"/>
              <a:gd name="T91" fmla="*/ 2088 h 5457"/>
              <a:gd name="T92" fmla="*/ 3328 w 7668"/>
              <a:gd name="T93" fmla="*/ 2673 h 5457"/>
              <a:gd name="T94" fmla="*/ 4573 w 7668"/>
              <a:gd name="T95" fmla="*/ 2078 h 5457"/>
              <a:gd name="T96" fmla="*/ 2380 w 7668"/>
              <a:gd name="T97" fmla="*/ 1430 h 5457"/>
              <a:gd name="T98" fmla="*/ 1940 w 7668"/>
              <a:gd name="T99" fmla="*/ 1153 h 5457"/>
              <a:gd name="T100" fmla="*/ 7165 w 7668"/>
              <a:gd name="T101" fmla="*/ 406 h 5457"/>
              <a:gd name="T102" fmla="*/ 6770 w 7668"/>
              <a:gd name="T103" fmla="*/ 752 h 54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7668" h="5457">
                <a:moveTo>
                  <a:pt x="5465" y="5440"/>
                </a:moveTo>
                <a:cubicBezTo>
                  <a:pt x="5388" y="5430"/>
                  <a:pt x="5298" y="5415"/>
                  <a:pt x="5265" y="5407"/>
                </a:cubicBezTo>
                <a:cubicBezTo>
                  <a:pt x="5200" y="5392"/>
                  <a:pt x="4859" y="5344"/>
                  <a:pt x="2505" y="5013"/>
                </a:cubicBezTo>
                <a:cubicBezTo>
                  <a:pt x="2216" y="4972"/>
                  <a:pt x="1900" y="4927"/>
                  <a:pt x="1803" y="4914"/>
                </a:cubicBezTo>
                <a:cubicBezTo>
                  <a:pt x="1645" y="4891"/>
                  <a:pt x="1621" y="4890"/>
                  <a:pt x="1557" y="4908"/>
                </a:cubicBezTo>
                <a:cubicBezTo>
                  <a:pt x="1400" y="4951"/>
                  <a:pt x="1261" y="4969"/>
                  <a:pt x="1036" y="4976"/>
                </a:cubicBezTo>
                <a:cubicBezTo>
                  <a:pt x="780" y="4984"/>
                  <a:pt x="613" y="4970"/>
                  <a:pt x="425" y="4924"/>
                </a:cubicBezTo>
                <a:cubicBezTo>
                  <a:pt x="0" y="4821"/>
                  <a:pt x="102" y="4631"/>
                  <a:pt x="618" y="4566"/>
                </a:cubicBezTo>
                <a:cubicBezTo>
                  <a:pt x="688" y="4557"/>
                  <a:pt x="745" y="4548"/>
                  <a:pt x="745" y="4546"/>
                </a:cubicBezTo>
                <a:cubicBezTo>
                  <a:pt x="745" y="4543"/>
                  <a:pt x="723" y="4504"/>
                  <a:pt x="697" y="4458"/>
                </a:cubicBezTo>
                <a:cubicBezTo>
                  <a:pt x="575" y="4251"/>
                  <a:pt x="465" y="3961"/>
                  <a:pt x="465" y="3848"/>
                </a:cubicBezTo>
                <a:cubicBezTo>
                  <a:pt x="465" y="3726"/>
                  <a:pt x="544" y="3561"/>
                  <a:pt x="639" y="3486"/>
                </a:cubicBezTo>
                <a:cubicBezTo>
                  <a:pt x="736" y="3410"/>
                  <a:pt x="828" y="3377"/>
                  <a:pt x="950" y="3377"/>
                </a:cubicBezTo>
                <a:cubicBezTo>
                  <a:pt x="1092" y="3377"/>
                  <a:pt x="1187" y="3412"/>
                  <a:pt x="1284" y="3501"/>
                </a:cubicBezTo>
                <a:cubicBezTo>
                  <a:pt x="1456" y="3659"/>
                  <a:pt x="1482" y="3873"/>
                  <a:pt x="1363" y="4160"/>
                </a:cubicBezTo>
                <a:cubicBezTo>
                  <a:pt x="1320" y="4263"/>
                  <a:pt x="1229" y="4443"/>
                  <a:pt x="1197" y="4489"/>
                </a:cubicBezTo>
                <a:cubicBezTo>
                  <a:pt x="1153" y="4550"/>
                  <a:pt x="1156" y="4552"/>
                  <a:pt x="1351" y="4571"/>
                </a:cubicBezTo>
                <a:cubicBezTo>
                  <a:pt x="1382" y="4574"/>
                  <a:pt x="1387" y="4557"/>
                  <a:pt x="1432" y="4300"/>
                </a:cubicBezTo>
                <a:cubicBezTo>
                  <a:pt x="1451" y="4194"/>
                  <a:pt x="1472" y="4077"/>
                  <a:pt x="1479" y="4040"/>
                </a:cubicBezTo>
                <a:cubicBezTo>
                  <a:pt x="1487" y="4003"/>
                  <a:pt x="1514" y="3856"/>
                  <a:pt x="1540" y="3713"/>
                </a:cubicBezTo>
                <a:cubicBezTo>
                  <a:pt x="1600" y="3376"/>
                  <a:pt x="1669" y="2997"/>
                  <a:pt x="1727" y="2680"/>
                </a:cubicBezTo>
                <a:cubicBezTo>
                  <a:pt x="1753" y="2541"/>
                  <a:pt x="1780" y="2392"/>
                  <a:pt x="1788" y="2349"/>
                </a:cubicBezTo>
                <a:cubicBezTo>
                  <a:pt x="1795" y="2307"/>
                  <a:pt x="1799" y="2269"/>
                  <a:pt x="1796" y="2266"/>
                </a:cubicBezTo>
                <a:cubicBezTo>
                  <a:pt x="1793" y="2263"/>
                  <a:pt x="1737" y="2245"/>
                  <a:pt x="1671" y="2226"/>
                </a:cubicBezTo>
                <a:cubicBezTo>
                  <a:pt x="1531" y="2186"/>
                  <a:pt x="1461" y="2137"/>
                  <a:pt x="1455" y="2077"/>
                </a:cubicBezTo>
                <a:cubicBezTo>
                  <a:pt x="1451" y="2044"/>
                  <a:pt x="1459" y="2029"/>
                  <a:pt x="1495" y="2002"/>
                </a:cubicBezTo>
                <a:cubicBezTo>
                  <a:pt x="1555" y="1956"/>
                  <a:pt x="1724" y="1904"/>
                  <a:pt x="1882" y="1882"/>
                </a:cubicBezTo>
                <a:cubicBezTo>
                  <a:pt x="1954" y="1872"/>
                  <a:pt x="2016" y="1861"/>
                  <a:pt x="2020" y="1856"/>
                </a:cubicBezTo>
                <a:cubicBezTo>
                  <a:pt x="2024" y="1852"/>
                  <a:pt x="2002" y="1802"/>
                  <a:pt x="1970" y="1744"/>
                </a:cubicBezTo>
                <a:cubicBezTo>
                  <a:pt x="1888" y="1599"/>
                  <a:pt x="1820" y="1444"/>
                  <a:pt x="1785" y="1327"/>
                </a:cubicBezTo>
                <a:cubicBezTo>
                  <a:pt x="1711" y="1075"/>
                  <a:pt x="1812" y="834"/>
                  <a:pt x="2036" y="729"/>
                </a:cubicBezTo>
                <a:cubicBezTo>
                  <a:pt x="2102" y="698"/>
                  <a:pt x="2129" y="693"/>
                  <a:pt x="2239" y="693"/>
                </a:cubicBezTo>
                <a:cubicBezTo>
                  <a:pt x="2355" y="693"/>
                  <a:pt x="2373" y="697"/>
                  <a:pt x="2454" y="737"/>
                </a:cubicBezTo>
                <a:cubicBezTo>
                  <a:pt x="2661" y="839"/>
                  <a:pt x="2761" y="1043"/>
                  <a:pt x="2714" y="1270"/>
                </a:cubicBezTo>
                <a:cubicBezTo>
                  <a:pt x="2689" y="1386"/>
                  <a:pt x="2594" y="1617"/>
                  <a:pt x="2513" y="1754"/>
                </a:cubicBezTo>
                <a:cubicBezTo>
                  <a:pt x="2481" y="1808"/>
                  <a:pt x="2456" y="1855"/>
                  <a:pt x="2458" y="1857"/>
                </a:cubicBezTo>
                <a:cubicBezTo>
                  <a:pt x="2460" y="1859"/>
                  <a:pt x="2524" y="1870"/>
                  <a:pt x="2600" y="1881"/>
                </a:cubicBezTo>
                <a:cubicBezTo>
                  <a:pt x="2676" y="1892"/>
                  <a:pt x="2787" y="1916"/>
                  <a:pt x="2847" y="1935"/>
                </a:cubicBezTo>
                <a:lnTo>
                  <a:pt x="2955" y="1969"/>
                </a:lnTo>
                <a:lnTo>
                  <a:pt x="3087" y="1940"/>
                </a:lnTo>
                <a:cubicBezTo>
                  <a:pt x="3159" y="1924"/>
                  <a:pt x="3255" y="1903"/>
                  <a:pt x="3299" y="1893"/>
                </a:cubicBezTo>
                <a:cubicBezTo>
                  <a:pt x="3343" y="1883"/>
                  <a:pt x="3493" y="1850"/>
                  <a:pt x="3632" y="1820"/>
                </a:cubicBezTo>
                <a:cubicBezTo>
                  <a:pt x="3771" y="1789"/>
                  <a:pt x="3921" y="1756"/>
                  <a:pt x="3965" y="1746"/>
                </a:cubicBezTo>
                <a:cubicBezTo>
                  <a:pt x="4009" y="1737"/>
                  <a:pt x="4198" y="1695"/>
                  <a:pt x="4385" y="1654"/>
                </a:cubicBezTo>
                <a:cubicBezTo>
                  <a:pt x="4572" y="1613"/>
                  <a:pt x="4875" y="1547"/>
                  <a:pt x="5059" y="1507"/>
                </a:cubicBezTo>
                <a:cubicBezTo>
                  <a:pt x="5242" y="1466"/>
                  <a:pt x="5542" y="1401"/>
                  <a:pt x="5725" y="1361"/>
                </a:cubicBezTo>
                <a:cubicBezTo>
                  <a:pt x="6058" y="1288"/>
                  <a:pt x="6130" y="1271"/>
                  <a:pt x="6319" y="1222"/>
                </a:cubicBezTo>
                <a:cubicBezTo>
                  <a:pt x="6374" y="1208"/>
                  <a:pt x="6471" y="1189"/>
                  <a:pt x="6535" y="1180"/>
                </a:cubicBezTo>
                <a:cubicBezTo>
                  <a:pt x="6599" y="1171"/>
                  <a:pt x="6652" y="1161"/>
                  <a:pt x="6652" y="1158"/>
                </a:cubicBezTo>
                <a:cubicBezTo>
                  <a:pt x="6652" y="1155"/>
                  <a:pt x="6638" y="1130"/>
                  <a:pt x="6620" y="1102"/>
                </a:cubicBezTo>
                <a:cubicBezTo>
                  <a:pt x="6602" y="1074"/>
                  <a:pt x="6558" y="992"/>
                  <a:pt x="6522" y="919"/>
                </a:cubicBezTo>
                <a:cubicBezTo>
                  <a:pt x="6370" y="617"/>
                  <a:pt x="6342" y="439"/>
                  <a:pt x="6420" y="273"/>
                </a:cubicBezTo>
                <a:cubicBezTo>
                  <a:pt x="6470" y="168"/>
                  <a:pt x="6549" y="87"/>
                  <a:pt x="6650" y="37"/>
                </a:cubicBezTo>
                <a:cubicBezTo>
                  <a:pt x="6718" y="4"/>
                  <a:pt x="6739" y="0"/>
                  <a:pt x="6865" y="0"/>
                </a:cubicBezTo>
                <a:cubicBezTo>
                  <a:pt x="6999" y="0"/>
                  <a:pt x="7009" y="2"/>
                  <a:pt x="7090" y="46"/>
                </a:cubicBezTo>
                <a:cubicBezTo>
                  <a:pt x="7248" y="132"/>
                  <a:pt x="7332" y="263"/>
                  <a:pt x="7342" y="440"/>
                </a:cubicBezTo>
                <a:cubicBezTo>
                  <a:pt x="7348" y="533"/>
                  <a:pt x="7343" y="562"/>
                  <a:pt x="7308" y="667"/>
                </a:cubicBezTo>
                <a:cubicBezTo>
                  <a:pt x="7262" y="805"/>
                  <a:pt x="7208" y="924"/>
                  <a:pt x="7131" y="1060"/>
                </a:cubicBezTo>
                <a:cubicBezTo>
                  <a:pt x="7101" y="1113"/>
                  <a:pt x="7079" y="1158"/>
                  <a:pt x="7081" y="1161"/>
                </a:cubicBezTo>
                <a:cubicBezTo>
                  <a:pt x="7084" y="1163"/>
                  <a:pt x="7152" y="1175"/>
                  <a:pt x="7232" y="1187"/>
                </a:cubicBezTo>
                <a:cubicBezTo>
                  <a:pt x="7380" y="1209"/>
                  <a:pt x="7533" y="1253"/>
                  <a:pt x="7592" y="1292"/>
                </a:cubicBezTo>
                <a:cubicBezTo>
                  <a:pt x="7610" y="1304"/>
                  <a:pt x="7635" y="1329"/>
                  <a:pt x="7647" y="1348"/>
                </a:cubicBezTo>
                <a:cubicBezTo>
                  <a:pt x="7668" y="1380"/>
                  <a:pt x="7668" y="1384"/>
                  <a:pt x="7643" y="1417"/>
                </a:cubicBezTo>
                <a:cubicBezTo>
                  <a:pt x="7608" y="1466"/>
                  <a:pt x="7498" y="1518"/>
                  <a:pt x="7367" y="1547"/>
                </a:cubicBezTo>
                <a:cubicBezTo>
                  <a:pt x="7307" y="1560"/>
                  <a:pt x="7254" y="1575"/>
                  <a:pt x="7249" y="1579"/>
                </a:cubicBezTo>
                <a:cubicBezTo>
                  <a:pt x="7244" y="1583"/>
                  <a:pt x="7222" y="1671"/>
                  <a:pt x="7200" y="1773"/>
                </a:cubicBezTo>
                <a:cubicBezTo>
                  <a:pt x="7139" y="2056"/>
                  <a:pt x="7018" y="2632"/>
                  <a:pt x="6951" y="2953"/>
                </a:cubicBezTo>
                <a:cubicBezTo>
                  <a:pt x="6918" y="3111"/>
                  <a:pt x="6885" y="3264"/>
                  <a:pt x="6879" y="3293"/>
                </a:cubicBezTo>
                <a:cubicBezTo>
                  <a:pt x="6872" y="3323"/>
                  <a:pt x="6839" y="3479"/>
                  <a:pt x="6805" y="3640"/>
                </a:cubicBezTo>
                <a:cubicBezTo>
                  <a:pt x="6772" y="3801"/>
                  <a:pt x="6739" y="3957"/>
                  <a:pt x="6732" y="3987"/>
                </a:cubicBezTo>
                <a:cubicBezTo>
                  <a:pt x="6725" y="4016"/>
                  <a:pt x="6692" y="4172"/>
                  <a:pt x="6658" y="4333"/>
                </a:cubicBezTo>
                <a:cubicBezTo>
                  <a:pt x="6625" y="4495"/>
                  <a:pt x="6573" y="4740"/>
                  <a:pt x="6544" y="4878"/>
                </a:cubicBezTo>
                <a:lnTo>
                  <a:pt x="6490" y="5130"/>
                </a:lnTo>
                <a:lnTo>
                  <a:pt x="6538" y="5169"/>
                </a:lnTo>
                <a:cubicBezTo>
                  <a:pt x="6600" y="5221"/>
                  <a:pt x="6600" y="5259"/>
                  <a:pt x="6537" y="5311"/>
                </a:cubicBezTo>
                <a:cubicBezTo>
                  <a:pt x="6435" y="5396"/>
                  <a:pt x="6186" y="5446"/>
                  <a:pt x="5839" y="5454"/>
                </a:cubicBezTo>
                <a:cubicBezTo>
                  <a:pt x="5686" y="5457"/>
                  <a:pt x="5557" y="5452"/>
                  <a:pt x="5465" y="5440"/>
                </a:cubicBezTo>
                <a:close/>
                <a:moveTo>
                  <a:pt x="5064" y="5151"/>
                </a:moveTo>
                <a:cubicBezTo>
                  <a:pt x="5102" y="5128"/>
                  <a:pt x="5132" y="5102"/>
                  <a:pt x="5132" y="5094"/>
                </a:cubicBezTo>
                <a:cubicBezTo>
                  <a:pt x="5132" y="5081"/>
                  <a:pt x="5032" y="4782"/>
                  <a:pt x="4661" y="3687"/>
                </a:cubicBezTo>
                <a:lnTo>
                  <a:pt x="4591" y="3480"/>
                </a:lnTo>
                <a:lnTo>
                  <a:pt x="4411" y="3477"/>
                </a:lnTo>
                <a:cubicBezTo>
                  <a:pt x="4313" y="3476"/>
                  <a:pt x="4176" y="3468"/>
                  <a:pt x="4107" y="3460"/>
                </a:cubicBezTo>
                <a:cubicBezTo>
                  <a:pt x="3966" y="3444"/>
                  <a:pt x="4002" y="3433"/>
                  <a:pt x="3739" y="3573"/>
                </a:cubicBezTo>
                <a:cubicBezTo>
                  <a:pt x="3680" y="3605"/>
                  <a:pt x="3431" y="3737"/>
                  <a:pt x="3185" y="3867"/>
                </a:cubicBezTo>
                <a:cubicBezTo>
                  <a:pt x="2940" y="3997"/>
                  <a:pt x="2697" y="4126"/>
                  <a:pt x="2645" y="4153"/>
                </a:cubicBezTo>
                <a:cubicBezTo>
                  <a:pt x="2594" y="4180"/>
                  <a:pt x="2480" y="4241"/>
                  <a:pt x="2392" y="4287"/>
                </a:cubicBezTo>
                <a:cubicBezTo>
                  <a:pt x="2304" y="4334"/>
                  <a:pt x="2115" y="4433"/>
                  <a:pt x="1973" y="4509"/>
                </a:cubicBezTo>
                <a:cubicBezTo>
                  <a:pt x="1831" y="4585"/>
                  <a:pt x="1709" y="4647"/>
                  <a:pt x="1703" y="4647"/>
                </a:cubicBezTo>
                <a:cubicBezTo>
                  <a:pt x="1697" y="4647"/>
                  <a:pt x="1692" y="4654"/>
                  <a:pt x="1692" y="4664"/>
                </a:cubicBezTo>
                <a:cubicBezTo>
                  <a:pt x="1692" y="4690"/>
                  <a:pt x="1771" y="4753"/>
                  <a:pt x="1805" y="4753"/>
                </a:cubicBezTo>
                <a:cubicBezTo>
                  <a:pt x="1821" y="4753"/>
                  <a:pt x="2131" y="4795"/>
                  <a:pt x="2493" y="4847"/>
                </a:cubicBezTo>
                <a:cubicBezTo>
                  <a:pt x="2856" y="4898"/>
                  <a:pt x="3344" y="4967"/>
                  <a:pt x="3579" y="5000"/>
                </a:cubicBezTo>
                <a:cubicBezTo>
                  <a:pt x="3813" y="5033"/>
                  <a:pt x="4050" y="5066"/>
                  <a:pt x="4105" y="5074"/>
                </a:cubicBezTo>
                <a:cubicBezTo>
                  <a:pt x="4517" y="5136"/>
                  <a:pt x="4907" y="5190"/>
                  <a:pt x="4948" y="5192"/>
                </a:cubicBezTo>
                <a:cubicBezTo>
                  <a:pt x="4982" y="5193"/>
                  <a:pt x="5018" y="5180"/>
                  <a:pt x="5064" y="5151"/>
                </a:cubicBezTo>
                <a:close/>
                <a:moveTo>
                  <a:pt x="6337" y="5057"/>
                </a:moveTo>
                <a:cubicBezTo>
                  <a:pt x="6343" y="5035"/>
                  <a:pt x="6359" y="4961"/>
                  <a:pt x="6431" y="4620"/>
                </a:cubicBezTo>
                <a:cubicBezTo>
                  <a:pt x="6464" y="4462"/>
                  <a:pt x="6524" y="4176"/>
                  <a:pt x="6565" y="3983"/>
                </a:cubicBezTo>
                <a:cubicBezTo>
                  <a:pt x="6605" y="3791"/>
                  <a:pt x="6672" y="3477"/>
                  <a:pt x="6712" y="3287"/>
                </a:cubicBezTo>
                <a:cubicBezTo>
                  <a:pt x="6859" y="2593"/>
                  <a:pt x="6932" y="2247"/>
                  <a:pt x="6999" y="1929"/>
                </a:cubicBezTo>
                <a:cubicBezTo>
                  <a:pt x="7037" y="1751"/>
                  <a:pt x="7066" y="1603"/>
                  <a:pt x="7063" y="1601"/>
                </a:cubicBezTo>
                <a:cubicBezTo>
                  <a:pt x="7061" y="1598"/>
                  <a:pt x="6937" y="1594"/>
                  <a:pt x="6788" y="1591"/>
                </a:cubicBezTo>
                <a:lnTo>
                  <a:pt x="6517" y="1586"/>
                </a:lnTo>
                <a:lnTo>
                  <a:pt x="5771" y="2342"/>
                </a:lnTo>
                <a:cubicBezTo>
                  <a:pt x="5361" y="2757"/>
                  <a:pt x="5025" y="3104"/>
                  <a:pt x="5025" y="3112"/>
                </a:cubicBezTo>
                <a:cubicBezTo>
                  <a:pt x="5025" y="3120"/>
                  <a:pt x="5034" y="3127"/>
                  <a:pt x="5045" y="3127"/>
                </a:cubicBezTo>
                <a:cubicBezTo>
                  <a:pt x="5068" y="3127"/>
                  <a:pt x="5154" y="3173"/>
                  <a:pt x="5189" y="3203"/>
                </a:cubicBezTo>
                <a:cubicBezTo>
                  <a:pt x="5201" y="3215"/>
                  <a:pt x="5212" y="3241"/>
                  <a:pt x="5212" y="3261"/>
                </a:cubicBezTo>
                <a:cubicBezTo>
                  <a:pt x="5212" y="3331"/>
                  <a:pt x="5087" y="3397"/>
                  <a:pt x="4872" y="3440"/>
                </a:cubicBezTo>
                <a:cubicBezTo>
                  <a:pt x="4814" y="3452"/>
                  <a:pt x="4765" y="3463"/>
                  <a:pt x="4763" y="3465"/>
                </a:cubicBezTo>
                <a:cubicBezTo>
                  <a:pt x="4761" y="3466"/>
                  <a:pt x="4823" y="3654"/>
                  <a:pt x="4899" y="3881"/>
                </a:cubicBezTo>
                <a:cubicBezTo>
                  <a:pt x="4976" y="4108"/>
                  <a:pt x="5097" y="4464"/>
                  <a:pt x="5168" y="4673"/>
                </a:cubicBezTo>
                <a:cubicBezTo>
                  <a:pt x="5238" y="4882"/>
                  <a:pt x="5297" y="5055"/>
                  <a:pt x="5299" y="5058"/>
                </a:cubicBezTo>
                <a:cubicBezTo>
                  <a:pt x="5307" y="5067"/>
                  <a:pt x="5572" y="5027"/>
                  <a:pt x="5572" y="5017"/>
                </a:cubicBezTo>
                <a:cubicBezTo>
                  <a:pt x="5572" y="5011"/>
                  <a:pt x="5548" y="4964"/>
                  <a:pt x="5520" y="4913"/>
                </a:cubicBezTo>
                <a:cubicBezTo>
                  <a:pt x="5439" y="4772"/>
                  <a:pt x="5376" y="4630"/>
                  <a:pt x="5337" y="4505"/>
                </a:cubicBezTo>
                <a:cubicBezTo>
                  <a:pt x="5272" y="4297"/>
                  <a:pt x="5312" y="4119"/>
                  <a:pt x="5453" y="3987"/>
                </a:cubicBezTo>
                <a:cubicBezTo>
                  <a:pt x="5489" y="3953"/>
                  <a:pt x="5554" y="3909"/>
                  <a:pt x="5596" y="3889"/>
                </a:cubicBezTo>
                <a:cubicBezTo>
                  <a:pt x="5661" y="3859"/>
                  <a:pt x="5689" y="3854"/>
                  <a:pt x="5792" y="3854"/>
                </a:cubicBezTo>
                <a:cubicBezTo>
                  <a:pt x="5893" y="3854"/>
                  <a:pt x="5924" y="3860"/>
                  <a:pt x="5988" y="3889"/>
                </a:cubicBezTo>
                <a:cubicBezTo>
                  <a:pt x="6094" y="3938"/>
                  <a:pt x="6178" y="4020"/>
                  <a:pt x="6229" y="4125"/>
                </a:cubicBezTo>
                <a:cubicBezTo>
                  <a:pt x="6267" y="4204"/>
                  <a:pt x="6271" y="4225"/>
                  <a:pt x="6270" y="4327"/>
                </a:cubicBezTo>
                <a:cubicBezTo>
                  <a:pt x="6269" y="4467"/>
                  <a:pt x="6224" y="4602"/>
                  <a:pt x="6097" y="4845"/>
                </a:cubicBezTo>
                <a:cubicBezTo>
                  <a:pt x="6050" y="4935"/>
                  <a:pt x="6012" y="5014"/>
                  <a:pt x="6012" y="5020"/>
                </a:cubicBezTo>
                <a:cubicBezTo>
                  <a:pt x="6012" y="5026"/>
                  <a:pt x="6053" y="5035"/>
                  <a:pt x="6102" y="5040"/>
                </a:cubicBezTo>
                <a:cubicBezTo>
                  <a:pt x="6152" y="5045"/>
                  <a:pt x="6213" y="5054"/>
                  <a:pt x="6239" y="5060"/>
                </a:cubicBezTo>
                <a:cubicBezTo>
                  <a:pt x="6308" y="5076"/>
                  <a:pt x="6332" y="5075"/>
                  <a:pt x="6337" y="5057"/>
                </a:cubicBezTo>
                <a:close/>
                <a:moveTo>
                  <a:pt x="5955" y="4575"/>
                </a:moveTo>
                <a:cubicBezTo>
                  <a:pt x="6042" y="4521"/>
                  <a:pt x="6084" y="4448"/>
                  <a:pt x="6090" y="4341"/>
                </a:cubicBezTo>
                <a:cubicBezTo>
                  <a:pt x="6100" y="4149"/>
                  <a:pt x="5978" y="4020"/>
                  <a:pt x="5785" y="4020"/>
                </a:cubicBezTo>
                <a:cubicBezTo>
                  <a:pt x="5613" y="4020"/>
                  <a:pt x="5486" y="4147"/>
                  <a:pt x="5486" y="4320"/>
                </a:cubicBezTo>
                <a:cubicBezTo>
                  <a:pt x="5487" y="4445"/>
                  <a:pt x="5555" y="4549"/>
                  <a:pt x="5672" y="4602"/>
                </a:cubicBezTo>
                <a:cubicBezTo>
                  <a:pt x="5738" y="4633"/>
                  <a:pt x="5887" y="4619"/>
                  <a:pt x="5955" y="4575"/>
                </a:cubicBezTo>
                <a:close/>
                <a:moveTo>
                  <a:pt x="1940" y="4342"/>
                </a:moveTo>
                <a:cubicBezTo>
                  <a:pt x="2337" y="4132"/>
                  <a:pt x="2512" y="4039"/>
                  <a:pt x="2758" y="3909"/>
                </a:cubicBezTo>
                <a:cubicBezTo>
                  <a:pt x="3348" y="3598"/>
                  <a:pt x="3725" y="3394"/>
                  <a:pt x="3728" y="3384"/>
                </a:cubicBezTo>
                <a:cubicBezTo>
                  <a:pt x="3729" y="3378"/>
                  <a:pt x="3707" y="3357"/>
                  <a:pt x="3678" y="3337"/>
                </a:cubicBezTo>
                <a:cubicBezTo>
                  <a:pt x="3609" y="3289"/>
                  <a:pt x="3605" y="3237"/>
                  <a:pt x="3668" y="3188"/>
                </a:cubicBezTo>
                <a:cubicBezTo>
                  <a:pt x="3695" y="3167"/>
                  <a:pt x="3707" y="3150"/>
                  <a:pt x="3698" y="3143"/>
                </a:cubicBezTo>
                <a:cubicBezTo>
                  <a:pt x="3691" y="3136"/>
                  <a:pt x="3424" y="2942"/>
                  <a:pt x="3105" y="2711"/>
                </a:cubicBezTo>
                <a:lnTo>
                  <a:pt x="2525" y="2291"/>
                </a:lnTo>
                <a:lnTo>
                  <a:pt x="2250" y="2292"/>
                </a:lnTo>
                <a:cubicBezTo>
                  <a:pt x="2098" y="2293"/>
                  <a:pt x="1971" y="2296"/>
                  <a:pt x="1968" y="2300"/>
                </a:cubicBezTo>
                <a:cubicBezTo>
                  <a:pt x="1961" y="2306"/>
                  <a:pt x="1940" y="2419"/>
                  <a:pt x="1825" y="3060"/>
                </a:cubicBezTo>
                <a:cubicBezTo>
                  <a:pt x="1797" y="3218"/>
                  <a:pt x="1740" y="3527"/>
                  <a:pt x="1700" y="3747"/>
                </a:cubicBezTo>
                <a:cubicBezTo>
                  <a:pt x="1660" y="3967"/>
                  <a:pt x="1623" y="4165"/>
                  <a:pt x="1619" y="4187"/>
                </a:cubicBezTo>
                <a:cubicBezTo>
                  <a:pt x="1615" y="4209"/>
                  <a:pt x="1600" y="4291"/>
                  <a:pt x="1585" y="4371"/>
                </a:cubicBezTo>
                <a:cubicBezTo>
                  <a:pt x="1558" y="4520"/>
                  <a:pt x="1555" y="4540"/>
                  <a:pt x="1564" y="4540"/>
                </a:cubicBezTo>
                <a:cubicBezTo>
                  <a:pt x="1567" y="4540"/>
                  <a:pt x="1736" y="4451"/>
                  <a:pt x="1940" y="4342"/>
                </a:cubicBezTo>
                <a:close/>
                <a:moveTo>
                  <a:pt x="1033" y="4138"/>
                </a:moveTo>
                <a:cubicBezTo>
                  <a:pt x="1116" y="4117"/>
                  <a:pt x="1217" y="4025"/>
                  <a:pt x="1244" y="3944"/>
                </a:cubicBezTo>
                <a:cubicBezTo>
                  <a:pt x="1273" y="3859"/>
                  <a:pt x="1270" y="3798"/>
                  <a:pt x="1234" y="3719"/>
                </a:cubicBezTo>
                <a:cubicBezTo>
                  <a:pt x="1157" y="3555"/>
                  <a:pt x="973" y="3493"/>
                  <a:pt x="810" y="3577"/>
                </a:cubicBezTo>
                <a:cubicBezTo>
                  <a:pt x="573" y="3701"/>
                  <a:pt x="608" y="4053"/>
                  <a:pt x="865" y="4133"/>
                </a:cubicBezTo>
                <a:cubicBezTo>
                  <a:pt x="941" y="4156"/>
                  <a:pt x="959" y="4157"/>
                  <a:pt x="1033" y="4138"/>
                </a:cubicBezTo>
                <a:close/>
                <a:moveTo>
                  <a:pt x="4098" y="3060"/>
                </a:moveTo>
                <a:cubicBezTo>
                  <a:pt x="4149" y="3052"/>
                  <a:pt x="4194" y="3043"/>
                  <a:pt x="4198" y="3039"/>
                </a:cubicBezTo>
                <a:cubicBezTo>
                  <a:pt x="4202" y="3035"/>
                  <a:pt x="4194" y="3012"/>
                  <a:pt x="4180" y="2989"/>
                </a:cubicBezTo>
                <a:cubicBezTo>
                  <a:pt x="4107" y="2866"/>
                  <a:pt x="4036" y="2719"/>
                  <a:pt x="3991" y="2600"/>
                </a:cubicBezTo>
                <a:cubicBezTo>
                  <a:pt x="3946" y="2483"/>
                  <a:pt x="3940" y="2452"/>
                  <a:pt x="3939" y="2347"/>
                </a:cubicBezTo>
                <a:cubicBezTo>
                  <a:pt x="3939" y="2241"/>
                  <a:pt x="3943" y="2217"/>
                  <a:pt x="3976" y="2150"/>
                </a:cubicBezTo>
                <a:cubicBezTo>
                  <a:pt x="4025" y="2050"/>
                  <a:pt x="4115" y="1960"/>
                  <a:pt x="4209" y="1916"/>
                </a:cubicBezTo>
                <a:cubicBezTo>
                  <a:pt x="4276" y="1884"/>
                  <a:pt x="4302" y="1880"/>
                  <a:pt x="4419" y="1880"/>
                </a:cubicBezTo>
                <a:cubicBezTo>
                  <a:pt x="4535" y="1880"/>
                  <a:pt x="4561" y="1884"/>
                  <a:pt x="4628" y="1916"/>
                </a:cubicBezTo>
                <a:cubicBezTo>
                  <a:pt x="4723" y="1960"/>
                  <a:pt x="4812" y="2050"/>
                  <a:pt x="4861" y="2150"/>
                </a:cubicBezTo>
                <a:cubicBezTo>
                  <a:pt x="4911" y="2253"/>
                  <a:pt x="4914" y="2408"/>
                  <a:pt x="4867" y="2547"/>
                </a:cubicBezTo>
                <a:cubicBezTo>
                  <a:pt x="4836" y="2641"/>
                  <a:pt x="4719" y="2892"/>
                  <a:pt x="4664" y="2983"/>
                </a:cubicBezTo>
                <a:cubicBezTo>
                  <a:pt x="4647" y="3010"/>
                  <a:pt x="4636" y="3036"/>
                  <a:pt x="4640" y="3039"/>
                </a:cubicBezTo>
                <a:cubicBezTo>
                  <a:pt x="4643" y="3042"/>
                  <a:pt x="4685" y="3052"/>
                  <a:pt x="4732" y="3059"/>
                </a:cubicBezTo>
                <a:lnTo>
                  <a:pt x="4819" y="3074"/>
                </a:lnTo>
                <a:lnTo>
                  <a:pt x="5449" y="2437"/>
                </a:lnTo>
                <a:cubicBezTo>
                  <a:pt x="5795" y="2087"/>
                  <a:pt x="6133" y="1742"/>
                  <a:pt x="6199" y="1671"/>
                </a:cubicBezTo>
                <a:lnTo>
                  <a:pt x="6319" y="1542"/>
                </a:lnTo>
                <a:lnTo>
                  <a:pt x="6269" y="1526"/>
                </a:lnTo>
                <a:cubicBezTo>
                  <a:pt x="6241" y="1517"/>
                  <a:pt x="6190" y="1496"/>
                  <a:pt x="6155" y="1479"/>
                </a:cubicBezTo>
                <a:lnTo>
                  <a:pt x="6091" y="1447"/>
                </a:lnTo>
                <a:lnTo>
                  <a:pt x="5781" y="1515"/>
                </a:lnTo>
                <a:cubicBezTo>
                  <a:pt x="5611" y="1552"/>
                  <a:pt x="5436" y="1590"/>
                  <a:pt x="5392" y="1600"/>
                </a:cubicBezTo>
                <a:cubicBezTo>
                  <a:pt x="5348" y="1609"/>
                  <a:pt x="5159" y="1651"/>
                  <a:pt x="4972" y="1692"/>
                </a:cubicBezTo>
                <a:cubicBezTo>
                  <a:pt x="4785" y="1733"/>
                  <a:pt x="4467" y="1802"/>
                  <a:pt x="4265" y="1847"/>
                </a:cubicBezTo>
                <a:cubicBezTo>
                  <a:pt x="4064" y="1891"/>
                  <a:pt x="3875" y="1933"/>
                  <a:pt x="3845" y="1939"/>
                </a:cubicBezTo>
                <a:cubicBezTo>
                  <a:pt x="3816" y="1945"/>
                  <a:pt x="3678" y="1975"/>
                  <a:pt x="3539" y="2006"/>
                </a:cubicBezTo>
                <a:cubicBezTo>
                  <a:pt x="3399" y="2037"/>
                  <a:pt x="3232" y="2073"/>
                  <a:pt x="3166" y="2088"/>
                </a:cubicBezTo>
                <a:cubicBezTo>
                  <a:pt x="3094" y="2103"/>
                  <a:pt x="3027" y="2127"/>
                  <a:pt x="2997" y="2147"/>
                </a:cubicBezTo>
                <a:cubicBezTo>
                  <a:pt x="2970" y="2166"/>
                  <a:pt x="2908" y="2195"/>
                  <a:pt x="2859" y="2213"/>
                </a:cubicBezTo>
                <a:cubicBezTo>
                  <a:pt x="2811" y="2230"/>
                  <a:pt x="2768" y="2247"/>
                  <a:pt x="2764" y="2250"/>
                </a:cubicBezTo>
                <a:cubicBezTo>
                  <a:pt x="2760" y="2254"/>
                  <a:pt x="3014" y="2444"/>
                  <a:pt x="3328" y="2673"/>
                </a:cubicBezTo>
                <a:cubicBezTo>
                  <a:pt x="3971" y="3141"/>
                  <a:pt x="3875" y="3093"/>
                  <a:pt x="4098" y="3060"/>
                </a:cubicBezTo>
                <a:close/>
                <a:moveTo>
                  <a:pt x="4506" y="2633"/>
                </a:moveTo>
                <a:cubicBezTo>
                  <a:pt x="4607" y="2605"/>
                  <a:pt x="4694" y="2511"/>
                  <a:pt x="4718" y="2401"/>
                </a:cubicBezTo>
                <a:cubicBezTo>
                  <a:pt x="4746" y="2279"/>
                  <a:pt x="4688" y="2152"/>
                  <a:pt x="4573" y="2078"/>
                </a:cubicBezTo>
                <a:cubicBezTo>
                  <a:pt x="4522" y="2046"/>
                  <a:pt x="4499" y="2041"/>
                  <a:pt x="4419" y="2041"/>
                </a:cubicBezTo>
                <a:cubicBezTo>
                  <a:pt x="4337" y="2041"/>
                  <a:pt x="4316" y="2046"/>
                  <a:pt x="4261" y="2080"/>
                </a:cubicBezTo>
                <a:cubicBezTo>
                  <a:pt x="3959" y="2270"/>
                  <a:pt x="4162" y="2729"/>
                  <a:pt x="4506" y="2633"/>
                </a:cubicBezTo>
                <a:close/>
                <a:moveTo>
                  <a:pt x="2380" y="1430"/>
                </a:moveTo>
                <a:cubicBezTo>
                  <a:pt x="2480" y="1378"/>
                  <a:pt x="2545" y="1271"/>
                  <a:pt x="2545" y="1156"/>
                </a:cubicBezTo>
                <a:cubicBezTo>
                  <a:pt x="2545" y="1075"/>
                  <a:pt x="2525" y="1018"/>
                  <a:pt x="2472" y="956"/>
                </a:cubicBezTo>
                <a:cubicBezTo>
                  <a:pt x="2362" y="825"/>
                  <a:pt x="2148" y="819"/>
                  <a:pt x="2024" y="943"/>
                </a:cubicBezTo>
                <a:cubicBezTo>
                  <a:pt x="1960" y="1008"/>
                  <a:pt x="1940" y="1058"/>
                  <a:pt x="1940" y="1153"/>
                </a:cubicBezTo>
                <a:cubicBezTo>
                  <a:pt x="1940" y="1288"/>
                  <a:pt x="1995" y="1375"/>
                  <a:pt x="2119" y="1433"/>
                </a:cubicBezTo>
                <a:cubicBezTo>
                  <a:pt x="2188" y="1466"/>
                  <a:pt x="2313" y="1464"/>
                  <a:pt x="2380" y="1430"/>
                </a:cubicBezTo>
                <a:close/>
                <a:moveTo>
                  <a:pt x="7012" y="723"/>
                </a:moveTo>
                <a:cubicBezTo>
                  <a:pt x="7121" y="667"/>
                  <a:pt x="7186" y="532"/>
                  <a:pt x="7165" y="406"/>
                </a:cubicBezTo>
                <a:cubicBezTo>
                  <a:pt x="7143" y="276"/>
                  <a:pt x="7000" y="153"/>
                  <a:pt x="6871" y="153"/>
                </a:cubicBezTo>
                <a:cubicBezTo>
                  <a:pt x="6754" y="153"/>
                  <a:pt x="6638" y="225"/>
                  <a:pt x="6584" y="329"/>
                </a:cubicBezTo>
                <a:cubicBezTo>
                  <a:pt x="6551" y="394"/>
                  <a:pt x="6551" y="515"/>
                  <a:pt x="6584" y="587"/>
                </a:cubicBezTo>
                <a:cubicBezTo>
                  <a:pt x="6614" y="654"/>
                  <a:pt x="6704" y="733"/>
                  <a:pt x="6770" y="752"/>
                </a:cubicBezTo>
                <a:cubicBezTo>
                  <a:pt x="6839" y="771"/>
                  <a:pt x="6941" y="759"/>
                  <a:pt x="7012" y="723"/>
                </a:cubicBezTo>
                <a:close/>
              </a:path>
            </a:pathLst>
          </a:custGeom>
          <a:solidFill>
            <a:srgbClr val="CCD814"/>
          </a:solidFill>
          <a:ln w="0">
            <a:noFill/>
            <a:prstDash val="solid"/>
            <a:round/>
            <a:headEnd/>
            <a:tailEnd/>
          </a:ln>
          <a:effectLst>
            <a:reflection blurRad="6350" stA="52000" endA="300" endPos="35000" dir="5400000" sy="-100000" algn="bl" rotWithShape="0"/>
          </a:effectLst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sp>
        <p:nvSpPr>
          <p:cNvPr id="27" name="TextBox 26"/>
          <p:cNvSpPr txBox="1">
            <a:spLocks/>
          </p:cNvSpPr>
          <p:nvPr/>
        </p:nvSpPr>
        <p:spPr>
          <a:xfrm>
            <a:off x="1112015" y="3376616"/>
            <a:ext cx="2766175" cy="16409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4799" lvl="1" indent="0" defTabSz="895127">
              <a:buClr>
                <a:srgbClr val="21314D"/>
              </a:buClr>
              <a:buNone/>
              <a:defRPr/>
            </a:pPr>
            <a:r>
              <a:rPr lang="en-US" sz="2666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Digital is fundamentally reshaping our industry</a:t>
            </a:r>
          </a:p>
        </p:txBody>
      </p:sp>
      <p:sp>
        <p:nvSpPr>
          <p:cNvPr id="29" name="Freeform 22"/>
          <p:cNvSpPr>
            <a:spLocks noEditPoints="1"/>
          </p:cNvSpPr>
          <p:nvPr/>
        </p:nvSpPr>
        <p:spPr bwMode="auto">
          <a:xfrm>
            <a:off x="1112016" y="2049376"/>
            <a:ext cx="735188" cy="792099"/>
          </a:xfrm>
          <a:custGeom>
            <a:avLst/>
            <a:gdLst>
              <a:gd name="T0" fmla="*/ 1193 w 4299"/>
              <a:gd name="T1" fmla="*/ 3175 h 3959"/>
              <a:gd name="T2" fmla="*/ 1600 w 4299"/>
              <a:gd name="T3" fmla="*/ 3849 h 3959"/>
              <a:gd name="T4" fmla="*/ 2707 w 4299"/>
              <a:gd name="T5" fmla="*/ 3535 h 3959"/>
              <a:gd name="T6" fmla="*/ 3270 w 4299"/>
              <a:gd name="T7" fmla="*/ 3317 h 3959"/>
              <a:gd name="T8" fmla="*/ 2414 w 4299"/>
              <a:gd name="T9" fmla="*/ 3501 h 3959"/>
              <a:gd name="T10" fmla="*/ 2795 w 4299"/>
              <a:gd name="T11" fmla="*/ 3332 h 3959"/>
              <a:gd name="T12" fmla="*/ 2836 w 4299"/>
              <a:gd name="T13" fmla="*/ 3153 h 3959"/>
              <a:gd name="T14" fmla="*/ 3198 w 4299"/>
              <a:gd name="T15" fmla="*/ 3187 h 3959"/>
              <a:gd name="T16" fmla="*/ 2836 w 4299"/>
              <a:gd name="T17" fmla="*/ 3153 h 3959"/>
              <a:gd name="T18" fmla="*/ 1706 w 4299"/>
              <a:gd name="T19" fmla="*/ 2376 h 3959"/>
              <a:gd name="T20" fmla="*/ 1820 w 4299"/>
              <a:gd name="T21" fmla="*/ 3238 h 3959"/>
              <a:gd name="T22" fmla="*/ 30 w 4299"/>
              <a:gd name="T23" fmla="*/ 2525 h 3959"/>
              <a:gd name="T24" fmla="*/ 624 w 4299"/>
              <a:gd name="T25" fmla="*/ 2609 h 3959"/>
              <a:gd name="T26" fmla="*/ 3013 w 4299"/>
              <a:gd name="T27" fmla="*/ 2938 h 3959"/>
              <a:gd name="T28" fmla="*/ 3407 w 4299"/>
              <a:gd name="T29" fmla="*/ 2579 h 3959"/>
              <a:gd name="T30" fmla="*/ 3023 w 4299"/>
              <a:gd name="T31" fmla="*/ 2946 h 3959"/>
              <a:gd name="T32" fmla="*/ 864 w 4299"/>
              <a:gd name="T33" fmla="*/ 2582 h 3959"/>
              <a:gd name="T34" fmla="*/ 1598 w 4299"/>
              <a:gd name="T35" fmla="*/ 2295 h 3959"/>
              <a:gd name="T36" fmla="*/ 3826 w 4299"/>
              <a:gd name="T37" fmla="*/ 2503 h 3959"/>
              <a:gd name="T38" fmla="*/ 4168 w 4299"/>
              <a:gd name="T39" fmla="*/ 2541 h 3959"/>
              <a:gd name="T40" fmla="*/ 3746 w 4299"/>
              <a:gd name="T41" fmla="*/ 2687 h 3959"/>
              <a:gd name="T42" fmla="*/ 3713 w 4299"/>
              <a:gd name="T43" fmla="*/ 2168 h 3959"/>
              <a:gd name="T44" fmla="*/ 3133 w 4299"/>
              <a:gd name="T45" fmla="*/ 2598 h 3959"/>
              <a:gd name="T46" fmla="*/ 1192 w 4299"/>
              <a:gd name="T47" fmla="*/ 1732 h 3959"/>
              <a:gd name="T48" fmla="*/ 1060 w 4299"/>
              <a:gd name="T49" fmla="*/ 2212 h 3959"/>
              <a:gd name="T50" fmla="*/ 3093 w 4299"/>
              <a:gd name="T51" fmla="*/ 2224 h 3959"/>
              <a:gd name="T52" fmla="*/ 3661 w 4299"/>
              <a:gd name="T53" fmla="*/ 1814 h 3959"/>
              <a:gd name="T54" fmla="*/ 590 w 4299"/>
              <a:gd name="T55" fmla="*/ 1629 h 3959"/>
              <a:gd name="T56" fmla="*/ 912 w 4299"/>
              <a:gd name="T57" fmla="*/ 1789 h 3959"/>
              <a:gd name="T58" fmla="*/ 2912 w 4299"/>
              <a:gd name="T59" fmla="*/ 1354 h 3959"/>
              <a:gd name="T60" fmla="*/ 3169 w 4299"/>
              <a:gd name="T61" fmla="*/ 1635 h 3959"/>
              <a:gd name="T62" fmla="*/ 35 w 4299"/>
              <a:gd name="T63" fmla="*/ 1623 h 3959"/>
              <a:gd name="T64" fmla="*/ 534 w 4299"/>
              <a:gd name="T65" fmla="*/ 1304 h 3959"/>
              <a:gd name="T66" fmla="*/ 3815 w 4299"/>
              <a:gd name="T67" fmla="*/ 1646 h 3959"/>
              <a:gd name="T68" fmla="*/ 4069 w 4299"/>
              <a:gd name="T69" fmla="*/ 999 h 3959"/>
              <a:gd name="T70" fmla="*/ 2473 w 4299"/>
              <a:gd name="T71" fmla="*/ 1532 h 3959"/>
              <a:gd name="T72" fmla="*/ 2354 w 4299"/>
              <a:gd name="T73" fmla="*/ 1004 h 3959"/>
              <a:gd name="T74" fmla="*/ 2945 w 4299"/>
              <a:gd name="T75" fmla="*/ 957 h 3959"/>
              <a:gd name="T76" fmla="*/ 2473 w 4299"/>
              <a:gd name="T77" fmla="*/ 1532 h 3959"/>
              <a:gd name="T78" fmla="*/ 1013 w 4299"/>
              <a:gd name="T79" fmla="*/ 1085 h 3959"/>
              <a:gd name="T80" fmla="*/ 821 w 4299"/>
              <a:gd name="T81" fmla="*/ 1412 h 3959"/>
              <a:gd name="T82" fmla="*/ 1107 w 4299"/>
              <a:gd name="T83" fmla="*/ 770 h 3959"/>
              <a:gd name="T84" fmla="*/ 1454 w 4299"/>
              <a:gd name="T85" fmla="*/ 813 h 3959"/>
              <a:gd name="T86" fmla="*/ 878 w 4299"/>
              <a:gd name="T87" fmla="*/ 989 h 3959"/>
              <a:gd name="T88" fmla="*/ 2650 w 4299"/>
              <a:gd name="T89" fmla="*/ 226 h 3959"/>
              <a:gd name="T90" fmla="*/ 3213 w 4299"/>
              <a:gd name="T91" fmla="*/ 222 h 3959"/>
              <a:gd name="T92" fmla="*/ 880 w 4299"/>
              <a:gd name="T93" fmla="*/ 648 h 3959"/>
              <a:gd name="T94" fmla="*/ 1603 w 4299"/>
              <a:gd name="T95" fmla="*/ 429 h 3959"/>
              <a:gd name="T96" fmla="*/ 880 w 4299"/>
              <a:gd name="T97" fmla="*/ 648 h 3959"/>
              <a:gd name="T98" fmla="*/ 1820 w 4299"/>
              <a:gd name="T99" fmla="*/ 460 h 3959"/>
              <a:gd name="T100" fmla="*/ 1495 w 4299"/>
              <a:gd name="T101" fmla="*/ 634 h 3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299" h="3959">
                <a:moveTo>
                  <a:pt x="1493" y="3942"/>
                </a:moveTo>
                <a:cubicBezTo>
                  <a:pt x="1475" y="3934"/>
                  <a:pt x="1400" y="3901"/>
                  <a:pt x="1327" y="3868"/>
                </a:cubicBezTo>
                <a:cubicBezTo>
                  <a:pt x="1179" y="3803"/>
                  <a:pt x="907" y="3652"/>
                  <a:pt x="907" y="3635"/>
                </a:cubicBezTo>
                <a:cubicBezTo>
                  <a:pt x="907" y="3628"/>
                  <a:pt x="1162" y="3218"/>
                  <a:pt x="1193" y="3175"/>
                </a:cubicBezTo>
                <a:cubicBezTo>
                  <a:pt x="1195" y="3174"/>
                  <a:pt x="1256" y="3207"/>
                  <a:pt x="1329" y="3249"/>
                </a:cubicBezTo>
                <a:cubicBezTo>
                  <a:pt x="1402" y="3291"/>
                  <a:pt x="1525" y="3353"/>
                  <a:pt x="1601" y="3385"/>
                </a:cubicBezTo>
                <a:cubicBezTo>
                  <a:pt x="1677" y="3418"/>
                  <a:pt x="1742" y="3446"/>
                  <a:pt x="1745" y="3448"/>
                </a:cubicBezTo>
                <a:cubicBezTo>
                  <a:pt x="1750" y="3451"/>
                  <a:pt x="1701" y="3587"/>
                  <a:pt x="1600" y="3849"/>
                </a:cubicBezTo>
                <a:cubicBezTo>
                  <a:pt x="1577" y="3909"/>
                  <a:pt x="1551" y="3959"/>
                  <a:pt x="1542" y="3958"/>
                </a:cubicBezTo>
                <a:cubicBezTo>
                  <a:pt x="1534" y="3958"/>
                  <a:pt x="1512" y="3950"/>
                  <a:pt x="1493" y="3942"/>
                </a:cubicBezTo>
                <a:close/>
                <a:moveTo>
                  <a:pt x="2763" y="3549"/>
                </a:moveTo>
                <a:cubicBezTo>
                  <a:pt x="2732" y="3546"/>
                  <a:pt x="2707" y="3540"/>
                  <a:pt x="2707" y="3535"/>
                </a:cubicBezTo>
                <a:cubicBezTo>
                  <a:pt x="2707" y="3530"/>
                  <a:pt x="2747" y="3511"/>
                  <a:pt x="2796" y="3492"/>
                </a:cubicBezTo>
                <a:cubicBezTo>
                  <a:pt x="2845" y="3474"/>
                  <a:pt x="2940" y="3428"/>
                  <a:pt x="3007" y="3390"/>
                </a:cubicBezTo>
                <a:lnTo>
                  <a:pt x="3129" y="3321"/>
                </a:lnTo>
                <a:lnTo>
                  <a:pt x="3270" y="3317"/>
                </a:lnTo>
                <a:cubicBezTo>
                  <a:pt x="3377" y="3313"/>
                  <a:pt x="3408" y="3316"/>
                  <a:pt x="3398" y="3328"/>
                </a:cubicBezTo>
                <a:cubicBezTo>
                  <a:pt x="3383" y="3346"/>
                  <a:pt x="3091" y="3492"/>
                  <a:pt x="2990" y="3531"/>
                </a:cubicBezTo>
                <a:cubicBezTo>
                  <a:pt x="2922" y="3558"/>
                  <a:pt x="2888" y="3560"/>
                  <a:pt x="2763" y="3549"/>
                </a:cubicBezTo>
                <a:close/>
                <a:moveTo>
                  <a:pt x="2414" y="3501"/>
                </a:moveTo>
                <a:lnTo>
                  <a:pt x="2314" y="3486"/>
                </a:lnTo>
                <a:lnTo>
                  <a:pt x="2460" y="3412"/>
                </a:lnTo>
                <a:lnTo>
                  <a:pt x="2607" y="3339"/>
                </a:lnTo>
                <a:lnTo>
                  <a:pt x="2795" y="3332"/>
                </a:lnTo>
                <a:cubicBezTo>
                  <a:pt x="2901" y="3329"/>
                  <a:pt x="2981" y="3331"/>
                  <a:pt x="2977" y="3337"/>
                </a:cubicBezTo>
                <a:cubicBezTo>
                  <a:pt x="2973" y="3344"/>
                  <a:pt x="2895" y="3385"/>
                  <a:pt x="2803" y="3429"/>
                </a:cubicBezTo>
                <a:cubicBezTo>
                  <a:pt x="2618" y="3519"/>
                  <a:pt x="2576" y="3527"/>
                  <a:pt x="2414" y="3501"/>
                </a:cubicBezTo>
                <a:close/>
                <a:moveTo>
                  <a:pt x="2836" y="3153"/>
                </a:moveTo>
                <a:cubicBezTo>
                  <a:pt x="2900" y="3090"/>
                  <a:pt x="2956" y="3039"/>
                  <a:pt x="2960" y="3039"/>
                </a:cubicBezTo>
                <a:cubicBezTo>
                  <a:pt x="2964" y="3038"/>
                  <a:pt x="3072" y="3015"/>
                  <a:pt x="3200" y="2986"/>
                </a:cubicBezTo>
                <a:cubicBezTo>
                  <a:pt x="3328" y="2958"/>
                  <a:pt x="3436" y="2937"/>
                  <a:pt x="3439" y="2941"/>
                </a:cubicBezTo>
                <a:cubicBezTo>
                  <a:pt x="3447" y="2948"/>
                  <a:pt x="3265" y="3133"/>
                  <a:pt x="3198" y="3187"/>
                </a:cubicBezTo>
                <a:cubicBezTo>
                  <a:pt x="3155" y="3221"/>
                  <a:pt x="3134" y="3227"/>
                  <a:pt x="3011" y="3239"/>
                </a:cubicBezTo>
                <a:cubicBezTo>
                  <a:pt x="2935" y="3246"/>
                  <a:pt x="2838" y="3255"/>
                  <a:pt x="2796" y="3259"/>
                </a:cubicBezTo>
                <a:lnTo>
                  <a:pt x="2718" y="3267"/>
                </a:lnTo>
                <a:lnTo>
                  <a:pt x="2836" y="3153"/>
                </a:lnTo>
                <a:close/>
                <a:moveTo>
                  <a:pt x="1707" y="3194"/>
                </a:moveTo>
                <a:cubicBezTo>
                  <a:pt x="1486" y="3097"/>
                  <a:pt x="1317" y="3000"/>
                  <a:pt x="1326" y="2976"/>
                </a:cubicBezTo>
                <a:cubicBezTo>
                  <a:pt x="1330" y="2966"/>
                  <a:pt x="1417" y="2828"/>
                  <a:pt x="1519" y="2667"/>
                </a:cubicBezTo>
                <a:lnTo>
                  <a:pt x="1706" y="2376"/>
                </a:lnTo>
                <a:lnTo>
                  <a:pt x="1897" y="2471"/>
                </a:lnTo>
                <a:lnTo>
                  <a:pt x="2088" y="2566"/>
                </a:lnTo>
                <a:lnTo>
                  <a:pt x="2047" y="2673"/>
                </a:lnTo>
                <a:cubicBezTo>
                  <a:pt x="1883" y="3110"/>
                  <a:pt x="1832" y="3239"/>
                  <a:pt x="1820" y="3238"/>
                </a:cubicBezTo>
                <a:cubicBezTo>
                  <a:pt x="1813" y="3238"/>
                  <a:pt x="1762" y="3218"/>
                  <a:pt x="1707" y="3194"/>
                </a:cubicBezTo>
                <a:close/>
                <a:moveTo>
                  <a:pt x="163" y="2875"/>
                </a:moveTo>
                <a:cubicBezTo>
                  <a:pt x="133" y="2822"/>
                  <a:pt x="87" y="2725"/>
                  <a:pt x="60" y="2660"/>
                </a:cubicBezTo>
                <a:cubicBezTo>
                  <a:pt x="22" y="2564"/>
                  <a:pt x="16" y="2537"/>
                  <a:pt x="30" y="2525"/>
                </a:cubicBezTo>
                <a:cubicBezTo>
                  <a:pt x="56" y="2501"/>
                  <a:pt x="443" y="2237"/>
                  <a:pt x="446" y="2242"/>
                </a:cubicBezTo>
                <a:cubicBezTo>
                  <a:pt x="448" y="2244"/>
                  <a:pt x="468" y="2294"/>
                  <a:pt x="491" y="2353"/>
                </a:cubicBezTo>
                <a:cubicBezTo>
                  <a:pt x="515" y="2411"/>
                  <a:pt x="554" y="2493"/>
                  <a:pt x="579" y="2534"/>
                </a:cubicBezTo>
                <a:lnTo>
                  <a:pt x="624" y="2609"/>
                </a:lnTo>
                <a:lnTo>
                  <a:pt x="443" y="2774"/>
                </a:lnTo>
                <a:cubicBezTo>
                  <a:pt x="343" y="2865"/>
                  <a:pt x="251" y="2946"/>
                  <a:pt x="239" y="2955"/>
                </a:cubicBezTo>
                <a:cubicBezTo>
                  <a:pt x="220" y="2969"/>
                  <a:pt x="210" y="2958"/>
                  <a:pt x="163" y="2875"/>
                </a:cubicBezTo>
                <a:close/>
                <a:moveTo>
                  <a:pt x="3013" y="2938"/>
                </a:moveTo>
                <a:cubicBezTo>
                  <a:pt x="3013" y="2935"/>
                  <a:pt x="3028" y="2903"/>
                  <a:pt x="3045" y="2868"/>
                </a:cubicBezTo>
                <a:cubicBezTo>
                  <a:pt x="3062" y="2834"/>
                  <a:pt x="3084" y="2783"/>
                  <a:pt x="3092" y="2756"/>
                </a:cubicBezTo>
                <a:cubicBezTo>
                  <a:pt x="3101" y="2728"/>
                  <a:pt x="3114" y="2703"/>
                  <a:pt x="3121" y="2699"/>
                </a:cubicBezTo>
                <a:cubicBezTo>
                  <a:pt x="3127" y="2695"/>
                  <a:pt x="3256" y="2641"/>
                  <a:pt x="3407" y="2579"/>
                </a:cubicBezTo>
                <a:lnTo>
                  <a:pt x="3682" y="2467"/>
                </a:lnTo>
                <a:lnTo>
                  <a:pt x="3673" y="2510"/>
                </a:lnTo>
                <a:cubicBezTo>
                  <a:pt x="3662" y="2561"/>
                  <a:pt x="3555" y="2792"/>
                  <a:pt x="3537" y="2803"/>
                </a:cubicBezTo>
                <a:cubicBezTo>
                  <a:pt x="3523" y="2812"/>
                  <a:pt x="3041" y="2946"/>
                  <a:pt x="3023" y="2946"/>
                </a:cubicBezTo>
                <a:cubicBezTo>
                  <a:pt x="3018" y="2946"/>
                  <a:pt x="3013" y="2942"/>
                  <a:pt x="3013" y="2938"/>
                </a:cubicBezTo>
                <a:close/>
                <a:moveTo>
                  <a:pt x="1085" y="2809"/>
                </a:moveTo>
                <a:cubicBezTo>
                  <a:pt x="1041" y="2771"/>
                  <a:pt x="973" y="2704"/>
                  <a:pt x="934" y="2660"/>
                </a:cubicBezTo>
                <a:lnTo>
                  <a:pt x="864" y="2582"/>
                </a:lnTo>
                <a:lnTo>
                  <a:pt x="1118" y="2328"/>
                </a:lnTo>
                <a:lnTo>
                  <a:pt x="1372" y="2073"/>
                </a:lnTo>
                <a:lnTo>
                  <a:pt x="1485" y="2179"/>
                </a:lnTo>
                <a:cubicBezTo>
                  <a:pt x="1546" y="2238"/>
                  <a:pt x="1597" y="2290"/>
                  <a:pt x="1598" y="2295"/>
                </a:cubicBezTo>
                <a:cubicBezTo>
                  <a:pt x="1601" y="2309"/>
                  <a:pt x="1194" y="2870"/>
                  <a:pt x="1178" y="2875"/>
                </a:cubicBezTo>
                <a:cubicBezTo>
                  <a:pt x="1171" y="2877"/>
                  <a:pt x="1129" y="2848"/>
                  <a:pt x="1085" y="2809"/>
                </a:cubicBezTo>
                <a:close/>
                <a:moveTo>
                  <a:pt x="3746" y="2687"/>
                </a:moveTo>
                <a:cubicBezTo>
                  <a:pt x="3770" y="2645"/>
                  <a:pt x="3806" y="2563"/>
                  <a:pt x="3826" y="2503"/>
                </a:cubicBezTo>
                <a:lnTo>
                  <a:pt x="3862" y="2396"/>
                </a:lnTo>
                <a:lnTo>
                  <a:pt x="4073" y="2310"/>
                </a:lnTo>
                <a:cubicBezTo>
                  <a:pt x="4188" y="2263"/>
                  <a:pt x="4285" y="2226"/>
                  <a:pt x="4288" y="2229"/>
                </a:cubicBezTo>
                <a:cubicBezTo>
                  <a:pt x="4299" y="2240"/>
                  <a:pt x="4227" y="2428"/>
                  <a:pt x="4168" y="2541"/>
                </a:cubicBezTo>
                <a:lnTo>
                  <a:pt x="4107" y="2659"/>
                </a:lnTo>
                <a:lnTo>
                  <a:pt x="3930" y="2704"/>
                </a:lnTo>
                <a:cubicBezTo>
                  <a:pt x="3833" y="2729"/>
                  <a:pt x="3742" y="2753"/>
                  <a:pt x="3728" y="2757"/>
                </a:cubicBezTo>
                <a:cubicBezTo>
                  <a:pt x="3706" y="2762"/>
                  <a:pt x="3708" y="2753"/>
                  <a:pt x="3746" y="2687"/>
                </a:cubicBezTo>
                <a:close/>
                <a:moveTo>
                  <a:pt x="3133" y="2486"/>
                </a:moveTo>
                <a:cubicBezTo>
                  <a:pt x="3133" y="2425"/>
                  <a:pt x="3130" y="2366"/>
                  <a:pt x="3126" y="2356"/>
                </a:cubicBezTo>
                <a:cubicBezTo>
                  <a:pt x="3119" y="2336"/>
                  <a:pt x="3688" y="1976"/>
                  <a:pt x="3704" y="1992"/>
                </a:cubicBezTo>
                <a:cubicBezTo>
                  <a:pt x="3709" y="1997"/>
                  <a:pt x="3713" y="2076"/>
                  <a:pt x="3713" y="2168"/>
                </a:cubicBezTo>
                <a:lnTo>
                  <a:pt x="3713" y="2335"/>
                </a:lnTo>
                <a:lnTo>
                  <a:pt x="3467" y="2448"/>
                </a:lnTo>
                <a:cubicBezTo>
                  <a:pt x="3331" y="2510"/>
                  <a:pt x="3201" y="2569"/>
                  <a:pt x="3177" y="2579"/>
                </a:cubicBezTo>
                <a:lnTo>
                  <a:pt x="3133" y="2598"/>
                </a:lnTo>
                <a:lnTo>
                  <a:pt x="3133" y="2486"/>
                </a:lnTo>
                <a:close/>
                <a:moveTo>
                  <a:pt x="708" y="2330"/>
                </a:moveTo>
                <a:cubicBezTo>
                  <a:pt x="597" y="2106"/>
                  <a:pt x="579" y="2144"/>
                  <a:pt x="905" y="1922"/>
                </a:cubicBezTo>
                <a:cubicBezTo>
                  <a:pt x="1058" y="1818"/>
                  <a:pt x="1187" y="1732"/>
                  <a:pt x="1192" y="1732"/>
                </a:cubicBezTo>
                <a:cubicBezTo>
                  <a:pt x="1196" y="1732"/>
                  <a:pt x="1200" y="1740"/>
                  <a:pt x="1200" y="1748"/>
                </a:cubicBezTo>
                <a:cubicBezTo>
                  <a:pt x="1200" y="1757"/>
                  <a:pt x="1225" y="1815"/>
                  <a:pt x="1255" y="1876"/>
                </a:cubicBezTo>
                <a:cubicBezTo>
                  <a:pt x="1286" y="1937"/>
                  <a:pt x="1305" y="1992"/>
                  <a:pt x="1298" y="1997"/>
                </a:cubicBezTo>
                <a:cubicBezTo>
                  <a:pt x="1292" y="2003"/>
                  <a:pt x="1185" y="2100"/>
                  <a:pt x="1060" y="2212"/>
                </a:cubicBezTo>
                <a:cubicBezTo>
                  <a:pt x="935" y="2325"/>
                  <a:pt x="820" y="2429"/>
                  <a:pt x="804" y="2443"/>
                </a:cubicBezTo>
                <a:lnTo>
                  <a:pt x="776" y="2468"/>
                </a:lnTo>
                <a:lnTo>
                  <a:pt x="708" y="2330"/>
                </a:lnTo>
                <a:close/>
                <a:moveTo>
                  <a:pt x="3093" y="2224"/>
                </a:moveTo>
                <a:cubicBezTo>
                  <a:pt x="3093" y="2215"/>
                  <a:pt x="3069" y="2158"/>
                  <a:pt x="3040" y="2097"/>
                </a:cubicBezTo>
                <a:cubicBezTo>
                  <a:pt x="3011" y="2037"/>
                  <a:pt x="2987" y="1985"/>
                  <a:pt x="2987" y="1981"/>
                </a:cubicBezTo>
                <a:cubicBezTo>
                  <a:pt x="2987" y="1974"/>
                  <a:pt x="3493" y="1514"/>
                  <a:pt x="3507" y="1508"/>
                </a:cubicBezTo>
                <a:cubicBezTo>
                  <a:pt x="3520" y="1503"/>
                  <a:pt x="3649" y="1761"/>
                  <a:pt x="3661" y="1814"/>
                </a:cubicBezTo>
                <a:cubicBezTo>
                  <a:pt x="3668" y="1847"/>
                  <a:pt x="3653" y="1860"/>
                  <a:pt x="3398" y="2035"/>
                </a:cubicBezTo>
                <a:cubicBezTo>
                  <a:pt x="3071" y="2258"/>
                  <a:pt x="3093" y="2244"/>
                  <a:pt x="3093" y="2224"/>
                </a:cubicBezTo>
                <a:close/>
                <a:moveTo>
                  <a:pt x="582" y="1943"/>
                </a:moveTo>
                <a:cubicBezTo>
                  <a:pt x="566" y="1866"/>
                  <a:pt x="572" y="1643"/>
                  <a:pt x="590" y="1629"/>
                </a:cubicBezTo>
                <a:cubicBezTo>
                  <a:pt x="614" y="1610"/>
                  <a:pt x="1148" y="1369"/>
                  <a:pt x="1153" y="1375"/>
                </a:cubicBezTo>
                <a:cubicBezTo>
                  <a:pt x="1156" y="1377"/>
                  <a:pt x="1160" y="1436"/>
                  <a:pt x="1161" y="1506"/>
                </a:cubicBezTo>
                <a:lnTo>
                  <a:pt x="1164" y="1632"/>
                </a:lnTo>
                <a:lnTo>
                  <a:pt x="912" y="1789"/>
                </a:lnTo>
                <a:cubicBezTo>
                  <a:pt x="564" y="2006"/>
                  <a:pt x="592" y="1993"/>
                  <a:pt x="582" y="1943"/>
                </a:cubicBezTo>
                <a:close/>
                <a:moveTo>
                  <a:pt x="2803" y="1777"/>
                </a:moveTo>
                <a:cubicBezTo>
                  <a:pt x="2725" y="1699"/>
                  <a:pt x="2695" y="1660"/>
                  <a:pt x="2703" y="1647"/>
                </a:cubicBezTo>
                <a:cubicBezTo>
                  <a:pt x="2709" y="1637"/>
                  <a:pt x="2803" y="1505"/>
                  <a:pt x="2912" y="1354"/>
                </a:cubicBezTo>
                <a:cubicBezTo>
                  <a:pt x="3047" y="1169"/>
                  <a:pt x="3116" y="1083"/>
                  <a:pt x="3128" y="1089"/>
                </a:cubicBezTo>
                <a:cubicBezTo>
                  <a:pt x="3164" y="1110"/>
                  <a:pt x="3319" y="1254"/>
                  <a:pt x="3371" y="1316"/>
                </a:cubicBezTo>
                <a:lnTo>
                  <a:pt x="3425" y="1381"/>
                </a:lnTo>
                <a:lnTo>
                  <a:pt x="3169" y="1635"/>
                </a:lnTo>
                <a:lnTo>
                  <a:pt x="2913" y="1888"/>
                </a:lnTo>
                <a:lnTo>
                  <a:pt x="2803" y="1777"/>
                </a:lnTo>
                <a:close/>
                <a:moveTo>
                  <a:pt x="0" y="1732"/>
                </a:moveTo>
                <a:cubicBezTo>
                  <a:pt x="0" y="1726"/>
                  <a:pt x="16" y="1677"/>
                  <a:pt x="35" y="1623"/>
                </a:cubicBezTo>
                <a:cubicBezTo>
                  <a:pt x="85" y="1483"/>
                  <a:pt x="173" y="1318"/>
                  <a:pt x="205" y="1304"/>
                </a:cubicBezTo>
                <a:cubicBezTo>
                  <a:pt x="221" y="1297"/>
                  <a:pt x="313" y="1272"/>
                  <a:pt x="410" y="1247"/>
                </a:cubicBezTo>
                <a:lnTo>
                  <a:pt x="586" y="1201"/>
                </a:lnTo>
                <a:lnTo>
                  <a:pt x="534" y="1304"/>
                </a:lnTo>
                <a:cubicBezTo>
                  <a:pt x="505" y="1361"/>
                  <a:pt x="472" y="1440"/>
                  <a:pt x="459" y="1480"/>
                </a:cubicBezTo>
                <a:cubicBezTo>
                  <a:pt x="446" y="1520"/>
                  <a:pt x="431" y="1557"/>
                  <a:pt x="426" y="1564"/>
                </a:cubicBezTo>
                <a:cubicBezTo>
                  <a:pt x="409" y="1583"/>
                  <a:pt x="0" y="1744"/>
                  <a:pt x="0" y="1732"/>
                </a:cubicBezTo>
                <a:close/>
                <a:moveTo>
                  <a:pt x="3815" y="1646"/>
                </a:moveTo>
                <a:cubicBezTo>
                  <a:pt x="3782" y="1558"/>
                  <a:pt x="3727" y="1446"/>
                  <a:pt x="3691" y="1396"/>
                </a:cubicBezTo>
                <a:lnTo>
                  <a:pt x="3666" y="1361"/>
                </a:lnTo>
                <a:lnTo>
                  <a:pt x="3863" y="1180"/>
                </a:lnTo>
                <a:cubicBezTo>
                  <a:pt x="3971" y="1080"/>
                  <a:pt x="4064" y="999"/>
                  <a:pt x="4069" y="999"/>
                </a:cubicBezTo>
                <a:cubicBezTo>
                  <a:pt x="4092" y="999"/>
                  <a:pt x="4294" y="1419"/>
                  <a:pt x="4277" y="1432"/>
                </a:cubicBezTo>
                <a:cubicBezTo>
                  <a:pt x="4252" y="1453"/>
                  <a:pt x="3872" y="1709"/>
                  <a:pt x="3860" y="1714"/>
                </a:cubicBezTo>
                <a:cubicBezTo>
                  <a:pt x="3849" y="1718"/>
                  <a:pt x="3833" y="1694"/>
                  <a:pt x="3815" y="1646"/>
                </a:cubicBezTo>
                <a:close/>
                <a:moveTo>
                  <a:pt x="2473" y="1532"/>
                </a:moveTo>
                <a:cubicBezTo>
                  <a:pt x="2422" y="1503"/>
                  <a:pt x="2341" y="1463"/>
                  <a:pt x="2293" y="1443"/>
                </a:cubicBezTo>
                <a:cubicBezTo>
                  <a:pt x="2246" y="1423"/>
                  <a:pt x="2205" y="1406"/>
                  <a:pt x="2204" y="1405"/>
                </a:cubicBezTo>
                <a:cubicBezTo>
                  <a:pt x="2202" y="1405"/>
                  <a:pt x="2219" y="1356"/>
                  <a:pt x="2242" y="1298"/>
                </a:cubicBezTo>
                <a:cubicBezTo>
                  <a:pt x="2264" y="1240"/>
                  <a:pt x="2315" y="1108"/>
                  <a:pt x="2354" y="1004"/>
                </a:cubicBezTo>
                <a:cubicBezTo>
                  <a:pt x="2393" y="901"/>
                  <a:pt x="2434" y="795"/>
                  <a:pt x="2445" y="768"/>
                </a:cubicBezTo>
                <a:lnTo>
                  <a:pt x="2465" y="720"/>
                </a:lnTo>
                <a:lnTo>
                  <a:pt x="2549" y="754"/>
                </a:lnTo>
                <a:cubicBezTo>
                  <a:pt x="2649" y="794"/>
                  <a:pt x="2900" y="923"/>
                  <a:pt x="2945" y="957"/>
                </a:cubicBezTo>
                <a:lnTo>
                  <a:pt x="2976" y="981"/>
                </a:lnTo>
                <a:lnTo>
                  <a:pt x="2785" y="1279"/>
                </a:lnTo>
                <a:cubicBezTo>
                  <a:pt x="2679" y="1443"/>
                  <a:pt x="2587" y="1578"/>
                  <a:pt x="2580" y="1581"/>
                </a:cubicBezTo>
                <a:cubicBezTo>
                  <a:pt x="2573" y="1583"/>
                  <a:pt x="2525" y="1561"/>
                  <a:pt x="2473" y="1532"/>
                </a:cubicBezTo>
                <a:close/>
                <a:moveTo>
                  <a:pt x="619" y="1449"/>
                </a:moveTo>
                <a:cubicBezTo>
                  <a:pt x="623" y="1425"/>
                  <a:pt x="656" y="1349"/>
                  <a:pt x="690" y="1280"/>
                </a:cubicBezTo>
                <a:lnTo>
                  <a:pt x="753" y="1154"/>
                </a:lnTo>
                <a:lnTo>
                  <a:pt x="1013" y="1085"/>
                </a:lnTo>
                <a:cubicBezTo>
                  <a:pt x="1156" y="1047"/>
                  <a:pt x="1275" y="1018"/>
                  <a:pt x="1278" y="1020"/>
                </a:cubicBezTo>
                <a:cubicBezTo>
                  <a:pt x="1280" y="1021"/>
                  <a:pt x="1267" y="1052"/>
                  <a:pt x="1249" y="1088"/>
                </a:cubicBezTo>
                <a:cubicBezTo>
                  <a:pt x="1231" y="1123"/>
                  <a:pt x="1209" y="1177"/>
                  <a:pt x="1200" y="1208"/>
                </a:cubicBezTo>
                <a:cubicBezTo>
                  <a:pt x="1181" y="1271"/>
                  <a:pt x="1211" y="1254"/>
                  <a:pt x="821" y="1412"/>
                </a:cubicBezTo>
                <a:cubicBezTo>
                  <a:pt x="712" y="1456"/>
                  <a:pt x="620" y="1492"/>
                  <a:pt x="616" y="1492"/>
                </a:cubicBezTo>
                <a:cubicBezTo>
                  <a:pt x="613" y="1492"/>
                  <a:pt x="614" y="1473"/>
                  <a:pt x="619" y="1449"/>
                </a:cubicBezTo>
                <a:close/>
                <a:moveTo>
                  <a:pt x="878" y="989"/>
                </a:moveTo>
                <a:cubicBezTo>
                  <a:pt x="909" y="945"/>
                  <a:pt x="1042" y="818"/>
                  <a:pt x="1107" y="770"/>
                </a:cubicBezTo>
                <a:cubicBezTo>
                  <a:pt x="1146" y="741"/>
                  <a:pt x="1173" y="734"/>
                  <a:pt x="1273" y="727"/>
                </a:cubicBezTo>
                <a:cubicBezTo>
                  <a:pt x="1339" y="722"/>
                  <a:pt x="1432" y="714"/>
                  <a:pt x="1480" y="710"/>
                </a:cubicBezTo>
                <a:lnTo>
                  <a:pt x="1566" y="701"/>
                </a:lnTo>
                <a:lnTo>
                  <a:pt x="1454" y="813"/>
                </a:lnTo>
                <a:lnTo>
                  <a:pt x="1341" y="924"/>
                </a:lnTo>
                <a:lnTo>
                  <a:pt x="1107" y="975"/>
                </a:lnTo>
                <a:cubicBezTo>
                  <a:pt x="979" y="1003"/>
                  <a:pt x="869" y="1026"/>
                  <a:pt x="863" y="1026"/>
                </a:cubicBezTo>
                <a:cubicBezTo>
                  <a:pt x="857" y="1026"/>
                  <a:pt x="863" y="1009"/>
                  <a:pt x="878" y="989"/>
                </a:cubicBezTo>
                <a:close/>
                <a:moveTo>
                  <a:pt x="2960" y="715"/>
                </a:moveTo>
                <a:cubicBezTo>
                  <a:pt x="2898" y="678"/>
                  <a:pt x="2782" y="620"/>
                  <a:pt x="2702" y="585"/>
                </a:cubicBezTo>
                <a:cubicBezTo>
                  <a:pt x="2623" y="550"/>
                  <a:pt x="2555" y="518"/>
                  <a:pt x="2551" y="515"/>
                </a:cubicBezTo>
                <a:cubicBezTo>
                  <a:pt x="2544" y="508"/>
                  <a:pt x="2578" y="408"/>
                  <a:pt x="2650" y="226"/>
                </a:cubicBezTo>
                <a:cubicBezTo>
                  <a:pt x="2671" y="171"/>
                  <a:pt x="2699" y="97"/>
                  <a:pt x="2712" y="63"/>
                </a:cubicBezTo>
                <a:lnTo>
                  <a:pt x="2735" y="0"/>
                </a:lnTo>
                <a:lnTo>
                  <a:pt x="2804" y="27"/>
                </a:lnTo>
                <a:cubicBezTo>
                  <a:pt x="2929" y="75"/>
                  <a:pt x="3084" y="150"/>
                  <a:pt x="3213" y="222"/>
                </a:cubicBezTo>
                <a:cubicBezTo>
                  <a:pt x="3416" y="337"/>
                  <a:pt x="3413" y="296"/>
                  <a:pt x="3245" y="558"/>
                </a:cubicBezTo>
                <a:cubicBezTo>
                  <a:pt x="3165" y="683"/>
                  <a:pt x="3094" y="785"/>
                  <a:pt x="3087" y="784"/>
                </a:cubicBezTo>
                <a:cubicBezTo>
                  <a:pt x="3079" y="783"/>
                  <a:pt x="3022" y="753"/>
                  <a:pt x="2960" y="715"/>
                </a:cubicBezTo>
                <a:close/>
                <a:moveTo>
                  <a:pt x="880" y="648"/>
                </a:moveTo>
                <a:cubicBezTo>
                  <a:pt x="880" y="636"/>
                  <a:pt x="1096" y="524"/>
                  <a:pt x="1243" y="460"/>
                </a:cubicBezTo>
                <a:lnTo>
                  <a:pt x="1387" y="397"/>
                </a:lnTo>
                <a:lnTo>
                  <a:pt x="1495" y="413"/>
                </a:lnTo>
                <a:lnTo>
                  <a:pt x="1603" y="429"/>
                </a:lnTo>
                <a:lnTo>
                  <a:pt x="1484" y="478"/>
                </a:lnTo>
                <a:cubicBezTo>
                  <a:pt x="1419" y="505"/>
                  <a:pt x="1320" y="553"/>
                  <a:pt x="1266" y="585"/>
                </a:cubicBezTo>
                <a:cubicBezTo>
                  <a:pt x="1168" y="643"/>
                  <a:pt x="1164" y="644"/>
                  <a:pt x="1023" y="649"/>
                </a:cubicBezTo>
                <a:cubicBezTo>
                  <a:pt x="945" y="653"/>
                  <a:pt x="880" y="652"/>
                  <a:pt x="880" y="648"/>
                </a:cubicBezTo>
                <a:close/>
                <a:moveTo>
                  <a:pt x="1307" y="636"/>
                </a:moveTo>
                <a:cubicBezTo>
                  <a:pt x="1307" y="623"/>
                  <a:pt x="1465" y="541"/>
                  <a:pt x="1587" y="489"/>
                </a:cubicBezTo>
                <a:lnTo>
                  <a:pt x="1700" y="441"/>
                </a:lnTo>
                <a:lnTo>
                  <a:pt x="1820" y="460"/>
                </a:lnTo>
                <a:cubicBezTo>
                  <a:pt x="1886" y="470"/>
                  <a:pt x="1948" y="478"/>
                  <a:pt x="1958" y="479"/>
                </a:cubicBezTo>
                <a:cubicBezTo>
                  <a:pt x="1968" y="479"/>
                  <a:pt x="1910" y="512"/>
                  <a:pt x="1830" y="552"/>
                </a:cubicBezTo>
                <a:lnTo>
                  <a:pt x="1684" y="625"/>
                </a:lnTo>
                <a:lnTo>
                  <a:pt x="1495" y="634"/>
                </a:lnTo>
                <a:cubicBezTo>
                  <a:pt x="1391" y="639"/>
                  <a:pt x="1307" y="640"/>
                  <a:pt x="1307" y="636"/>
                </a:cubicBezTo>
                <a:close/>
              </a:path>
            </a:pathLst>
          </a:custGeom>
          <a:solidFill>
            <a:srgbClr val="CCD814"/>
          </a:solidFill>
          <a:ln w="0">
            <a:noFill/>
            <a:prstDash val="solid"/>
            <a:round/>
            <a:headEnd/>
            <a:tailEnd/>
          </a:ln>
          <a:effectLst>
            <a:reflection blurRad="6350" stA="52000" endA="300" endPos="35000" dir="5400000" sy="-100000" algn="bl" rotWithShape="0"/>
          </a:effectLst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609433">
              <a:defRPr/>
            </a:pPr>
            <a:endParaRPr lang="en-US" sz="3199">
              <a:solidFill>
                <a:prstClr val="black"/>
              </a:solidFill>
              <a:latin typeface="Corbel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986852" y="3169987"/>
            <a:ext cx="228540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525250" y="3169987"/>
            <a:ext cx="2556016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8350879" y="3169987"/>
            <a:ext cx="2681542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Business Context</a:t>
            </a:r>
          </a:p>
        </p:txBody>
      </p:sp>
    </p:spTree>
    <p:extLst>
      <p:ext uri="{BB962C8B-B14F-4D97-AF65-F5344CB8AC3E}">
        <p14:creationId xmlns:p14="http://schemas.microsoft.com/office/powerpoint/2010/main" val="2218952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617830" y="1602318"/>
            <a:ext cx="5663535" cy="4519083"/>
          </a:xfr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b="1" dirty="0"/>
              <a:t>STRENGTHEN</a:t>
            </a:r>
            <a:r>
              <a:rPr lang="en-US" dirty="0"/>
              <a:t> our end-to-end portfolio of products, services </a:t>
            </a:r>
            <a:br>
              <a:rPr lang="en-US" dirty="0"/>
            </a:br>
            <a:r>
              <a:rPr lang="en-US" dirty="0"/>
              <a:t>and solutions</a:t>
            </a:r>
          </a:p>
          <a:p>
            <a:pPr>
              <a:spcAft>
                <a:spcPts val="1800"/>
              </a:spcAft>
            </a:pPr>
            <a:r>
              <a:rPr lang="en-US" b="1" dirty="0"/>
              <a:t>INVEST</a:t>
            </a:r>
            <a:r>
              <a:rPr lang="en-US" dirty="0"/>
              <a:t> in next-generation technologies and delivery models  </a:t>
            </a:r>
          </a:p>
          <a:p>
            <a:pPr>
              <a:spcAft>
                <a:spcPts val="1800"/>
              </a:spcAft>
            </a:pPr>
            <a:r>
              <a:rPr lang="en-US" b="1" dirty="0"/>
              <a:t>OPTIMIZE</a:t>
            </a:r>
            <a:r>
              <a:rPr lang="en-US" dirty="0"/>
              <a:t> our global footprint  </a:t>
            </a:r>
          </a:p>
          <a:p>
            <a:pPr>
              <a:spcAft>
                <a:spcPts val="1800"/>
              </a:spcAft>
            </a:pPr>
            <a:r>
              <a:rPr lang="en-US" b="1" dirty="0"/>
              <a:t>TRANSFORM</a:t>
            </a:r>
            <a:r>
              <a:rPr lang="en-US" dirty="0"/>
              <a:t> Tech Data digitally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Our Strategy Focus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589" y="1219775"/>
            <a:ext cx="1220406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741" y="-75287"/>
            <a:ext cx="8086060" cy="717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0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Rectangle 347"/>
          <p:cNvSpPr/>
          <p:nvPr/>
        </p:nvSpPr>
        <p:spPr>
          <a:xfrm flipV="1">
            <a:off x="683694" y="1744176"/>
            <a:ext cx="11107151" cy="12189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>
              <a:defRPr/>
            </a:pPr>
            <a:endParaRPr lang="en-US" sz="3199">
              <a:solidFill>
                <a:prstClr val="white"/>
              </a:solidFill>
              <a:latin typeface="Corbel"/>
            </a:endParaRPr>
          </a:p>
        </p:txBody>
      </p:sp>
      <p:sp>
        <p:nvSpPr>
          <p:cNvPr id="351" name="Rectangle 350"/>
          <p:cNvSpPr/>
          <p:nvPr/>
        </p:nvSpPr>
        <p:spPr>
          <a:xfrm flipV="1">
            <a:off x="683694" y="2935972"/>
            <a:ext cx="11107151" cy="12189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>
              <a:defRPr/>
            </a:pPr>
            <a:endParaRPr lang="en-US" sz="3199">
              <a:solidFill>
                <a:prstClr val="white"/>
              </a:solidFill>
              <a:latin typeface="Corbel"/>
            </a:endParaRPr>
          </a:p>
        </p:txBody>
      </p:sp>
      <p:sp>
        <p:nvSpPr>
          <p:cNvPr id="352" name="Rectangle 351"/>
          <p:cNvSpPr/>
          <p:nvPr/>
        </p:nvSpPr>
        <p:spPr>
          <a:xfrm flipV="1">
            <a:off x="683694" y="4127768"/>
            <a:ext cx="11107151" cy="12189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888" tIns="60944" rIns="121888" bIns="6094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433">
              <a:defRPr/>
            </a:pPr>
            <a:endParaRPr lang="en-US" sz="3199">
              <a:solidFill>
                <a:prstClr val="white"/>
              </a:solidFill>
              <a:latin typeface="Corbel"/>
            </a:endParaRPr>
          </a:p>
        </p:txBody>
      </p:sp>
      <p:cxnSp>
        <p:nvCxnSpPr>
          <p:cNvPr id="294" name="Straight Connector 293"/>
          <p:cNvCxnSpPr/>
          <p:nvPr/>
        </p:nvCxnSpPr>
        <p:spPr>
          <a:xfrm flipV="1">
            <a:off x="6457530" y="4298370"/>
            <a:ext cx="0" cy="814685"/>
          </a:xfrm>
          <a:prstGeom prst="line">
            <a:avLst/>
          </a:prstGeom>
          <a:ln>
            <a:solidFill>
              <a:srgbClr val="FFFF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5" name="TextBox 294"/>
          <p:cNvSpPr txBox="1">
            <a:spLocks/>
          </p:cNvSpPr>
          <p:nvPr/>
        </p:nvSpPr>
        <p:spPr>
          <a:xfrm>
            <a:off x="4744216" y="2518463"/>
            <a:ext cx="585969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PCs</a:t>
            </a:r>
          </a:p>
        </p:txBody>
      </p:sp>
      <p:sp>
        <p:nvSpPr>
          <p:cNvPr id="296" name="TextBox 295"/>
          <p:cNvSpPr txBox="1">
            <a:spLocks/>
          </p:cNvSpPr>
          <p:nvPr/>
        </p:nvSpPr>
        <p:spPr>
          <a:xfrm>
            <a:off x="5910326" y="2518463"/>
            <a:ext cx="773520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Mobile</a:t>
            </a:r>
          </a:p>
        </p:txBody>
      </p:sp>
      <p:sp>
        <p:nvSpPr>
          <p:cNvPr id="297" name="TextBox 296"/>
          <p:cNvSpPr txBox="1">
            <a:spLocks/>
          </p:cNvSpPr>
          <p:nvPr/>
        </p:nvSpPr>
        <p:spPr>
          <a:xfrm>
            <a:off x="7161437" y="2518463"/>
            <a:ext cx="614823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Print</a:t>
            </a:r>
          </a:p>
        </p:txBody>
      </p:sp>
      <p:sp>
        <p:nvSpPr>
          <p:cNvPr id="298" name="Freeform 13"/>
          <p:cNvSpPr>
            <a:spLocks noChangeAspect="1" noEditPoints="1"/>
          </p:cNvSpPr>
          <p:nvPr/>
        </p:nvSpPr>
        <p:spPr bwMode="auto">
          <a:xfrm>
            <a:off x="7215145" y="2007752"/>
            <a:ext cx="518694" cy="461000"/>
          </a:xfrm>
          <a:custGeom>
            <a:avLst/>
            <a:gdLst>
              <a:gd name="T0" fmla="*/ 1428 w 6404"/>
              <a:gd name="T1" fmla="*/ 5453 h 5689"/>
              <a:gd name="T2" fmla="*/ 1403 w 6404"/>
              <a:gd name="T3" fmla="*/ 3200 h 5689"/>
              <a:gd name="T4" fmla="*/ 4953 w 6404"/>
              <a:gd name="T5" fmla="*/ 3200 h 5689"/>
              <a:gd name="T6" fmla="*/ 4953 w 6404"/>
              <a:gd name="T7" fmla="*/ 5406 h 5689"/>
              <a:gd name="T8" fmla="*/ 4636 w 6404"/>
              <a:gd name="T9" fmla="*/ 5676 h 5689"/>
              <a:gd name="T10" fmla="*/ 4517 w 6404"/>
              <a:gd name="T11" fmla="*/ 4765 h 5689"/>
              <a:gd name="T12" fmla="*/ 3178 w 6404"/>
              <a:gd name="T13" fmla="*/ 4437 h 5689"/>
              <a:gd name="T14" fmla="*/ 1760 w 6404"/>
              <a:gd name="T15" fmla="*/ 4645 h 5689"/>
              <a:gd name="T16" fmla="*/ 3203 w 6404"/>
              <a:gd name="T17" fmla="*/ 4796 h 5689"/>
              <a:gd name="T18" fmla="*/ 4517 w 6404"/>
              <a:gd name="T19" fmla="*/ 4765 h 5689"/>
              <a:gd name="T20" fmla="*/ 4502 w 6404"/>
              <a:gd name="T21" fmla="*/ 3747 h 5689"/>
              <a:gd name="T22" fmla="*/ 1852 w 6404"/>
              <a:gd name="T23" fmla="*/ 3751 h 5689"/>
              <a:gd name="T24" fmla="*/ 1883 w 6404"/>
              <a:gd name="T25" fmla="*/ 4074 h 5689"/>
              <a:gd name="T26" fmla="*/ 4448 w 6404"/>
              <a:gd name="T27" fmla="*/ 4087 h 5689"/>
              <a:gd name="T28" fmla="*/ 295 w 6404"/>
              <a:gd name="T29" fmla="*/ 4074 h 5689"/>
              <a:gd name="T30" fmla="*/ 6 w 6404"/>
              <a:gd name="T31" fmla="*/ 3035 h 5689"/>
              <a:gd name="T32" fmla="*/ 596 w 6404"/>
              <a:gd name="T33" fmla="*/ 1531 h 5689"/>
              <a:gd name="T34" fmla="*/ 1403 w 6404"/>
              <a:gd name="T35" fmla="*/ 1409 h 5689"/>
              <a:gd name="T36" fmla="*/ 1493 w 6404"/>
              <a:gd name="T37" fmla="*/ 119 h 5689"/>
              <a:gd name="T38" fmla="*/ 1672 w 6404"/>
              <a:gd name="T39" fmla="*/ 0 h 5689"/>
              <a:gd name="T40" fmla="*/ 4184 w 6404"/>
              <a:gd name="T41" fmla="*/ 0 h 5689"/>
              <a:gd name="T42" fmla="*/ 4611 w 6404"/>
              <a:gd name="T43" fmla="*/ 364 h 5689"/>
              <a:gd name="T44" fmla="*/ 4953 w 6404"/>
              <a:gd name="T45" fmla="*/ 1102 h 5689"/>
              <a:gd name="T46" fmla="*/ 5250 w 6404"/>
              <a:gd name="T47" fmla="*/ 1413 h 5689"/>
              <a:gd name="T48" fmla="*/ 6317 w 6404"/>
              <a:gd name="T49" fmla="*/ 1989 h 5689"/>
              <a:gd name="T50" fmla="*/ 6385 w 6404"/>
              <a:gd name="T51" fmla="*/ 3830 h 5689"/>
              <a:gd name="T52" fmla="*/ 5731 w 6404"/>
              <a:gd name="T53" fmla="*/ 4085 h 5689"/>
              <a:gd name="T54" fmla="*/ 5341 w 6404"/>
              <a:gd name="T55" fmla="*/ 3463 h 5689"/>
              <a:gd name="T56" fmla="*/ 3203 w 6404"/>
              <a:gd name="T57" fmla="*/ 2837 h 5689"/>
              <a:gd name="T58" fmla="*/ 1066 w 6404"/>
              <a:gd name="T59" fmla="*/ 3462 h 5689"/>
              <a:gd name="T60" fmla="*/ 706 w 6404"/>
              <a:gd name="T61" fmla="*/ 4086 h 5689"/>
              <a:gd name="T62" fmla="*/ 5422 w 6404"/>
              <a:gd name="T63" fmla="*/ 2468 h 5689"/>
              <a:gd name="T64" fmla="*/ 5596 w 6404"/>
              <a:gd name="T65" fmla="*/ 1889 h 5689"/>
              <a:gd name="T66" fmla="*/ 5013 w 6404"/>
              <a:gd name="T67" fmla="*/ 1980 h 5689"/>
              <a:gd name="T68" fmla="*/ 5270 w 6404"/>
              <a:gd name="T69" fmla="*/ 2474 h 5689"/>
              <a:gd name="T70" fmla="*/ 4603 w 6404"/>
              <a:gd name="T71" fmla="*/ 1134 h 5689"/>
              <a:gd name="T72" fmla="*/ 4350 w 6404"/>
              <a:gd name="T73" fmla="*/ 603 h 5689"/>
              <a:gd name="T74" fmla="*/ 2925 w 6404"/>
              <a:gd name="T75" fmla="*/ 350 h 5689"/>
              <a:gd name="T76" fmla="*/ 1753 w 6404"/>
              <a:gd name="T77" fmla="*/ 881 h 5689"/>
              <a:gd name="T78" fmla="*/ 3178 w 6404"/>
              <a:gd name="T79" fmla="*/ 1412 h 5689"/>
              <a:gd name="T80" fmla="*/ 4603 w 6404"/>
              <a:gd name="T81" fmla="*/ 1134 h 5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404" h="5689">
                <a:moveTo>
                  <a:pt x="1709" y="5675"/>
                </a:moveTo>
                <a:cubicBezTo>
                  <a:pt x="1584" y="5657"/>
                  <a:pt x="1471" y="5567"/>
                  <a:pt x="1428" y="5453"/>
                </a:cubicBezTo>
                <a:cubicBezTo>
                  <a:pt x="1404" y="5388"/>
                  <a:pt x="1403" y="5354"/>
                  <a:pt x="1403" y="4293"/>
                </a:cubicBezTo>
                <a:lnTo>
                  <a:pt x="1403" y="3200"/>
                </a:lnTo>
                <a:lnTo>
                  <a:pt x="3178" y="3200"/>
                </a:lnTo>
                <a:lnTo>
                  <a:pt x="4953" y="3200"/>
                </a:lnTo>
                <a:lnTo>
                  <a:pt x="4953" y="4303"/>
                </a:lnTo>
                <a:lnTo>
                  <a:pt x="4953" y="5406"/>
                </a:lnTo>
                <a:lnTo>
                  <a:pt x="4923" y="5470"/>
                </a:lnTo>
                <a:cubicBezTo>
                  <a:pt x="4867" y="5590"/>
                  <a:pt x="4776" y="5655"/>
                  <a:pt x="4636" y="5676"/>
                </a:cubicBezTo>
                <a:cubicBezTo>
                  <a:pt x="4544" y="5689"/>
                  <a:pt x="1800" y="5688"/>
                  <a:pt x="1709" y="5675"/>
                </a:cubicBezTo>
                <a:close/>
                <a:moveTo>
                  <a:pt x="4517" y="4765"/>
                </a:moveTo>
                <a:cubicBezTo>
                  <a:pt x="4635" y="4692"/>
                  <a:pt x="4627" y="4523"/>
                  <a:pt x="4502" y="4459"/>
                </a:cubicBezTo>
                <a:cubicBezTo>
                  <a:pt x="4462" y="4439"/>
                  <a:pt x="4373" y="4437"/>
                  <a:pt x="3178" y="4437"/>
                </a:cubicBezTo>
                <a:cubicBezTo>
                  <a:pt x="1963" y="4437"/>
                  <a:pt x="1894" y="4438"/>
                  <a:pt x="1853" y="4460"/>
                </a:cubicBezTo>
                <a:cubicBezTo>
                  <a:pt x="1793" y="4491"/>
                  <a:pt x="1748" y="4580"/>
                  <a:pt x="1760" y="4645"/>
                </a:cubicBezTo>
                <a:cubicBezTo>
                  <a:pt x="1772" y="4705"/>
                  <a:pt x="1835" y="4774"/>
                  <a:pt x="1891" y="4787"/>
                </a:cubicBezTo>
                <a:cubicBezTo>
                  <a:pt x="1915" y="4793"/>
                  <a:pt x="2505" y="4797"/>
                  <a:pt x="3203" y="4796"/>
                </a:cubicBezTo>
                <a:lnTo>
                  <a:pt x="4472" y="4794"/>
                </a:lnTo>
                <a:lnTo>
                  <a:pt x="4517" y="4765"/>
                </a:lnTo>
                <a:close/>
                <a:moveTo>
                  <a:pt x="4503" y="4059"/>
                </a:moveTo>
                <a:cubicBezTo>
                  <a:pt x="4634" y="3992"/>
                  <a:pt x="4634" y="3814"/>
                  <a:pt x="4502" y="3747"/>
                </a:cubicBezTo>
                <a:cubicBezTo>
                  <a:pt x="4462" y="3726"/>
                  <a:pt x="4373" y="3725"/>
                  <a:pt x="3181" y="3725"/>
                </a:cubicBezTo>
                <a:cubicBezTo>
                  <a:pt x="1914" y="3725"/>
                  <a:pt x="1902" y="3725"/>
                  <a:pt x="1852" y="3751"/>
                </a:cubicBezTo>
                <a:cubicBezTo>
                  <a:pt x="1788" y="3783"/>
                  <a:pt x="1747" y="3863"/>
                  <a:pt x="1760" y="3932"/>
                </a:cubicBezTo>
                <a:cubicBezTo>
                  <a:pt x="1771" y="3989"/>
                  <a:pt x="1831" y="4059"/>
                  <a:pt x="1883" y="4074"/>
                </a:cubicBezTo>
                <a:cubicBezTo>
                  <a:pt x="1905" y="4080"/>
                  <a:pt x="2465" y="4086"/>
                  <a:pt x="3185" y="4086"/>
                </a:cubicBezTo>
                <a:lnTo>
                  <a:pt x="4448" y="4087"/>
                </a:lnTo>
                <a:lnTo>
                  <a:pt x="4503" y="4059"/>
                </a:lnTo>
                <a:close/>
                <a:moveTo>
                  <a:pt x="295" y="4074"/>
                </a:moveTo>
                <a:cubicBezTo>
                  <a:pt x="215" y="4059"/>
                  <a:pt x="149" y="4019"/>
                  <a:pt x="92" y="3955"/>
                </a:cubicBezTo>
                <a:cubicBezTo>
                  <a:pt x="0" y="3851"/>
                  <a:pt x="1" y="3860"/>
                  <a:pt x="6" y="3035"/>
                </a:cubicBezTo>
                <a:cubicBezTo>
                  <a:pt x="11" y="2209"/>
                  <a:pt x="8" y="2242"/>
                  <a:pt x="116" y="2019"/>
                </a:cubicBezTo>
                <a:cubicBezTo>
                  <a:pt x="220" y="1802"/>
                  <a:pt x="384" y="1636"/>
                  <a:pt x="596" y="1531"/>
                </a:cubicBezTo>
                <a:cubicBezTo>
                  <a:pt x="775" y="1443"/>
                  <a:pt x="868" y="1424"/>
                  <a:pt x="1156" y="1416"/>
                </a:cubicBezTo>
                <a:lnTo>
                  <a:pt x="1403" y="1409"/>
                </a:lnTo>
                <a:lnTo>
                  <a:pt x="1403" y="857"/>
                </a:lnTo>
                <a:cubicBezTo>
                  <a:pt x="1403" y="230"/>
                  <a:pt x="1404" y="219"/>
                  <a:pt x="1493" y="119"/>
                </a:cubicBezTo>
                <a:cubicBezTo>
                  <a:pt x="1523" y="85"/>
                  <a:pt x="1573" y="46"/>
                  <a:pt x="1609" y="29"/>
                </a:cubicBezTo>
                <a:lnTo>
                  <a:pt x="1672" y="0"/>
                </a:lnTo>
                <a:lnTo>
                  <a:pt x="2928" y="0"/>
                </a:lnTo>
                <a:lnTo>
                  <a:pt x="4184" y="0"/>
                </a:lnTo>
                <a:lnTo>
                  <a:pt x="4247" y="30"/>
                </a:lnTo>
                <a:cubicBezTo>
                  <a:pt x="4294" y="52"/>
                  <a:pt x="4382" y="133"/>
                  <a:pt x="4611" y="364"/>
                </a:cubicBezTo>
                <a:cubicBezTo>
                  <a:pt x="4872" y="628"/>
                  <a:pt x="4915" y="677"/>
                  <a:pt x="4933" y="730"/>
                </a:cubicBezTo>
                <a:cubicBezTo>
                  <a:pt x="4949" y="781"/>
                  <a:pt x="4953" y="847"/>
                  <a:pt x="4953" y="1102"/>
                </a:cubicBezTo>
                <a:lnTo>
                  <a:pt x="4953" y="1412"/>
                </a:lnTo>
                <a:lnTo>
                  <a:pt x="5250" y="1413"/>
                </a:lnTo>
                <a:cubicBezTo>
                  <a:pt x="5413" y="1413"/>
                  <a:pt x="5588" y="1418"/>
                  <a:pt x="5638" y="1425"/>
                </a:cubicBezTo>
                <a:cubicBezTo>
                  <a:pt x="5958" y="1466"/>
                  <a:pt x="6200" y="1667"/>
                  <a:pt x="6317" y="1989"/>
                </a:cubicBezTo>
                <a:cubicBezTo>
                  <a:pt x="6395" y="2203"/>
                  <a:pt x="6394" y="2188"/>
                  <a:pt x="6400" y="3010"/>
                </a:cubicBezTo>
                <a:cubicBezTo>
                  <a:pt x="6404" y="3665"/>
                  <a:pt x="6402" y="3772"/>
                  <a:pt x="6385" y="3830"/>
                </a:cubicBezTo>
                <a:cubicBezTo>
                  <a:pt x="6360" y="3918"/>
                  <a:pt x="6276" y="4011"/>
                  <a:pt x="6188" y="4051"/>
                </a:cubicBezTo>
                <a:cubicBezTo>
                  <a:pt x="6124" y="4080"/>
                  <a:pt x="6111" y="4081"/>
                  <a:pt x="5731" y="4085"/>
                </a:cubicBezTo>
                <a:lnTo>
                  <a:pt x="5341" y="4089"/>
                </a:lnTo>
                <a:lnTo>
                  <a:pt x="5341" y="3463"/>
                </a:lnTo>
                <a:lnTo>
                  <a:pt x="5341" y="2837"/>
                </a:lnTo>
                <a:lnTo>
                  <a:pt x="3203" y="2837"/>
                </a:lnTo>
                <a:lnTo>
                  <a:pt x="1066" y="2837"/>
                </a:lnTo>
                <a:lnTo>
                  <a:pt x="1066" y="3462"/>
                </a:lnTo>
                <a:lnTo>
                  <a:pt x="1066" y="4087"/>
                </a:lnTo>
                <a:lnTo>
                  <a:pt x="706" y="4086"/>
                </a:lnTo>
                <a:cubicBezTo>
                  <a:pt x="509" y="4085"/>
                  <a:pt x="323" y="4080"/>
                  <a:pt x="295" y="4074"/>
                </a:cubicBezTo>
                <a:close/>
                <a:moveTo>
                  <a:pt x="5422" y="2468"/>
                </a:moveTo>
                <a:cubicBezTo>
                  <a:pt x="5574" y="2428"/>
                  <a:pt x="5675" y="2309"/>
                  <a:pt x="5688" y="2155"/>
                </a:cubicBezTo>
                <a:cubicBezTo>
                  <a:pt x="5696" y="2052"/>
                  <a:pt x="5667" y="1968"/>
                  <a:pt x="5596" y="1889"/>
                </a:cubicBezTo>
                <a:cubicBezTo>
                  <a:pt x="5517" y="1802"/>
                  <a:pt x="5439" y="1770"/>
                  <a:pt x="5315" y="1777"/>
                </a:cubicBezTo>
                <a:cubicBezTo>
                  <a:pt x="5172" y="1786"/>
                  <a:pt x="5083" y="1845"/>
                  <a:pt x="5013" y="1980"/>
                </a:cubicBezTo>
                <a:cubicBezTo>
                  <a:pt x="4974" y="2054"/>
                  <a:pt x="4975" y="2197"/>
                  <a:pt x="5014" y="2275"/>
                </a:cubicBezTo>
                <a:cubicBezTo>
                  <a:pt x="5070" y="2383"/>
                  <a:pt x="5159" y="2452"/>
                  <a:pt x="5270" y="2474"/>
                </a:cubicBezTo>
                <a:cubicBezTo>
                  <a:pt x="5344" y="2489"/>
                  <a:pt x="5341" y="2489"/>
                  <a:pt x="5422" y="2468"/>
                </a:cubicBezTo>
                <a:close/>
                <a:moveTo>
                  <a:pt x="4603" y="1134"/>
                </a:moveTo>
                <a:lnTo>
                  <a:pt x="4603" y="856"/>
                </a:lnTo>
                <a:lnTo>
                  <a:pt x="4350" y="603"/>
                </a:lnTo>
                <a:lnTo>
                  <a:pt x="4097" y="350"/>
                </a:lnTo>
                <a:lnTo>
                  <a:pt x="2925" y="350"/>
                </a:lnTo>
                <a:lnTo>
                  <a:pt x="1753" y="350"/>
                </a:lnTo>
                <a:lnTo>
                  <a:pt x="1753" y="881"/>
                </a:lnTo>
                <a:lnTo>
                  <a:pt x="1753" y="1412"/>
                </a:lnTo>
                <a:lnTo>
                  <a:pt x="3178" y="1412"/>
                </a:lnTo>
                <a:lnTo>
                  <a:pt x="4603" y="1412"/>
                </a:lnTo>
                <a:lnTo>
                  <a:pt x="4603" y="1134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299" name="Freeform 18"/>
          <p:cNvSpPr>
            <a:spLocks noChangeAspect="1" noEditPoints="1"/>
          </p:cNvSpPr>
          <p:nvPr/>
        </p:nvSpPr>
        <p:spPr bwMode="auto">
          <a:xfrm>
            <a:off x="4772383" y="1980668"/>
            <a:ext cx="545968" cy="461001"/>
          </a:xfrm>
          <a:custGeom>
            <a:avLst/>
            <a:gdLst>
              <a:gd name="T0" fmla="*/ 23 w 6393"/>
              <a:gd name="T1" fmla="*/ 4975 h 5400"/>
              <a:gd name="T2" fmla="*/ 23 w 6393"/>
              <a:gd name="T3" fmla="*/ 425 h 5400"/>
              <a:gd name="T4" fmla="*/ 1343 w 6393"/>
              <a:gd name="T5" fmla="*/ 2 h 5400"/>
              <a:gd name="T6" fmla="*/ 2758 w 6393"/>
              <a:gd name="T7" fmla="*/ 407 h 5400"/>
              <a:gd name="T8" fmla="*/ 2796 w 6393"/>
              <a:gd name="T9" fmla="*/ 1000 h 5400"/>
              <a:gd name="T10" fmla="*/ 2193 w 6393"/>
              <a:gd name="T11" fmla="*/ 1000 h 5400"/>
              <a:gd name="T12" fmla="*/ 2193 w 6393"/>
              <a:gd name="T13" fmla="*/ 800 h 5400"/>
              <a:gd name="T14" fmla="*/ 593 w 6393"/>
              <a:gd name="T15" fmla="*/ 800 h 5400"/>
              <a:gd name="T16" fmla="*/ 593 w 6393"/>
              <a:gd name="T17" fmla="*/ 999 h 5400"/>
              <a:gd name="T18" fmla="*/ 2056 w 6393"/>
              <a:gd name="T19" fmla="*/ 1015 h 5400"/>
              <a:gd name="T20" fmla="*/ 1591 w 6393"/>
              <a:gd name="T21" fmla="*/ 1400 h 5400"/>
              <a:gd name="T22" fmla="*/ 593 w 6393"/>
              <a:gd name="T23" fmla="*/ 1400 h 5400"/>
              <a:gd name="T24" fmla="*/ 593 w 6393"/>
              <a:gd name="T25" fmla="*/ 1600 h 5400"/>
              <a:gd name="T26" fmla="*/ 1593 w 6393"/>
              <a:gd name="T27" fmla="*/ 1600 h 5400"/>
              <a:gd name="T28" fmla="*/ 1668 w 6393"/>
              <a:gd name="T29" fmla="*/ 4707 h 5400"/>
              <a:gd name="T30" fmla="*/ 2457 w 6393"/>
              <a:gd name="T31" fmla="*/ 5000 h 5400"/>
              <a:gd name="T32" fmla="*/ 2720 w 6393"/>
              <a:gd name="T33" fmla="*/ 5071 h 5400"/>
              <a:gd name="T34" fmla="*/ 1425 w 6393"/>
              <a:gd name="T35" fmla="*/ 5395 h 5400"/>
              <a:gd name="T36" fmla="*/ 1103 w 6393"/>
              <a:gd name="T37" fmla="*/ 4203 h 5400"/>
              <a:gd name="T38" fmla="*/ 867 w 6393"/>
              <a:gd name="T39" fmla="*/ 3806 h 5400"/>
              <a:gd name="T40" fmla="*/ 1103 w 6393"/>
              <a:gd name="T41" fmla="*/ 4203 h 5400"/>
              <a:gd name="T42" fmla="*/ 993 w 6393"/>
              <a:gd name="T43" fmla="*/ 2000 h 5400"/>
              <a:gd name="T44" fmla="*/ 593 w 6393"/>
              <a:gd name="T45" fmla="*/ 2000 h 5400"/>
              <a:gd name="T46" fmla="*/ 593 w 6393"/>
              <a:gd name="T47" fmla="*/ 2200 h 5400"/>
              <a:gd name="T48" fmla="*/ 993 w 6393"/>
              <a:gd name="T49" fmla="*/ 2200 h 5400"/>
              <a:gd name="T50" fmla="*/ 3018 w 6393"/>
              <a:gd name="T51" fmla="*/ 5375 h 5400"/>
              <a:gd name="T52" fmla="*/ 3437 w 6393"/>
              <a:gd name="T53" fmla="*/ 5037 h 5400"/>
              <a:gd name="T54" fmla="*/ 3809 w 6393"/>
              <a:gd name="T55" fmla="*/ 4996 h 5400"/>
              <a:gd name="T56" fmla="*/ 3793 w 6393"/>
              <a:gd name="T57" fmla="*/ 4834 h 5400"/>
              <a:gd name="T58" fmla="*/ 3036 w 6393"/>
              <a:gd name="T59" fmla="*/ 4800 h 5400"/>
              <a:gd name="T60" fmla="*/ 1813 w 6393"/>
              <a:gd name="T61" fmla="*/ 4399 h 5400"/>
              <a:gd name="T62" fmla="*/ 2035 w 6393"/>
              <a:gd name="T63" fmla="*/ 1286 h 5400"/>
              <a:gd name="T64" fmla="*/ 5987 w 6393"/>
              <a:gd name="T65" fmla="*/ 1206 h 5400"/>
              <a:gd name="T66" fmla="*/ 6374 w 6393"/>
              <a:gd name="T67" fmla="*/ 1598 h 5400"/>
              <a:gd name="T68" fmla="*/ 6374 w 6393"/>
              <a:gd name="T69" fmla="*/ 4399 h 5400"/>
              <a:gd name="T70" fmla="*/ 5150 w 6393"/>
              <a:gd name="T71" fmla="*/ 4800 h 5400"/>
              <a:gd name="T72" fmla="*/ 4393 w 6393"/>
              <a:gd name="T73" fmla="*/ 4898 h 5400"/>
              <a:gd name="T74" fmla="*/ 4522 w 6393"/>
              <a:gd name="T75" fmla="*/ 5004 h 5400"/>
              <a:gd name="T76" fmla="*/ 5175 w 6393"/>
              <a:gd name="T77" fmla="*/ 5288 h 5400"/>
              <a:gd name="T78" fmla="*/ 4093 w 6393"/>
              <a:gd name="T79" fmla="*/ 5400 h 5400"/>
              <a:gd name="T80" fmla="*/ 2976 w 6393"/>
              <a:gd name="T81" fmla="*/ 4582 h 5400"/>
              <a:gd name="T82" fmla="*/ 2893 w 6393"/>
              <a:gd name="T83" fmla="*/ 4375 h 5400"/>
              <a:gd name="T84" fmla="*/ 2893 w 6393"/>
              <a:gd name="T85" fmla="*/ 4625 h 5400"/>
              <a:gd name="T86" fmla="*/ 5768 w 6393"/>
              <a:gd name="T87" fmla="*/ 4175 h 5400"/>
              <a:gd name="T88" fmla="*/ 5768 w 6393"/>
              <a:gd name="T89" fmla="*/ 1825 h 5400"/>
              <a:gd name="T90" fmla="*/ 2418 w 6393"/>
              <a:gd name="T91" fmla="*/ 1825 h 5400"/>
              <a:gd name="T92" fmla="*/ 2418 w 6393"/>
              <a:gd name="T93" fmla="*/ 4175 h 5400"/>
              <a:gd name="T94" fmla="*/ 5768 w 6393"/>
              <a:gd name="T95" fmla="*/ 4175 h 5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6393" h="5400">
                <a:moveTo>
                  <a:pt x="487" y="5387"/>
                </a:moveTo>
                <a:cubicBezTo>
                  <a:pt x="260" y="5339"/>
                  <a:pt x="98" y="5195"/>
                  <a:pt x="23" y="4975"/>
                </a:cubicBezTo>
                <a:cubicBezTo>
                  <a:pt x="1" y="4909"/>
                  <a:pt x="0" y="4819"/>
                  <a:pt x="0" y="2700"/>
                </a:cubicBezTo>
                <a:cubicBezTo>
                  <a:pt x="0" y="580"/>
                  <a:pt x="1" y="491"/>
                  <a:pt x="23" y="425"/>
                </a:cubicBezTo>
                <a:cubicBezTo>
                  <a:pt x="87" y="235"/>
                  <a:pt x="213" y="105"/>
                  <a:pt x="401" y="34"/>
                </a:cubicBezTo>
                <a:cubicBezTo>
                  <a:pt x="474" y="6"/>
                  <a:pt x="478" y="6"/>
                  <a:pt x="1343" y="2"/>
                </a:cubicBezTo>
                <a:cubicBezTo>
                  <a:pt x="1945" y="0"/>
                  <a:pt x="2237" y="3"/>
                  <a:pt x="2293" y="12"/>
                </a:cubicBezTo>
                <a:cubicBezTo>
                  <a:pt x="2507" y="49"/>
                  <a:pt x="2682" y="197"/>
                  <a:pt x="2758" y="407"/>
                </a:cubicBezTo>
                <a:cubicBezTo>
                  <a:pt x="2781" y="471"/>
                  <a:pt x="2785" y="516"/>
                  <a:pt x="2790" y="740"/>
                </a:cubicBezTo>
                <a:lnTo>
                  <a:pt x="2796" y="1000"/>
                </a:lnTo>
                <a:lnTo>
                  <a:pt x="2495" y="1000"/>
                </a:lnTo>
                <a:lnTo>
                  <a:pt x="2193" y="1000"/>
                </a:lnTo>
                <a:lnTo>
                  <a:pt x="2193" y="900"/>
                </a:lnTo>
                <a:lnTo>
                  <a:pt x="2193" y="800"/>
                </a:lnTo>
                <a:lnTo>
                  <a:pt x="1393" y="800"/>
                </a:lnTo>
                <a:lnTo>
                  <a:pt x="593" y="800"/>
                </a:lnTo>
                <a:lnTo>
                  <a:pt x="593" y="900"/>
                </a:lnTo>
                <a:lnTo>
                  <a:pt x="593" y="999"/>
                </a:lnTo>
                <a:lnTo>
                  <a:pt x="1359" y="1003"/>
                </a:lnTo>
                <a:cubicBezTo>
                  <a:pt x="1780" y="1004"/>
                  <a:pt x="2094" y="1010"/>
                  <a:pt x="2056" y="1015"/>
                </a:cubicBezTo>
                <a:cubicBezTo>
                  <a:pt x="1898" y="1036"/>
                  <a:pt x="1724" y="1165"/>
                  <a:pt x="1631" y="1328"/>
                </a:cubicBezTo>
                <a:lnTo>
                  <a:pt x="1591" y="1400"/>
                </a:lnTo>
                <a:lnTo>
                  <a:pt x="1092" y="1400"/>
                </a:lnTo>
                <a:lnTo>
                  <a:pt x="593" y="1400"/>
                </a:lnTo>
                <a:lnTo>
                  <a:pt x="593" y="1500"/>
                </a:lnTo>
                <a:lnTo>
                  <a:pt x="593" y="1600"/>
                </a:lnTo>
                <a:lnTo>
                  <a:pt x="1093" y="1600"/>
                </a:lnTo>
                <a:lnTo>
                  <a:pt x="1593" y="1600"/>
                </a:lnTo>
                <a:lnTo>
                  <a:pt x="1593" y="3017"/>
                </a:lnTo>
                <a:cubicBezTo>
                  <a:pt x="1593" y="4574"/>
                  <a:pt x="1592" y="4553"/>
                  <a:pt x="1668" y="4707"/>
                </a:cubicBezTo>
                <a:cubicBezTo>
                  <a:pt x="1713" y="4799"/>
                  <a:pt x="1806" y="4890"/>
                  <a:pt x="1899" y="4932"/>
                </a:cubicBezTo>
                <a:cubicBezTo>
                  <a:pt x="2016" y="4986"/>
                  <a:pt x="2130" y="5000"/>
                  <a:pt x="2457" y="5000"/>
                </a:cubicBezTo>
                <a:lnTo>
                  <a:pt x="2756" y="5000"/>
                </a:lnTo>
                <a:lnTo>
                  <a:pt x="2720" y="5071"/>
                </a:lnTo>
                <a:cubicBezTo>
                  <a:pt x="2650" y="5208"/>
                  <a:pt x="2536" y="5308"/>
                  <a:pt x="2384" y="5366"/>
                </a:cubicBezTo>
                <a:cubicBezTo>
                  <a:pt x="2313" y="5393"/>
                  <a:pt x="2304" y="5393"/>
                  <a:pt x="1425" y="5395"/>
                </a:cubicBezTo>
                <a:cubicBezTo>
                  <a:pt x="937" y="5396"/>
                  <a:pt x="515" y="5393"/>
                  <a:pt x="487" y="5387"/>
                </a:cubicBezTo>
                <a:close/>
                <a:moveTo>
                  <a:pt x="1103" y="4203"/>
                </a:moveTo>
                <a:cubicBezTo>
                  <a:pt x="1126" y="4192"/>
                  <a:pt x="1158" y="4166"/>
                  <a:pt x="1174" y="4145"/>
                </a:cubicBezTo>
                <a:cubicBezTo>
                  <a:pt x="1333" y="3935"/>
                  <a:pt x="1086" y="3663"/>
                  <a:pt x="867" y="3806"/>
                </a:cubicBezTo>
                <a:cubicBezTo>
                  <a:pt x="741" y="3888"/>
                  <a:pt x="724" y="4055"/>
                  <a:pt x="830" y="4161"/>
                </a:cubicBezTo>
                <a:cubicBezTo>
                  <a:pt x="905" y="4236"/>
                  <a:pt x="1002" y="4251"/>
                  <a:pt x="1103" y="4203"/>
                </a:cubicBezTo>
                <a:close/>
                <a:moveTo>
                  <a:pt x="993" y="2100"/>
                </a:moveTo>
                <a:lnTo>
                  <a:pt x="993" y="2000"/>
                </a:lnTo>
                <a:lnTo>
                  <a:pt x="793" y="2000"/>
                </a:lnTo>
                <a:lnTo>
                  <a:pt x="593" y="2000"/>
                </a:lnTo>
                <a:lnTo>
                  <a:pt x="593" y="2100"/>
                </a:lnTo>
                <a:lnTo>
                  <a:pt x="593" y="2200"/>
                </a:lnTo>
                <a:lnTo>
                  <a:pt x="793" y="2200"/>
                </a:lnTo>
                <a:lnTo>
                  <a:pt x="993" y="2200"/>
                </a:lnTo>
                <a:lnTo>
                  <a:pt x="993" y="2100"/>
                </a:lnTo>
                <a:close/>
                <a:moveTo>
                  <a:pt x="3018" y="5375"/>
                </a:moveTo>
                <a:cubicBezTo>
                  <a:pt x="2989" y="5345"/>
                  <a:pt x="2988" y="5334"/>
                  <a:pt x="3012" y="5288"/>
                </a:cubicBezTo>
                <a:cubicBezTo>
                  <a:pt x="3058" y="5199"/>
                  <a:pt x="3254" y="5083"/>
                  <a:pt x="3437" y="5037"/>
                </a:cubicBezTo>
                <a:cubicBezTo>
                  <a:pt x="3492" y="5023"/>
                  <a:pt x="3598" y="5008"/>
                  <a:pt x="3673" y="5003"/>
                </a:cubicBezTo>
                <a:lnTo>
                  <a:pt x="3809" y="4996"/>
                </a:lnTo>
                <a:lnTo>
                  <a:pt x="3801" y="4932"/>
                </a:lnTo>
                <a:cubicBezTo>
                  <a:pt x="3797" y="4897"/>
                  <a:pt x="3794" y="4853"/>
                  <a:pt x="3793" y="4834"/>
                </a:cubicBezTo>
                <a:lnTo>
                  <a:pt x="3793" y="4800"/>
                </a:lnTo>
                <a:lnTo>
                  <a:pt x="3036" y="4800"/>
                </a:lnTo>
                <a:cubicBezTo>
                  <a:pt x="2183" y="4800"/>
                  <a:pt x="2165" y="4798"/>
                  <a:pt x="2034" y="4713"/>
                </a:cubicBezTo>
                <a:cubicBezTo>
                  <a:pt x="1916" y="4637"/>
                  <a:pt x="1845" y="4536"/>
                  <a:pt x="1813" y="4399"/>
                </a:cubicBezTo>
                <a:cubicBezTo>
                  <a:pt x="1784" y="4277"/>
                  <a:pt x="1784" y="1722"/>
                  <a:pt x="1813" y="1600"/>
                </a:cubicBezTo>
                <a:cubicBezTo>
                  <a:pt x="1845" y="1463"/>
                  <a:pt x="1916" y="1362"/>
                  <a:pt x="2035" y="1286"/>
                </a:cubicBezTo>
                <a:cubicBezTo>
                  <a:pt x="2176" y="1194"/>
                  <a:pt x="2066" y="1198"/>
                  <a:pt x="4137" y="1202"/>
                </a:cubicBezTo>
                <a:lnTo>
                  <a:pt x="5987" y="1206"/>
                </a:lnTo>
                <a:lnTo>
                  <a:pt x="6056" y="1234"/>
                </a:lnTo>
                <a:cubicBezTo>
                  <a:pt x="6216" y="1299"/>
                  <a:pt x="6337" y="1438"/>
                  <a:pt x="6374" y="1598"/>
                </a:cubicBezTo>
                <a:cubicBezTo>
                  <a:pt x="6391" y="1675"/>
                  <a:pt x="6393" y="1843"/>
                  <a:pt x="6393" y="3002"/>
                </a:cubicBezTo>
                <a:cubicBezTo>
                  <a:pt x="6393" y="4139"/>
                  <a:pt x="6390" y="4329"/>
                  <a:pt x="6374" y="4399"/>
                </a:cubicBezTo>
                <a:cubicBezTo>
                  <a:pt x="6342" y="4536"/>
                  <a:pt x="6270" y="4637"/>
                  <a:pt x="6152" y="4713"/>
                </a:cubicBezTo>
                <a:cubicBezTo>
                  <a:pt x="6021" y="4798"/>
                  <a:pt x="6003" y="4800"/>
                  <a:pt x="5150" y="4800"/>
                </a:cubicBezTo>
                <a:lnTo>
                  <a:pt x="4393" y="4800"/>
                </a:lnTo>
                <a:lnTo>
                  <a:pt x="4393" y="4898"/>
                </a:lnTo>
                <a:lnTo>
                  <a:pt x="4393" y="4996"/>
                </a:lnTo>
                <a:lnTo>
                  <a:pt x="4522" y="5004"/>
                </a:lnTo>
                <a:cubicBezTo>
                  <a:pt x="4592" y="5008"/>
                  <a:pt x="4694" y="5023"/>
                  <a:pt x="4749" y="5037"/>
                </a:cubicBezTo>
                <a:cubicBezTo>
                  <a:pt x="4935" y="5084"/>
                  <a:pt x="5129" y="5199"/>
                  <a:pt x="5175" y="5288"/>
                </a:cubicBezTo>
                <a:cubicBezTo>
                  <a:pt x="5199" y="5334"/>
                  <a:pt x="5198" y="5345"/>
                  <a:pt x="5168" y="5375"/>
                </a:cubicBezTo>
                <a:cubicBezTo>
                  <a:pt x="5144" y="5399"/>
                  <a:pt x="5127" y="5400"/>
                  <a:pt x="4093" y="5400"/>
                </a:cubicBezTo>
                <a:cubicBezTo>
                  <a:pt x="3060" y="5400"/>
                  <a:pt x="3043" y="5399"/>
                  <a:pt x="3018" y="5375"/>
                </a:cubicBezTo>
                <a:close/>
                <a:moveTo>
                  <a:pt x="2976" y="4582"/>
                </a:moveTo>
                <a:cubicBezTo>
                  <a:pt x="3007" y="4551"/>
                  <a:pt x="3018" y="4528"/>
                  <a:pt x="3018" y="4500"/>
                </a:cubicBezTo>
                <a:cubicBezTo>
                  <a:pt x="3018" y="4444"/>
                  <a:pt x="2949" y="4375"/>
                  <a:pt x="2893" y="4375"/>
                </a:cubicBezTo>
                <a:cubicBezTo>
                  <a:pt x="2838" y="4375"/>
                  <a:pt x="2768" y="4444"/>
                  <a:pt x="2768" y="4500"/>
                </a:cubicBezTo>
                <a:cubicBezTo>
                  <a:pt x="2768" y="4555"/>
                  <a:pt x="2838" y="4625"/>
                  <a:pt x="2893" y="4625"/>
                </a:cubicBezTo>
                <a:cubicBezTo>
                  <a:pt x="2922" y="4625"/>
                  <a:pt x="2945" y="4613"/>
                  <a:pt x="2976" y="4582"/>
                </a:cubicBezTo>
                <a:close/>
                <a:moveTo>
                  <a:pt x="5768" y="4175"/>
                </a:moveTo>
                <a:cubicBezTo>
                  <a:pt x="5793" y="4150"/>
                  <a:pt x="5793" y="4133"/>
                  <a:pt x="5793" y="3000"/>
                </a:cubicBezTo>
                <a:cubicBezTo>
                  <a:pt x="5793" y="1866"/>
                  <a:pt x="5793" y="1849"/>
                  <a:pt x="5768" y="1825"/>
                </a:cubicBezTo>
                <a:cubicBezTo>
                  <a:pt x="5744" y="1800"/>
                  <a:pt x="5727" y="1800"/>
                  <a:pt x="4093" y="1800"/>
                </a:cubicBezTo>
                <a:cubicBezTo>
                  <a:pt x="2460" y="1800"/>
                  <a:pt x="2443" y="1800"/>
                  <a:pt x="2418" y="1825"/>
                </a:cubicBezTo>
                <a:cubicBezTo>
                  <a:pt x="2394" y="1849"/>
                  <a:pt x="2393" y="1866"/>
                  <a:pt x="2393" y="3000"/>
                </a:cubicBezTo>
                <a:cubicBezTo>
                  <a:pt x="2393" y="4133"/>
                  <a:pt x="2394" y="4150"/>
                  <a:pt x="2418" y="4175"/>
                </a:cubicBezTo>
                <a:cubicBezTo>
                  <a:pt x="2443" y="4199"/>
                  <a:pt x="2460" y="4200"/>
                  <a:pt x="4093" y="4200"/>
                </a:cubicBezTo>
                <a:cubicBezTo>
                  <a:pt x="5727" y="4200"/>
                  <a:pt x="5744" y="4199"/>
                  <a:pt x="5768" y="4175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00" name="Freeform 19"/>
          <p:cNvSpPr>
            <a:spLocks noChangeAspect="1" noEditPoints="1"/>
          </p:cNvSpPr>
          <p:nvPr/>
        </p:nvSpPr>
        <p:spPr bwMode="auto">
          <a:xfrm>
            <a:off x="6158306" y="2007753"/>
            <a:ext cx="260298" cy="461000"/>
          </a:xfrm>
          <a:custGeom>
            <a:avLst/>
            <a:gdLst>
              <a:gd name="T0" fmla="*/ 271 w 2549"/>
              <a:gd name="T1" fmla="*/ 4496 h 4518"/>
              <a:gd name="T2" fmla="*/ 79 w 2549"/>
              <a:gd name="T3" fmla="*/ 4353 h 4518"/>
              <a:gd name="T4" fmla="*/ 8 w 2549"/>
              <a:gd name="T5" fmla="*/ 2231 h 4518"/>
              <a:gd name="T6" fmla="*/ 11 w 2549"/>
              <a:gd name="T7" fmla="*/ 288 h 4518"/>
              <a:gd name="T8" fmla="*/ 42 w 2549"/>
              <a:gd name="T9" fmla="*/ 226 h 4518"/>
              <a:gd name="T10" fmla="*/ 240 w 2549"/>
              <a:gd name="T11" fmla="*/ 27 h 4518"/>
              <a:gd name="T12" fmla="*/ 1280 w 2549"/>
              <a:gd name="T13" fmla="*/ 0 h 4518"/>
              <a:gd name="T14" fmla="*/ 2261 w 2549"/>
              <a:gd name="T15" fmla="*/ 0 h 4518"/>
              <a:gd name="T16" fmla="*/ 2320 w 2549"/>
              <a:gd name="T17" fmla="*/ 30 h 4518"/>
              <a:gd name="T18" fmla="*/ 2516 w 2549"/>
              <a:gd name="T19" fmla="*/ 231 h 4518"/>
              <a:gd name="T20" fmla="*/ 2549 w 2549"/>
              <a:gd name="T21" fmla="*/ 300 h 4518"/>
              <a:gd name="T22" fmla="*/ 2549 w 2549"/>
              <a:gd name="T23" fmla="*/ 2256 h 4518"/>
              <a:gd name="T24" fmla="*/ 2549 w 2549"/>
              <a:gd name="T25" fmla="*/ 4213 h 4518"/>
              <a:gd name="T26" fmla="*/ 2515 w 2549"/>
              <a:gd name="T27" fmla="*/ 4283 h 4518"/>
              <a:gd name="T28" fmla="*/ 2320 w 2549"/>
              <a:gd name="T29" fmla="*/ 4484 h 4518"/>
              <a:gd name="T30" fmla="*/ 2261 w 2549"/>
              <a:gd name="T31" fmla="*/ 4513 h 4518"/>
              <a:gd name="T32" fmla="*/ 1299 w 2549"/>
              <a:gd name="T33" fmla="*/ 4516 h 4518"/>
              <a:gd name="T34" fmla="*/ 271 w 2549"/>
              <a:gd name="T35" fmla="*/ 4496 h 4518"/>
              <a:gd name="T36" fmla="*/ 1363 w 2549"/>
              <a:gd name="T37" fmla="*/ 4281 h 4518"/>
              <a:gd name="T38" fmla="*/ 1517 w 2549"/>
              <a:gd name="T39" fmla="*/ 4056 h 4518"/>
              <a:gd name="T40" fmla="*/ 1363 w 2549"/>
              <a:gd name="T41" fmla="*/ 3832 h 4518"/>
              <a:gd name="T42" fmla="*/ 1113 w 2549"/>
              <a:gd name="T43" fmla="*/ 3879 h 4518"/>
              <a:gd name="T44" fmla="*/ 1042 w 2549"/>
              <a:gd name="T45" fmla="*/ 4060 h 4518"/>
              <a:gd name="T46" fmla="*/ 1363 w 2549"/>
              <a:gd name="T47" fmla="*/ 4281 h 4518"/>
              <a:gd name="T48" fmla="*/ 2280 w 2549"/>
              <a:gd name="T49" fmla="*/ 2125 h 4518"/>
              <a:gd name="T50" fmla="*/ 2280 w 2549"/>
              <a:gd name="T51" fmla="*/ 631 h 4518"/>
              <a:gd name="T52" fmla="*/ 1280 w 2549"/>
              <a:gd name="T53" fmla="*/ 631 h 4518"/>
              <a:gd name="T54" fmla="*/ 280 w 2549"/>
              <a:gd name="T55" fmla="*/ 631 h 4518"/>
              <a:gd name="T56" fmla="*/ 280 w 2549"/>
              <a:gd name="T57" fmla="*/ 2125 h 4518"/>
              <a:gd name="T58" fmla="*/ 280 w 2549"/>
              <a:gd name="T59" fmla="*/ 3619 h 4518"/>
              <a:gd name="T60" fmla="*/ 1280 w 2549"/>
              <a:gd name="T61" fmla="*/ 3619 h 4518"/>
              <a:gd name="T62" fmla="*/ 2280 w 2549"/>
              <a:gd name="T63" fmla="*/ 3619 h 4518"/>
              <a:gd name="T64" fmla="*/ 2280 w 2549"/>
              <a:gd name="T65" fmla="*/ 2125 h 4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549" h="4518">
                <a:moveTo>
                  <a:pt x="271" y="4496"/>
                </a:moveTo>
                <a:cubicBezTo>
                  <a:pt x="192" y="4468"/>
                  <a:pt x="128" y="4420"/>
                  <a:pt x="79" y="4353"/>
                </a:cubicBezTo>
                <a:cubicBezTo>
                  <a:pt x="0" y="4245"/>
                  <a:pt x="4" y="4363"/>
                  <a:pt x="8" y="2231"/>
                </a:cubicBezTo>
                <a:lnTo>
                  <a:pt x="11" y="288"/>
                </a:lnTo>
                <a:lnTo>
                  <a:pt x="42" y="226"/>
                </a:lnTo>
                <a:cubicBezTo>
                  <a:pt x="81" y="146"/>
                  <a:pt x="165" y="62"/>
                  <a:pt x="240" y="27"/>
                </a:cubicBezTo>
                <a:cubicBezTo>
                  <a:pt x="299" y="0"/>
                  <a:pt x="299" y="0"/>
                  <a:pt x="1280" y="0"/>
                </a:cubicBezTo>
                <a:lnTo>
                  <a:pt x="2261" y="0"/>
                </a:lnTo>
                <a:lnTo>
                  <a:pt x="2320" y="30"/>
                </a:lnTo>
                <a:cubicBezTo>
                  <a:pt x="2400" y="69"/>
                  <a:pt x="2477" y="148"/>
                  <a:pt x="2516" y="231"/>
                </a:cubicBezTo>
                <a:lnTo>
                  <a:pt x="2549" y="300"/>
                </a:lnTo>
                <a:lnTo>
                  <a:pt x="2549" y="2256"/>
                </a:lnTo>
                <a:lnTo>
                  <a:pt x="2549" y="4213"/>
                </a:lnTo>
                <a:lnTo>
                  <a:pt x="2515" y="4283"/>
                </a:lnTo>
                <a:cubicBezTo>
                  <a:pt x="2476" y="4367"/>
                  <a:pt x="2401" y="4444"/>
                  <a:pt x="2320" y="4484"/>
                </a:cubicBezTo>
                <a:lnTo>
                  <a:pt x="2261" y="4513"/>
                </a:lnTo>
                <a:lnTo>
                  <a:pt x="1299" y="4516"/>
                </a:lnTo>
                <a:cubicBezTo>
                  <a:pt x="400" y="4518"/>
                  <a:pt x="332" y="4517"/>
                  <a:pt x="271" y="4496"/>
                </a:cubicBezTo>
                <a:close/>
                <a:moveTo>
                  <a:pt x="1363" y="4281"/>
                </a:moveTo>
                <a:cubicBezTo>
                  <a:pt x="1444" y="4250"/>
                  <a:pt x="1517" y="4144"/>
                  <a:pt x="1517" y="4056"/>
                </a:cubicBezTo>
                <a:cubicBezTo>
                  <a:pt x="1517" y="3969"/>
                  <a:pt x="1444" y="3863"/>
                  <a:pt x="1363" y="3832"/>
                </a:cubicBezTo>
                <a:cubicBezTo>
                  <a:pt x="1288" y="3804"/>
                  <a:pt x="1172" y="3825"/>
                  <a:pt x="1113" y="3879"/>
                </a:cubicBezTo>
                <a:cubicBezTo>
                  <a:pt x="1071" y="3917"/>
                  <a:pt x="1042" y="3990"/>
                  <a:pt x="1042" y="4060"/>
                </a:cubicBezTo>
                <a:cubicBezTo>
                  <a:pt x="1042" y="4221"/>
                  <a:pt x="1212" y="4338"/>
                  <a:pt x="1363" y="4281"/>
                </a:cubicBezTo>
                <a:close/>
                <a:moveTo>
                  <a:pt x="2280" y="2125"/>
                </a:moveTo>
                <a:lnTo>
                  <a:pt x="2280" y="631"/>
                </a:lnTo>
                <a:lnTo>
                  <a:pt x="1280" y="631"/>
                </a:lnTo>
                <a:lnTo>
                  <a:pt x="280" y="631"/>
                </a:lnTo>
                <a:lnTo>
                  <a:pt x="280" y="2125"/>
                </a:lnTo>
                <a:lnTo>
                  <a:pt x="280" y="3619"/>
                </a:lnTo>
                <a:lnTo>
                  <a:pt x="1280" y="3619"/>
                </a:lnTo>
                <a:lnTo>
                  <a:pt x="2280" y="3619"/>
                </a:lnTo>
                <a:lnTo>
                  <a:pt x="2280" y="2125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01" name="TextBox 300"/>
          <p:cNvSpPr txBox="1">
            <a:spLocks/>
          </p:cNvSpPr>
          <p:nvPr/>
        </p:nvSpPr>
        <p:spPr>
          <a:xfrm>
            <a:off x="8374370" y="2518463"/>
            <a:ext cx="714209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Cloud</a:t>
            </a:r>
          </a:p>
        </p:txBody>
      </p:sp>
      <p:sp>
        <p:nvSpPr>
          <p:cNvPr id="302" name="Freeform 16"/>
          <p:cNvSpPr>
            <a:spLocks noChangeAspect="1" noEditPoints="1"/>
          </p:cNvSpPr>
          <p:nvPr/>
        </p:nvSpPr>
        <p:spPr bwMode="auto">
          <a:xfrm>
            <a:off x="8447105" y="2033052"/>
            <a:ext cx="552688" cy="465692"/>
          </a:xfrm>
          <a:custGeom>
            <a:avLst/>
            <a:gdLst>
              <a:gd name="T0" fmla="*/ 2969 w 6532"/>
              <a:gd name="T1" fmla="*/ 5481 h 5503"/>
              <a:gd name="T2" fmla="*/ 2696 w 6532"/>
              <a:gd name="T3" fmla="*/ 5323 h 5503"/>
              <a:gd name="T4" fmla="*/ 2715 w 6532"/>
              <a:gd name="T5" fmla="*/ 4557 h 5503"/>
              <a:gd name="T6" fmla="*/ 2791 w 6532"/>
              <a:gd name="T7" fmla="*/ 4485 h 5503"/>
              <a:gd name="T8" fmla="*/ 2791 w 6532"/>
              <a:gd name="T9" fmla="*/ 4293 h 5503"/>
              <a:gd name="T10" fmla="*/ 2791 w 6532"/>
              <a:gd name="T11" fmla="*/ 4101 h 5503"/>
              <a:gd name="T12" fmla="*/ 1906 w 6532"/>
              <a:gd name="T13" fmla="*/ 4096 h 5503"/>
              <a:gd name="T14" fmla="*/ 940 w 6532"/>
              <a:gd name="T15" fmla="*/ 4072 h 5503"/>
              <a:gd name="T16" fmla="*/ 33 w 6532"/>
              <a:gd name="T17" fmla="*/ 3168 h 5503"/>
              <a:gd name="T18" fmla="*/ 0 w 6532"/>
              <a:gd name="T19" fmla="*/ 2868 h 5503"/>
              <a:gd name="T20" fmla="*/ 32 w 6532"/>
              <a:gd name="T21" fmla="*/ 2568 h 5503"/>
              <a:gd name="T22" fmla="*/ 799 w 6532"/>
              <a:gd name="T23" fmla="*/ 1698 h 5503"/>
              <a:gd name="T24" fmla="*/ 908 w 6532"/>
              <a:gd name="T25" fmla="*/ 1632 h 5503"/>
              <a:gd name="T26" fmla="*/ 934 w 6532"/>
              <a:gd name="T27" fmla="*/ 1487 h 5503"/>
              <a:gd name="T28" fmla="*/ 1984 w 6532"/>
              <a:gd name="T29" fmla="*/ 236 h 5503"/>
              <a:gd name="T30" fmla="*/ 3865 w 6532"/>
              <a:gd name="T31" fmla="*/ 438 h 5503"/>
              <a:gd name="T32" fmla="*/ 4292 w 6532"/>
              <a:gd name="T33" fmla="*/ 928 h 5503"/>
              <a:gd name="T34" fmla="*/ 4342 w 6532"/>
              <a:gd name="T35" fmla="*/ 1000 h 5503"/>
              <a:gd name="T36" fmla="*/ 4465 w 6532"/>
              <a:gd name="T37" fmla="*/ 962 h 5503"/>
              <a:gd name="T38" fmla="*/ 5197 w 6532"/>
              <a:gd name="T39" fmla="*/ 992 h 5503"/>
              <a:gd name="T40" fmla="*/ 5760 w 6532"/>
              <a:gd name="T41" fmla="*/ 1668 h 5503"/>
              <a:gd name="T42" fmla="*/ 5755 w 6532"/>
              <a:gd name="T43" fmla="*/ 2143 h 5503"/>
              <a:gd name="T44" fmla="*/ 5776 w 6532"/>
              <a:gd name="T45" fmla="*/ 2262 h 5503"/>
              <a:gd name="T46" fmla="*/ 5857 w 6532"/>
              <a:gd name="T47" fmla="*/ 2289 h 5503"/>
              <a:gd name="T48" fmla="*/ 6329 w 6532"/>
              <a:gd name="T49" fmla="*/ 2803 h 5503"/>
              <a:gd name="T50" fmla="*/ 5572 w 6532"/>
              <a:gd name="T51" fmla="*/ 4087 h 5503"/>
              <a:gd name="T52" fmla="*/ 4437 w 6532"/>
              <a:gd name="T53" fmla="*/ 4099 h 5503"/>
              <a:gd name="T54" fmla="*/ 3391 w 6532"/>
              <a:gd name="T55" fmla="*/ 4100 h 5503"/>
              <a:gd name="T56" fmla="*/ 3391 w 6532"/>
              <a:gd name="T57" fmla="*/ 4294 h 5503"/>
              <a:gd name="T58" fmla="*/ 3391 w 6532"/>
              <a:gd name="T59" fmla="*/ 4488 h 5503"/>
              <a:gd name="T60" fmla="*/ 3466 w 6532"/>
              <a:gd name="T61" fmla="*/ 4558 h 5503"/>
              <a:gd name="T62" fmla="*/ 3485 w 6532"/>
              <a:gd name="T63" fmla="*/ 5323 h 5503"/>
              <a:gd name="T64" fmla="*/ 3207 w 6532"/>
              <a:gd name="T65" fmla="*/ 5481 h 5503"/>
              <a:gd name="T66" fmla="*/ 2969 w 6532"/>
              <a:gd name="T67" fmla="*/ 5481 h 5503"/>
              <a:gd name="T68" fmla="*/ 1422 w 6532"/>
              <a:gd name="T69" fmla="*/ 5288 h 5503"/>
              <a:gd name="T70" fmla="*/ 1198 w 6532"/>
              <a:gd name="T71" fmla="*/ 5000 h 5503"/>
              <a:gd name="T72" fmla="*/ 1366 w 6532"/>
              <a:gd name="T73" fmla="*/ 4729 h 5503"/>
              <a:gd name="T74" fmla="*/ 1894 w 6532"/>
              <a:gd name="T75" fmla="*/ 4702 h 5503"/>
              <a:gd name="T76" fmla="*/ 2378 w 6532"/>
              <a:gd name="T77" fmla="*/ 4705 h 5503"/>
              <a:gd name="T78" fmla="*/ 2359 w 6532"/>
              <a:gd name="T79" fmla="*/ 4783 h 5503"/>
              <a:gd name="T80" fmla="*/ 2403 w 6532"/>
              <a:gd name="T81" fmla="*/ 5246 h 5503"/>
              <a:gd name="T82" fmla="*/ 2427 w 6532"/>
              <a:gd name="T83" fmla="*/ 5300 h 5503"/>
              <a:gd name="T84" fmla="*/ 1943 w 6532"/>
              <a:gd name="T85" fmla="*/ 5298 h 5503"/>
              <a:gd name="T86" fmla="*/ 1422 w 6532"/>
              <a:gd name="T87" fmla="*/ 5288 h 5503"/>
              <a:gd name="T88" fmla="*/ 3778 w 6532"/>
              <a:gd name="T89" fmla="*/ 5246 h 5503"/>
              <a:gd name="T90" fmla="*/ 3822 w 6532"/>
              <a:gd name="T91" fmla="*/ 4783 h 5503"/>
              <a:gd name="T92" fmla="*/ 3803 w 6532"/>
              <a:gd name="T93" fmla="*/ 4705 h 5503"/>
              <a:gd name="T94" fmla="*/ 4287 w 6532"/>
              <a:gd name="T95" fmla="*/ 4702 h 5503"/>
              <a:gd name="T96" fmla="*/ 4816 w 6532"/>
              <a:gd name="T97" fmla="*/ 4729 h 5503"/>
              <a:gd name="T98" fmla="*/ 4983 w 6532"/>
              <a:gd name="T99" fmla="*/ 5000 h 5503"/>
              <a:gd name="T100" fmla="*/ 4816 w 6532"/>
              <a:gd name="T101" fmla="*/ 5270 h 5503"/>
              <a:gd name="T102" fmla="*/ 4263 w 6532"/>
              <a:gd name="T103" fmla="*/ 5297 h 5503"/>
              <a:gd name="T104" fmla="*/ 3754 w 6532"/>
              <a:gd name="T105" fmla="*/ 5301 h 5503"/>
              <a:gd name="T106" fmla="*/ 3778 w 6532"/>
              <a:gd name="T107" fmla="*/ 5246 h 55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32" h="5503">
                <a:moveTo>
                  <a:pt x="2969" y="5481"/>
                </a:moveTo>
                <a:cubicBezTo>
                  <a:pt x="2862" y="5457"/>
                  <a:pt x="2778" y="5409"/>
                  <a:pt x="2696" y="5323"/>
                </a:cubicBezTo>
                <a:cubicBezTo>
                  <a:pt x="2487" y="5104"/>
                  <a:pt x="2496" y="4767"/>
                  <a:pt x="2715" y="4557"/>
                </a:cubicBezTo>
                <a:lnTo>
                  <a:pt x="2791" y="4485"/>
                </a:lnTo>
                <a:lnTo>
                  <a:pt x="2791" y="4293"/>
                </a:lnTo>
                <a:lnTo>
                  <a:pt x="2791" y="4101"/>
                </a:lnTo>
                <a:lnTo>
                  <a:pt x="1906" y="4096"/>
                </a:lnTo>
                <a:cubicBezTo>
                  <a:pt x="1154" y="4092"/>
                  <a:pt x="1010" y="4089"/>
                  <a:pt x="940" y="4072"/>
                </a:cubicBezTo>
                <a:cubicBezTo>
                  <a:pt x="489" y="3963"/>
                  <a:pt x="152" y="3627"/>
                  <a:pt x="33" y="3168"/>
                </a:cubicBezTo>
                <a:cubicBezTo>
                  <a:pt x="5" y="3063"/>
                  <a:pt x="0" y="3016"/>
                  <a:pt x="0" y="2868"/>
                </a:cubicBezTo>
                <a:cubicBezTo>
                  <a:pt x="0" y="2720"/>
                  <a:pt x="5" y="2674"/>
                  <a:pt x="32" y="2568"/>
                </a:cubicBezTo>
                <a:cubicBezTo>
                  <a:pt x="133" y="2179"/>
                  <a:pt x="431" y="1841"/>
                  <a:pt x="799" y="1698"/>
                </a:cubicBezTo>
                <a:cubicBezTo>
                  <a:pt x="877" y="1668"/>
                  <a:pt x="905" y="1651"/>
                  <a:pt x="908" y="1632"/>
                </a:cubicBezTo>
                <a:cubicBezTo>
                  <a:pt x="911" y="1617"/>
                  <a:pt x="922" y="1552"/>
                  <a:pt x="934" y="1487"/>
                </a:cubicBezTo>
                <a:cubicBezTo>
                  <a:pt x="1031" y="933"/>
                  <a:pt x="1430" y="458"/>
                  <a:pt x="1984" y="236"/>
                </a:cubicBezTo>
                <a:cubicBezTo>
                  <a:pt x="2576" y="0"/>
                  <a:pt x="3393" y="87"/>
                  <a:pt x="3865" y="438"/>
                </a:cubicBezTo>
                <a:cubicBezTo>
                  <a:pt x="4042" y="569"/>
                  <a:pt x="4204" y="754"/>
                  <a:pt x="4292" y="928"/>
                </a:cubicBezTo>
                <a:cubicBezTo>
                  <a:pt x="4312" y="967"/>
                  <a:pt x="4335" y="1000"/>
                  <a:pt x="4342" y="1000"/>
                </a:cubicBezTo>
                <a:cubicBezTo>
                  <a:pt x="4350" y="1000"/>
                  <a:pt x="4405" y="983"/>
                  <a:pt x="4465" y="962"/>
                </a:cubicBezTo>
                <a:cubicBezTo>
                  <a:pt x="4718" y="875"/>
                  <a:pt x="4966" y="886"/>
                  <a:pt x="5197" y="992"/>
                </a:cubicBezTo>
                <a:cubicBezTo>
                  <a:pt x="5482" y="1124"/>
                  <a:pt x="5682" y="1364"/>
                  <a:pt x="5760" y="1668"/>
                </a:cubicBezTo>
                <a:cubicBezTo>
                  <a:pt x="5792" y="1795"/>
                  <a:pt x="5790" y="2012"/>
                  <a:pt x="5755" y="2143"/>
                </a:cubicBezTo>
                <a:cubicBezTo>
                  <a:pt x="5727" y="2244"/>
                  <a:pt x="5730" y="2261"/>
                  <a:pt x="5776" y="2262"/>
                </a:cubicBezTo>
                <a:cubicBezTo>
                  <a:pt x="5785" y="2262"/>
                  <a:pt x="5821" y="2274"/>
                  <a:pt x="5857" y="2289"/>
                </a:cubicBezTo>
                <a:cubicBezTo>
                  <a:pt x="6086" y="2386"/>
                  <a:pt x="6245" y="2559"/>
                  <a:pt x="6329" y="2803"/>
                </a:cubicBezTo>
                <a:cubicBezTo>
                  <a:pt x="6532" y="3394"/>
                  <a:pt x="6174" y="4001"/>
                  <a:pt x="5572" y="4087"/>
                </a:cubicBezTo>
                <a:cubicBezTo>
                  <a:pt x="5519" y="4094"/>
                  <a:pt x="5065" y="4099"/>
                  <a:pt x="4437" y="4099"/>
                </a:cubicBezTo>
                <a:lnTo>
                  <a:pt x="3391" y="4100"/>
                </a:lnTo>
                <a:lnTo>
                  <a:pt x="3391" y="4294"/>
                </a:lnTo>
                <a:lnTo>
                  <a:pt x="3391" y="4488"/>
                </a:lnTo>
                <a:lnTo>
                  <a:pt x="3466" y="4558"/>
                </a:lnTo>
                <a:cubicBezTo>
                  <a:pt x="3685" y="4761"/>
                  <a:pt x="3694" y="5104"/>
                  <a:pt x="3485" y="5323"/>
                </a:cubicBezTo>
                <a:cubicBezTo>
                  <a:pt x="3401" y="5411"/>
                  <a:pt x="3319" y="5457"/>
                  <a:pt x="3207" y="5481"/>
                </a:cubicBezTo>
                <a:cubicBezTo>
                  <a:pt x="3104" y="5503"/>
                  <a:pt x="3070" y="5503"/>
                  <a:pt x="2969" y="5481"/>
                </a:cubicBezTo>
                <a:close/>
                <a:moveTo>
                  <a:pt x="1422" y="5288"/>
                </a:moveTo>
                <a:cubicBezTo>
                  <a:pt x="1285" y="5255"/>
                  <a:pt x="1198" y="5143"/>
                  <a:pt x="1198" y="5000"/>
                </a:cubicBezTo>
                <a:cubicBezTo>
                  <a:pt x="1198" y="4878"/>
                  <a:pt x="1253" y="4789"/>
                  <a:pt x="1366" y="4729"/>
                </a:cubicBezTo>
                <a:cubicBezTo>
                  <a:pt x="1406" y="4708"/>
                  <a:pt x="1449" y="4706"/>
                  <a:pt x="1894" y="4702"/>
                </a:cubicBezTo>
                <a:cubicBezTo>
                  <a:pt x="2160" y="4700"/>
                  <a:pt x="2378" y="4701"/>
                  <a:pt x="2378" y="4705"/>
                </a:cubicBezTo>
                <a:cubicBezTo>
                  <a:pt x="2378" y="4708"/>
                  <a:pt x="2370" y="4743"/>
                  <a:pt x="2359" y="4783"/>
                </a:cubicBezTo>
                <a:cubicBezTo>
                  <a:pt x="2323" y="4922"/>
                  <a:pt x="2340" y="5104"/>
                  <a:pt x="2403" y="5246"/>
                </a:cubicBezTo>
                <a:lnTo>
                  <a:pt x="2427" y="5300"/>
                </a:lnTo>
                <a:lnTo>
                  <a:pt x="1943" y="5298"/>
                </a:lnTo>
                <a:cubicBezTo>
                  <a:pt x="1677" y="5298"/>
                  <a:pt x="1442" y="5293"/>
                  <a:pt x="1422" y="5288"/>
                </a:cubicBezTo>
                <a:close/>
                <a:moveTo>
                  <a:pt x="3778" y="5246"/>
                </a:moveTo>
                <a:cubicBezTo>
                  <a:pt x="3841" y="5104"/>
                  <a:pt x="3858" y="4922"/>
                  <a:pt x="3822" y="4783"/>
                </a:cubicBezTo>
                <a:cubicBezTo>
                  <a:pt x="3811" y="4743"/>
                  <a:pt x="3803" y="4708"/>
                  <a:pt x="3803" y="4705"/>
                </a:cubicBezTo>
                <a:cubicBezTo>
                  <a:pt x="3803" y="4701"/>
                  <a:pt x="4021" y="4700"/>
                  <a:pt x="4287" y="4702"/>
                </a:cubicBezTo>
                <a:cubicBezTo>
                  <a:pt x="4732" y="4706"/>
                  <a:pt x="4775" y="4708"/>
                  <a:pt x="4816" y="4729"/>
                </a:cubicBezTo>
                <a:cubicBezTo>
                  <a:pt x="4928" y="4789"/>
                  <a:pt x="4983" y="4878"/>
                  <a:pt x="4983" y="5000"/>
                </a:cubicBezTo>
                <a:cubicBezTo>
                  <a:pt x="4983" y="5122"/>
                  <a:pt x="4928" y="5210"/>
                  <a:pt x="4816" y="5270"/>
                </a:cubicBezTo>
                <a:cubicBezTo>
                  <a:pt x="4775" y="5291"/>
                  <a:pt x="4731" y="5294"/>
                  <a:pt x="4263" y="5297"/>
                </a:cubicBezTo>
                <a:lnTo>
                  <a:pt x="3754" y="5301"/>
                </a:lnTo>
                <a:lnTo>
                  <a:pt x="3778" y="5246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03" name="TextBox 302"/>
          <p:cNvSpPr txBox="1">
            <a:spLocks/>
          </p:cNvSpPr>
          <p:nvPr/>
        </p:nvSpPr>
        <p:spPr>
          <a:xfrm>
            <a:off x="10720111" y="2518463"/>
            <a:ext cx="893746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Security</a:t>
            </a:r>
          </a:p>
        </p:txBody>
      </p:sp>
      <p:sp>
        <p:nvSpPr>
          <p:cNvPr id="304" name="Freeform 24"/>
          <p:cNvSpPr>
            <a:spLocks noChangeAspect="1" noEditPoints="1"/>
          </p:cNvSpPr>
          <p:nvPr/>
        </p:nvSpPr>
        <p:spPr bwMode="auto">
          <a:xfrm>
            <a:off x="10923770" y="2054002"/>
            <a:ext cx="426969" cy="465028"/>
          </a:xfrm>
          <a:custGeom>
            <a:avLst/>
            <a:gdLst>
              <a:gd name="T0" fmla="*/ 1493 w 5877"/>
              <a:gd name="T1" fmla="*/ 5747 h 6403"/>
              <a:gd name="T2" fmla="*/ 276 w 5877"/>
              <a:gd name="T3" fmla="*/ 991 h 6403"/>
              <a:gd name="T4" fmla="*/ 5722 w 5877"/>
              <a:gd name="T5" fmla="*/ 991 h 6403"/>
              <a:gd name="T6" fmla="*/ 5748 w 5877"/>
              <a:gd name="T7" fmla="*/ 3398 h 6403"/>
              <a:gd name="T8" fmla="*/ 4430 w 5877"/>
              <a:gd name="T9" fmla="*/ 5808 h 6403"/>
              <a:gd name="T10" fmla="*/ 2811 w 5877"/>
              <a:gd name="T11" fmla="*/ 6375 h 6403"/>
              <a:gd name="T12" fmla="*/ 4180 w 5877"/>
              <a:gd name="T13" fmla="*/ 5496 h 6403"/>
              <a:gd name="T14" fmla="*/ 5418 w 5877"/>
              <a:gd name="T15" fmla="*/ 2872 h 6403"/>
              <a:gd name="T16" fmla="*/ 5405 w 5877"/>
              <a:gd name="T17" fmla="*/ 1284 h 6403"/>
              <a:gd name="T18" fmla="*/ 2999 w 5877"/>
              <a:gd name="T19" fmla="*/ 412 h 6403"/>
              <a:gd name="T20" fmla="*/ 593 w 5877"/>
              <a:gd name="T21" fmla="*/ 1285 h 6403"/>
              <a:gd name="T22" fmla="*/ 549 w 5877"/>
              <a:gd name="T23" fmla="*/ 2180 h 6403"/>
              <a:gd name="T24" fmla="*/ 2836 w 5877"/>
              <a:gd name="T25" fmla="*/ 5973 h 6403"/>
              <a:gd name="T26" fmla="*/ 1999 w 5877"/>
              <a:gd name="T27" fmla="*/ 4483 h 6403"/>
              <a:gd name="T28" fmla="*/ 1814 w 5877"/>
              <a:gd name="T29" fmla="*/ 2907 h 6403"/>
              <a:gd name="T30" fmla="*/ 2115 w 5877"/>
              <a:gd name="T31" fmla="*/ 2700 h 6403"/>
              <a:gd name="T32" fmla="*/ 2177 w 5877"/>
              <a:gd name="T33" fmla="*/ 2346 h 6403"/>
              <a:gd name="T34" fmla="*/ 2660 w 5877"/>
              <a:gd name="T35" fmla="*/ 1512 h 6403"/>
              <a:gd name="T36" fmla="*/ 3790 w 5877"/>
              <a:gd name="T37" fmla="*/ 1915 h 6403"/>
              <a:gd name="T38" fmla="*/ 3826 w 5877"/>
              <a:gd name="T39" fmla="*/ 2700 h 6403"/>
              <a:gd name="T40" fmla="*/ 4106 w 5877"/>
              <a:gd name="T41" fmla="*/ 2793 h 6403"/>
              <a:gd name="T42" fmla="*/ 4196 w 5877"/>
              <a:gd name="T43" fmla="*/ 3625 h 6403"/>
              <a:gd name="T44" fmla="*/ 3988 w 5877"/>
              <a:gd name="T45" fmla="*/ 4485 h 6403"/>
              <a:gd name="T46" fmla="*/ 3104 w 5877"/>
              <a:gd name="T47" fmla="*/ 4080 h 6403"/>
              <a:gd name="T48" fmla="*/ 3124 w 5877"/>
              <a:gd name="T49" fmla="*/ 3567 h 6403"/>
              <a:gd name="T50" fmla="*/ 3204 w 5877"/>
              <a:gd name="T51" fmla="*/ 3209 h 6403"/>
              <a:gd name="T52" fmla="*/ 2838 w 5877"/>
              <a:gd name="T53" fmla="*/ 3540 h 6403"/>
              <a:gd name="T54" fmla="*/ 2874 w 5877"/>
              <a:gd name="T55" fmla="*/ 3814 h 6403"/>
              <a:gd name="T56" fmla="*/ 3104 w 5877"/>
              <a:gd name="T57" fmla="*/ 4080 h 6403"/>
              <a:gd name="T58" fmla="*/ 3393 w 5877"/>
              <a:gd name="T59" fmla="*/ 2001 h 6403"/>
              <a:gd name="T60" fmla="*/ 2999 w 5877"/>
              <a:gd name="T61" fmla="*/ 1906 h 6403"/>
              <a:gd name="T62" fmla="*/ 2574 w 5877"/>
              <a:gd name="T63" fmla="*/ 2383 h 6403"/>
              <a:gd name="T64" fmla="*/ 3000 w 5877"/>
              <a:gd name="T65" fmla="*/ 2700 h 6403"/>
              <a:gd name="T66" fmla="*/ 3421 w 5877"/>
              <a:gd name="T67" fmla="*/ 2371 h 6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877" h="6403">
                <a:moveTo>
                  <a:pt x="2811" y="6375"/>
                </a:moveTo>
                <a:cubicBezTo>
                  <a:pt x="2358" y="6292"/>
                  <a:pt x="1858" y="6054"/>
                  <a:pt x="1493" y="5747"/>
                </a:cubicBezTo>
                <a:cubicBezTo>
                  <a:pt x="444" y="4865"/>
                  <a:pt x="0" y="3338"/>
                  <a:pt x="193" y="1283"/>
                </a:cubicBezTo>
                <a:cubicBezTo>
                  <a:pt x="212" y="1082"/>
                  <a:pt x="224" y="1039"/>
                  <a:pt x="276" y="991"/>
                </a:cubicBezTo>
                <a:cubicBezTo>
                  <a:pt x="310" y="959"/>
                  <a:pt x="2946" y="0"/>
                  <a:pt x="2998" y="0"/>
                </a:cubicBezTo>
                <a:cubicBezTo>
                  <a:pt x="3051" y="0"/>
                  <a:pt x="5688" y="959"/>
                  <a:pt x="5722" y="991"/>
                </a:cubicBezTo>
                <a:cubicBezTo>
                  <a:pt x="5774" y="1040"/>
                  <a:pt x="5786" y="1082"/>
                  <a:pt x="5805" y="1290"/>
                </a:cubicBezTo>
                <a:cubicBezTo>
                  <a:pt x="5877" y="2088"/>
                  <a:pt x="5859" y="2756"/>
                  <a:pt x="5748" y="3398"/>
                </a:cubicBezTo>
                <a:cubicBezTo>
                  <a:pt x="5623" y="4120"/>
                  <a:pt x="5379" y="4720"/>
                  <a:pt x="5006" y="5218"/>
                </a:cubicBezTo>
                <a:cubicBezTo>
                  <a:pt x="4878" y="5390"/>
                  <a:pt x="4580" y="5695"/>
                  <a:pt x="4430" y="5808"/>
                </a:cubicBezTo>
                <a:cubicBezTo>
                  <a:pt x="4066" y="6082"/>
                  <a:pt x="3640" y="6282"/>
                  <a:pt x="3251" y="6362"/>
                </a:cubicBezTo>
                <a:cubicBezTo>
                  <a:pt x="3063" y="6400"/>
                  <a:pt x="2963" y="6403"/>
                  <a:pt x="2811" y="6375"/>
                </a:cubicBezTo>
                <a:close/>
                <a:moveTo>
                  <a:pt x="3121" y="5981"/>
                </a:moveTo>
                <a:cubicBezTo>
                  <a:pt x="3478" y="5913"/>
                  <a:pt x="3856" y="5740"/>
                  <a:pt x="4180" y="5496"/>
                </a:cubicBezTo>
                <a:cubicBezTo>
                  <a:pt x="4321" y="5389"/>
                  <a:pt x="4576" y="5130"/>
                  <a:pt x="4691" y="4975"/>
                </a:cubicBezTo>
                <a:cubicBezTo>
                  <a:pt x="5096" y="4432"/>
                  <a:pt x="5330" y="3753"/>
                  <a:pt x="5418" y="2872"/>
                </a:cubicBezTo>
                <a:cubicBezTo>
                  <a:pt x="5457" y="2483"/>
                  <a:pt x="5454" y="1811"/>
                  <a:pt x="5413" y="1370"/>
                </a:cubicBezTo>
                <a:lnTo>
                  <a:pt x="5405" y="1284"/>
                </a:lnTo>
                <a:lnTo>
                  <a:pt x="4202" y="848"/>
                </a:lnTo>
                <a:lnTo>
                  <a:pt x="2999" y="412"/>
                </a:lnTo>
                <a:lnTo>
                  <a:pt x="1796" y="848"/>
                </a:lnTo>
                <a:lnTo>
                  <a:pt x="593" y="1285"/>
                </a:lnTo>
                <a:lnTo>
                  <a:pt x="584" y="1376"/>
                </a:lnTo>
                <a:cubicBezTo>
                  <a:pt x="564" y="1593"/>
                  <a:pt x="549" y="1947"/>
                  <a:pt x="549" y="2180"/>
                </a:cubicBezTo>
                <a:cubicBezTo>
                  <a:pt x="549" y="3672"/>
                  <a:pt x="954" y="4776"/>
                  <a:pt x="1743" y="5435"/>
                </a:cubicBezTo>
                <a:cubicBezTo>
                  <a:pt x="2054" y="5695"/>
                  <a:pt x="2458" y="5894"/>
                  <a:pt x="2836" y="5973"/>
                </a:cubicBezTo>
                <a:cubicBezTo>
                  <a:pt x="2983" y="6004"/>
                  <a:pt x="2997" y="6004"/>
                  <a:pt x="3121" y="5981"/>
                </a:cubicBezTo>
                <a:close/>
                <a:moveTo>
                  <a:pt x="1999" y="4483"/>
                </a:moveTo>
                <a:cubicBezTo>
                  <a:pt x="1937" y="4464"/>
                  <a:pt x="1833" y="4356"/>
                  <a:pt x="1814" y="4292"/>
                </a:cubicBezTo>
                <a:cubicBezTo>
                  <a:pt x="1792" y="4219"/>
                  <a:pt x="1792" y="2980"/>
                  <a:pt x="1814" y="2907"/>
                </a:cubicBezTo>
                <a:cubicBezTo>
                  <a:pt x="1834" y="2839"/>
                  <a:pt x="1938" y="2735"/>
                  <a:pt x="2007" y="2715"/>
                </a:cubicBezTo>
                <a:cubicBezTo>
                  <a:pt x="2035" y="2706"/>
                  <a:pt x="2083" y="2700"/>
                  <a:pt x="2115" y="2700"/>
                </a:cubicBezTo>
                <a:lnTo>
                  <a:pt x="2171" y="2700"/>
                </a:lnTo>
                <a:lnTo>
                  <a:pt x="2177" y="2346"/>
                </a:lnTo>
                <a:cubicBezTo>
                  <a:pt x="2182" y="2033"/>
                  <a:pt x="2185" y="1985"/>
                  <a:pt x="2208" y="1915"/>
                </a:cubicBezTo>
                <a:cubicBezTo>
                  <a:pt x="2276" y="1710"/>
                  <a:pt x="2453" y="1552"/>
                  <a:pt x="2660" y="1512"/>
                </a:cubicBezTo>
                <a:cubicBezTo>
                  <a:pt x="2769" y="1492"/>
                  <a:pt x="3280" y="1496"/>
                  <a:pt x="3365" y="1518"/>
                </a:cubicBezTo>
                <a:cubicBezTo>
                  <a:pt x="3568" y="1571"/>
                  <a:pt x="3725" y="1718"/>
                  <a:pt x="3790" y="1915"/>
                </a:cubicBezTo>
                <a:cubicBezTo>
                  <a:pt x="3813" y="1985"/>
                  <a:pt x="3816" y="2033"/>
                  <a:pt x="3821" y="2346"/>
                </a:cubicBezTo>
                <a:lnTo>
                  <a:pt x="3826" y="2700"/>
                </a:lnTo>
                <a:lnTo>
                  <a:pt x="3883" y="2700"/>
                </a:lnTo>
                <a:cubicBezTo>
                  <a:pt x="3977" y="2700"/>
                  <a:pt x="4037" y="2725"/>
                  <a:pt x="4106" y="2793"/>
                </a:cubicBezTo>
                <a:cubicBezTo>
                  <a:pt x="4150" y="2837"/>
                  <a:pt x="4174" y="2873"/>
                  <a:pt x="4184" y="2912"/>
                </a:cubicBezTo>
                <a:cubicBezTo>
                  <a:pt x="4196" y="2954"/>
                  <a:pt x="4199" y="3131"/>
                  <a:pt x="4196" y="3625"/>
                </a:cubicBezTo>
                <a:cubicBezTo>
                  <a:pt x="4193" y="4275"/>
                  <a:pt x="4192" y="4281"/>
                  <a:pt x="4165" y="4333"/>
                </a:cubicBezTo>
                <a:cubicBezTo>
                  <a:pt x="4130" y="4398"/>
                  <a:pt x="4051" y="4466"/>
                  <a:pt x="3988" y="4485"/>
                </a:cubicBezTo>
                <a:cubicBezTo>
                  <a:pt x="3922" y="4505"/>
                  <a:pt x="2062" y="4503"/>
                  <a:pt x="1999" y="4483"/>
                </a:cubicBezTo>
                <a:close/>
                <a:moveTo>
                  <a:pt x="3104" y="4080"/>
                </a:moveTo>
                <a:cubicBezTo>
                  <a:pt x="3121" y="4063"/>
                  <a:pt x="3124" y="4021"/>
                  <a:pt x="3124" y="3814"/>
                </a:cubicBezTo>
                <a:lnTo>
                  <a:pt x="3124" y="3567"/>
                </a:lnTo>
                <a:lnTo>
                  <a:pt x="3160" y="3540"/>
                </a:lnTo>
                <a:cubicBezTo>
                  <a:pt x="3254" y="3470"/>
                  <a:pt x="3276" y="3311"/>
                  <a:pt x="3204" y="3209"/>
                </a:cubicBezTo>
                <a:cubicBezTo>
                  <a:pt x="3102" y="3065"/>
                  <a:pt x="2895" y="3065"/>
                  <a:pt x="2794" y="3209"/>
                </a:cubicBezTo>
                <a:cubicBezTo>
                  <a:pt x="2722" y="3311"/>
                  <a:pt x="2743" y="3470"/>
                  <a:pt x="2838" y="3540"/>
                </a:cubicBezTo>
                <a:lnTo>
                  <a:pt x="2874" y="3567"/>
                </a:lnTo>
                <a:lnTo>
                  <a:pt x="2874" y="3814"/>
                </a:lnTo>
                <a:cubicBezTo>
                  <a:pt x="2874" y="4107"/>
                  <a:pt x="2871" y="4100"/>
                  <a:pt x="2999" y="4100"/>
                </a:cubicBezTo>
                <a:cubicBezTo>
                  <a:pt x="3060" y="4100"/>
                  <a:pt x="3090" y="4094"/>
                  <a:pt x="3104" y="4080"/>
                </a:cubicBezTo>
                <a:close/>
                <a:moveTo>
                  <a:pt x="3421" y="2371"/>
                </a:moveTo>
                <a:cubicBezTo>
                  <a:pt x="3418" y="2070"/>
                  <a:pt x="3416" y="2040"/>
                  <a:pt x="3393" y="2001"/>
                </a:cubicBezTo>
                <a:cubicBezTo>
                  <a:pt x="3379" y="1978"/>
                  <a:pt x="3352" y="1947"/>
                  <a:pt x="3332" y="1932"/>
                </a:cubicBezTo>
                <a:cubicBezTo>
                  <a:pt x="3299" y="1907"/>
                  <a:pt x="3282" y="1906"/>
                  <a:pt x="2999" y="1906"/>
                </a:cubicBezTo>
                <a:cubicBezTo>
                  <a:pt x="2659" y="1906"/>
                  <a:pt x="2656" y="1907"/>
                  <a:pt x="2602" y="2012"/>
                </a:cubicBezTo>
                <a:cubicBezTo>
                  <a:pt x="2575" y="2065"/>
                  <a:pt x="2574" y="2080"/>
                  <a:pt x="2574" y="2383"/>
                </a:cubicBezTo>
                <a:lnTo>
                  <a:pt x="2574" y="2700"/>
                </a:lnTo>
                <a:lnTo>
                  <a:pt x="3000" y="2700"/>
                </a:lnTo>
                <a:lnTo>
                  <a:pt x="3425" y="2700"/>
                </a:lnTo>
                <a:lnTo>
                  <a:pt x="3421" y="237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05" name="Freeform 18"/>
          <p:cNvSpPr>
            <a:spLocks noChangeAspect="1" noEditPoints="1"/>
          </p:cNvSpPr>
          <p:nvPr/>
        </p:nvSpPr>
        <p:spPr bwMode="auto">
          <a:xfrm>
            <a:off x="9641674" y="2134385"/>
            <a:ext cx="520202" cy="379032"/>
          </a:xfrm>
          <a:custGeom>
            <a:avLst/>
            <a:gdLst>
              <a:gd name="T0" fmla="*/ 1001 w 1001"/>
              <a:gd name="T1" fmla="*/ 584 h 729"/>
              <a:gd name="T2" fmla="*/ 997 w 1001"/>
              <a:gd name="T3" fmla="*/ 18 h 729"/>
              <a:gd name="T4" fmla="*/ 983 w 1001"/>
              <a:gd name="T5" fmla="*/ 9 h 729"/>
              <a:gd name="T6" fmla="*/ 22 w 1001"/>
              <a:gd name="T7" fmla="*/ 4 h 729"/>
              <a:gd name="T8" fmla="*/ 4 w 1001"/>
              <a:gd name="T9" fmla="*/ 18 h 729"/>
              <a:gd name="T10" fmla="*/ 0 w 1001"/>
              <a:gd name="T11" fmla="*/ 597 h 729"/>
              <a:gd name="T12" fmla="*/ 13 w 1001"/>
              <a:gd name="T13" fmla="*/ 606 h 729"/>
              <a:gd name="T14" fmla="*/ 461 w 1001"/>
              <a:gd name="T15" fmla="*/ 623 h 729"/>
              <a:gd name="T16" fmla="*/ 457 w 1001"/>
              <a:gd name="T17" fmla="*/ 672 h 729"/>
              <a:gd name="T18" fmla="*/ 233 w 1001"/>
              <a:gd name="T19" fmla="*/ 672 h 729"/>
              <a:gd name="T20" fmla="*/ 211 w 1001"/>
              <a:gd name="T21" fmla="*/ 724 h 729"/>
              <a:gd name="T22" fmla="*/ 799 w 1001"/>
              <a:gd name="T23" fmla="*/ 724 h 729"/>
              <a:gd name="T24" fmla="*/ 773 w 1001"/>
              <a:gd name="T25" fmla="*/ 667 h 729"/>
              <a:gd name="T26" fmla="*/ 566 w 1001"/>
              <a:gd name="T27" fmla="*/ 672 h 729"/>
              <a:gd name="T28" fmla="*/ 566 w 1001"/>
              <a:gd name="T29" fmla="*/ 623 h 729"/>
              <a:gd name="T30" fmla="*/ 992 w 1001"/>
              <a:gd name="T31" fmla="*/ 593 h 729"/>
              <a:gd name="T32" fmla="*/ 1001 w 1001"/>
              <a:gd name="T33" fmla="*/ 584 h 729"/>
              <a:gd name="T34" fmla="*/ 865 w 1001"/>
              <a:gd name="T35" fmla="*/ 549 h 729"/>
              <a:gd name="T36" fmla="*/ 856 w 1001"/>
              <a:gd name="T37" fmla="*/ 540 h 729"/>
              <a:gd name="T38" fmla="*/ 865 w 1001"/>
              <a:gd name="T39" fmla="*/ 531 h 729"/>
              <a:gd name="T40" fmla="*/ 874 w 1001"/>
              <a:gd name="T41" fmla="*/ 540 h 729"/>
              <a:gd name="T42" fmla="*/ 865 w 1001"/>
              <a:gd name="T43" fmla="*/ 549 h 729"/>
              <a:gd name="T44" fmla="*/ 896 w 1001"/>
              <a:gd name="T45" fmla="*/ 549 h 729"/>
              <a:gd name="T46" fmla="*/ 887 w 1001"/>
              <a:gd name="T47" fmla="*/ 540 h 729"/>
              <a:gd name="T48" fmla="*/ 896 w 1001"/>
              <a:gd name="T49" fmla="*/ 531 h 729"/>
              <a:gd name="T50" fmla="*/ 904 w 1001"/>
              <a:gd name="T51" fmla="*/ 540 h 729"/>
              <a:gd name="T52" fmla="*/ 896 w 1001"/>
              <a:gd name="T53" fmla="*/ 549 h 729"/>
              <a:gd name="T54" fmla="*/ 931 w 1001"/>
              <a:gd name="T55" fmla="*/ 549 h 729"/>
              <a:gd name="T56" fmla="*/ 918 w 1001"/>
              <a:gd name="T57" fmla="*/ 536 h 729"/>
              <a:gd name="T58" fmla="*/ 931 w 1001"/>
              <a:gd name="T59" fmla="*/ 527 h 729"/>
              <a:gd name="T60" fmla="*/ 944 w 1001"/>
              <a:gd name="T61" fmla="*/ 536 h 729"/>
              <a:gd name="T62" fmla="*/ 931 w 1001"/>
              <a:gd name="T63" fmla="*/ 549 h 729"/>
              <a:gd name="T64" fmla="*/ 57 w 1001"/>
              <a:gd name="T65" fmla="*/ 505 h 729"/>
              <a:gd name="T66" fmla="*/ 57 w 1001"/>
              <a:gd name="T67" fmla="*/ 53 h 729"/>
              <a:gd name="T68" fmla="*/ 940 w 1001"/>
              <a:gd name="T69" fmla="*/ 53 h 729"/>
              <a:gd name="T70" fmla="*/ 944 w 1001"/>
              <a:gd name="T71" fmla="*/ 505 h 729"/>
              <a:gd name="T72" fmla="*/ 57 w 1001"/>
              <a:gd name="T73" fmla="*/ 505 h 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001" h="729">
                <a:moveTo>
                  <a:pt x="1001" y="584"/>
                </a:moveTo>
                <a:cubicBezTo>
                  <a:pt x="997" y="18"/>
                  <a:pt x="997" y="18"/>
                  <a:pt x="997" y="18"/>
                </a:cubicBezTo>
                <a:cubicBezTo>
                  <a:pt x="997" y="9"/>
                  <a:pt x="997" y="9"/>
                  <a:pt x="983" y="9"/>
                </a:cubicBezTo>
                <a:cubicBezTo>
                  <a:pt x="663" y="4"/>
                  <a:pt x="342" y="0"/>
                  <a:pt x="22" y="4"/>
                </a:cubicBezTo>
                <a:cubicBezTo>
                  <a:pt x="9" y="4"/>
                  <a:pt x="4" y="13"/>
                  <a:pt x="4" y="18"/>
                </a:cubicBezTo>
                <a:cubicBezTo>
                  <a:pt x="0" y="597"/>
                  <a:pt x="0" y="597"/>
                  <a:pt x="0" y="597"/>
                </a:cubicBezTo>
                <a:cubicBezTo>
                  <a:pt x="0" y="597"/>
                  <a:pt x="0" y="606"/>
                  <a:pt x="13" y="606"/>
                </a:cubicBezTo>
                <a:cubicBezTo>
                  <a:pt x="167" y="619"/>
                  <a:pt x="316" y="623"/>
                  <a:pt x="461" y="623"/>
                </a:cubicBezTo>
                <a:cubicBezTo>
                  <a:pt x="457" y="672"/>
                  <a:pt x="457" y="672"/>
                  <a:pt x="457" y="672"/>
                </a:cubicBezTo>
                <a:cubicBezTo>
                  <a:pt x="233" y="672"/>
                  <a:pt x="233" y="672"/>
                  <a:pt x="233" y="672"/>
                </a:cubicBezTo>
                <a:cubicBezTo>
                  <a:pt x="206" y="681"/>
                  <a:pt x="206" y="707"/>
                  <a:pt x="211" y="724"/>
                </a:cubicBezTo>
                <a:cubicBezTo>
                  <a:pt x="435" y="729"/>
                  <a:pt x="580" y="729"/>
                  <a:pt x="799" y="724"/>
                </a:cubicBezTo>
                <a:cubicBezTo>
                  <a:pt x="799" y="698"/>
                  <a:pt x="795" y="672"/>
                  <a:pt x="773" y="667"/>
                </a:cubicBezTo>
                <a:cubicBezTo>
                  <a:pt x="566" y="672"/>
                  <a:pt x="566" y="672"/>
                  <a:pt x="566" y="672"/>
                </a:cubicBezTo>
                <a:cubicBezTo>
                  <a:pt x="566" y="623"/>
                  <a:pt x="566" y="623"/>
                  <a:pt x="566" y="623"/>
                </a:cubicBezTo>
                <a:cubicBezTo>
                  <a:pt x="707" y="619"/>
                  <a:pt x="847" y="610"/>
                  <a:pt x="992" y="593"/>
                </a:cubicBezTo>
                <a:cubicBezTo>
                  <a:pt x="1001" y="593"/>
                  <a:pt x="1001" y="588"/>
                  <a:pt x="1001" y="584"/>
                </a:cubicBezTo>
                <a:close/>
                <a:moveTo>
                  <a:pt x="865" y="549"/>
                </a:moveTo>
                <a:cubicBezTo>
                  <a:pt x="861" y="549"/>
                  <a:pt x="856" y="544"/>
                  <a:pt x="856" y="540"/>
                </a:cubicBezTo>
                <a:cubicBezTo>
                  <a:pt x="856" y="536"/>
                  <a:pt x="861" y="531"/>
                  <a:pt x="865" y="531"/>
                </a:cubicBezTo>
                <a:cubicBezTo>
                  <a:pt x="869" y="531"/>
                  <a:pt x="874" y="536"/>
                  <a:pt x="874" y="540"/>
                </a:cubicBezTo>
                <a:cubicBezTo>
                  <a:pt x="874" y="544"/>
                  <a:pt x="869" y="549"/>
                  <a:pt x="865" y="549"/>
                </a:cubicBezTo>
                <a:close/>
                <a:moveTo>
                  <a:pt x="896" y="549"/>
                </a:moveTo>
                <a:cubicBezTo>
                  <a:pt x="891" y="549"/>
                  <a:pt x="887" y="544"/>
                  <a:pt x="887" y="540"/>
                </a:cubicBezTo>
                <a:cubicBezTo>
                  <a:pt x="887" y="536"/>
                  <a:pt x="891" y="531"/>
                  <a:pt x="896" y="531"/>
                </a:cubicBezTo>
                <a:cubicBezTo>
                  <a:pt x="900" y="531"/>
                  <a:pt x="904" y="536"/>
                  <a:pt x="904" y="540"/>
                </a:cubicBezTo>
                <a:cubicBezTo>
                  <a:pt x="904" y="544"/>
                  <a:pt x="900" y="549"/>
                  <a:pt x="896" y="549"/>
                </a:cubicBezTo>
                <a:close/>
                <a:moveTo>
                  <a:pt x="931" y="549"/>
                </a:moveTo>
                <a:cubicBezTo>
                  <a:pt x="922" y="549"/>
                  <a:pt x="918" y="544"/>
                  <a:pt x="918" y="536"/>
                </a:cubicBezTo>
                <a:cubicBezTo>
                  <a:pt x="918" y="531"/>
                  <a:pt x="922" y="527"/>
                  <a:pt x="931" y="527"/>
                </a:cubicBezTo>
                <a:cubicBezTo>
                  <a:pt x="935" y="527"/>
                  <a:pt x="944" y="531"/>
                  <a:pt x="944" y="536"/>
                </a:cubicBezTo>
                <a:cubicBezTo>
                  <a:pt x="944" y="544"/>
                  <a:pt x="935" y="549"/>
                  <a:pt x="931" y="549"/>
                </a:cubicBezTo>
                <a:close/>
                <a:moveTo>
                  <a:pt x="57" y="505"/>
                </a:moveTo>
                <a:cubicBezTo>
                  <a:pt x="57" y="53"/>
                  <a:pt x="57" y="53"/>
                  <a:pt x="57" y="53"/>
                </a:cubicBezTo>
                <a:cubicBezTo>
                  <a:pt x="940" y="53"/>
                  <a:pt x="940" y="53"/>
                  <a:pt x="940" y="53"/>
                </a:cubicBezTo>
                <a:cubicBezTo>
                  <a:pt x="944" y="505"/>
                  <a:pt x="944" y="505"/>
                  <a:pt x="944" y="505"/>
                </a:cubicBezTo>
                <a:lnTo>
                  <a:pt x="57" y="50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06" name="TextBox 305"/>
          <p:cNvSpPr txBox="1">
            <a:spLocks/>
          </p:cNvSpPr>
          <p:nvPr/>
        </p:nvSpPr>
        <p:spPr>
          <a:xfrm>
            <a:off x="9629365" y="2518463"/>
            <a:ext cx="565129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TVs</a:t>
            </a:r>
          </a:p>
        </p:txBody>
      </p:sp>
      <p:sp>
        <p:nvSpPr>
          <p:cNvPr id="307" name="Freeform 22"/>
          <p:cNvSpPr>
            <a:spLocks noChangeAspect="1" noEditPoints="1"/>
          </p:cNvSpPr>
          <p:nvPr/>
        </p:nvSpPr>
        <p:spPr bwMode="auto">
          <a:xfrm>
            <a:off x="7337176" y="3219768"/>
            <a:ext cx="425232" cy="436776"/>
          </a:xfrm>
          <a:custGeom>
            <a:avLst/>
            <a:gdLst>
              <a:gd name="T0" fmla="*/ 2004 w 2974"/>
              <a:gd name="T1" fmla="*/ 2049 h 3046"/>
              <a:gd name="T2" fmla="*/ 2120 w 2974"/>
              <a:gd name="T3" fmla="*/ 1833 h 3046"/>
              <a:gd name="T4" fmla="*/ 2209 w 2974"/>
              <a:gd name="T5" fmla="*/ 1682 h 3046"/>
              <a:gd name="T6" fmla="*/ 2319 w 2974"/>
              <a:gd name="T7" fmla="*/ 1543 h 3046"/>
              <a:gd name="T8" fmla="*/ 2440 w 2974"/>
              <a:gd name="T9" fmla="*/ 1442 h 3046"/>
              <a:gd name="T10" fmla="*/ 2404 w 2974"/>
              <a:gd name="T11" fmla="*/ 1173 h 3046"/>
              <a:gd name="T12" fmla="*/ 2364 w 2974"/>
              <a:gd name="T13" fmla="*/ 1000 h 3046"/>
              <a:gd name="T14" fmla="*/ 2216 w 2974"/>
              <a:gd name="T15" fmla="*/ 679 h 3046"/>
              <a:gd name="T16" fmla="*/ 2018 w 2974"/>
              <a:gd name="T17" fmla="*/ 731 h 3046"/>
              <a:gd name="T18" fmla="*/ 1958 w 2974"/>
              <a:gd name="T19" fmla="*/ 576 h 3046"/>
              <a:gd name="T20" fmla="*/ 1599 w 2974"/>
              <a:gd name="T21" fmla="*/ 542 h 3046"/>
              <a:gd name="T22" fmla="*/ 1540 w 2974"/>
              <a:gd name="T23" fmla="*/ 726 h 3046"/>
              <a:gd name="T24" fmla="*/ 1362 w 2974"/>
              <a:gd name="T25" fmla="*/ 667 h 3046"/>
              <a:gd name="T26" fmla="*/ 985 w 2974"/>
              <a:gd name="T27" fmla="*/ 976 h 3046"/>
              <a:gd name="T28" fmla="*/ 574 w 2974"/>
              <a:gd name="T29" fmla="*/ 894 h 3046"/>
              <a:gd name="T30" fmla="*/ 1221 w 2974"/>
              <a:gd name="T31" fmla="*/ 18 h 3046"/>
              <a:gd name="T32" fmla="*/ 2974 w 2974"/>
              <a:gd name="T33" fmla="*/ 0 h 3046"/>
              <a:gd name="T34" fmla="*/ 2974 w 2974"/>
              <a:gd name="T35" fmla="*/ 3000 h 3046"/>
              <a:gd name="T36" fmla="*/ 1303 w 2974"/>
              <a:gd name="T37" fmla="*/ 2967 h 3046"/>
              <a:gd name="T38" fmla="*/ 33 w 2974"/>
              <a:gd name="T39" fmla="*/ 2241 h 3046"/>
              <a:gd name="T40" fmla="*/ 731 w 2974"/>
              <a:gd name="T41" fmla="*/ 1041 h 3046"/>
              <a:gd name="T42" fmla="*/ 1935 w 2974"/>
              <a:gd name="T43" fmla="*/ 1717 h 3046"/>
              <a:gd name="T44" fmla="*/ 812 w 2974"/>
              <a:gd name="T45" fmla="*/ 2965 h 3046"/>
              <a:gd name="T46" fmla="*/ 1361 w 2974"/>
              <a:gd name="T47" fmla="*/ 2185 h 3046"/>
              <a:gd name="T48" fmla="*/ 893 w 2974"/>
              <a:gd name="T49" fmla="*/ 1583 h 3046"/>
              <a:gd name="T50" fmla="*/ 1112 w 2974"/>
              <a:gd name="T51" fmla="*/ 2399 h 3046"/>
              <a:gd name="T52" fmla="*/ 847 w 2974"/>
              <a:gd name="T53" fmla="*/ 2167 h 3046"/>
              <a:gd name="T54" fmla="*/ 978 w 2974"/>
              <a:gd name="T55" fmla="*/ 1783 h 3046"/>
              <a:gd name="T56" fmla="*/ 1012 w 2974"/>
              <a:gd name="T57" fmla="*/ 2207 h 3046"/>
              <a:gd name="T58" fmla="*/ 1778 w 2974"/>
              <a:gd name="T59" fmla="*/ 1345 h 3046"/>
              <a:gd name="T60" fmla="*/ 1586 w 2974"/>
              <a:gd name="T61" fmla="*/ 1100 h 3046"/>
              <a:gd name="T62" fmla="*/ 1983 w 2974"/>
              <a:gd name="T63" fmla="*/ 1333 h 3046"/>
              <a:gd name="T64" fmla="*/ 1778 w 2974"/>
              <a:gd name="T65" fmla="*/ 1345 h 3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974" h="3046">
                <a:moveTo>
                  <a:pt x="1303" y="2967"/>
                </a:moveTo>
                <a:cubicBezTo>
                  <a:pt x="1722" y="2818"/>
                  <a:pt x="1982" y="2476"/>
                  <a:pt x="2004" y="2049"/>
                </a:cubicBezTo>
                <a:lnTo>
                  <a:pt x="2012" y="1890"/>
                </a:lnTo>
                <a:lnTo>
                  <a:pt x="2120" y="1833"/>
                </a:lnTo>
                <a:cubicBezTo>
                  <a:pt x="2179" y="1801"/>
                  <a:pt x="2231" y="1770"/>
                  <a:pt x="2234" y="1764"/>
                </a:cubicBezTo>
                <a:cubicBezTo>
                  <a:pt x="2238" y="1758"/>
                  <a:pt x="2227" y="1721"/>
                  <a:pt x="2209" y="1682"/>
                </a:cubicBezTo>
                <a:cubicBezTo>
                  <a:pt x="2179" y="1615"/>
                  <a:pt x="2179" y="1609"/>
                  <a:pt x="2205" y="1572"/>
                </a:cubicBezTo>
                <a:cubicBezTo>
                  <a:pt x="2230" y="1537"/>
                  <a:pt x="2242" y="1534"/>
                  <a:pt x="2319" y="1543"/>
                </a:cubicBezTo>
                <a:lnTo>
                  <a:pt x="2405" y="1554"/>
                </a:lnTo>
                <a:lnTo>
                  <a:pt x="2440" y="1442"/>
                </a:lnTo>
                <a:cubicBezTo>
                  <a:pt x="2459" y="1380"/>
                  <a:pt x="2474" y="1298"/>
                  <a:pt x="2474" y="1259"/>
                </a:cubicBezTo>
                <a:cubicBezTo>
                  <a:pt x="2474" y="1189"/>
                  <a:pt x="2473" y="1188"/>
                  <a:pt x="2404" y="1173"/>
                </a:cubicBezTo>
                <a:cubicBezTo>
                  <a:pt x="2345" y="1161"/>
                  <a:pt x="2332" y="1150"/>
                  <a:pt x="2319" y="1105"/>
                </a:cubicBezTo>
                <a:cubicBezTo>
                  <a:pt x="2305" y="1057"/>
                  <a:pt x="2309" y="1048"/>
                  <a:pt x="2364" y="1000"/>
                </a:cubicBezTo>
                <a:cubicBezTo>
                  <a:pt x="2421" y="950"/>
                  <a:pt x="2423" y="945"/>
                  <a:pt x="2400" y="902"/>
                </a:cubicBezTo>
                <a:cubicBezTo>
                  <a:pt x="2370" y="843"/>
                  <a:pt x="2250" y="698"/>
                  <a:pt x="2216" y="679"/>
                </a:cubicBezTo>
                <a:cubicBezTo>
                  <a:pt x="2197" y="668"/>
                  <a:pt x="2170" y="677"/>
                  <a:pt x="2126" y="708"/>
                </a:cubicBezTo>
                <a:cubicBezTo>
                  <a:pt x="2070" y="746"/>
                  <a:pt x="2057" y="749"/>
                  <a:pt x="2018" y="731"/>
                </a:cubicBezTo>
                <a:cubicBezTo>
                  <a:pt x="1986" y="717"/>
                  <a:pt x="1974" y="699"/>
                  <a:pt x="1974" y="665"/>
                </a:cubicBezTo>
                <a:cubicBezTo>
                  <a:pt x="1974" y="640"/>
                  <a:pt x="1967" y="599"/>
                  <a:pt x="1958" y="576"/>
                </a:cubicBezTo>
                <a:cubicBezTo>
                  <a:pt x="1942" y="532"/>
                  <a:pt x="1941" y="532"/>
                  <a:pt x="1770" y="537"/>
                </a:cubicBezTo>
                <a:lnTo>
                  <a:pt x="1599" y="542"/>
                </a:lnTo>
                <a:lnTo>
                  <a:pt x="1594" y="621"/>
                </a:lnTo>
                <a:cubicBezTo>
                  <a:pt x="1590" y="689"/>
                  <a:pt x="1583" y="704"/>
                  <a:pt x="1540" y="726"/>
                </a:cubicBezTo>
                <a:cubicBezTo>
                  <a:pt x="1493" y="750"/>
                  <a:pt x="1488" y="749"/>
                  <a:pt x="1435" y="709"/>
                </a:cubicBezTo>
                <a:cubicBezTo>
                  <a:pt x="1405" y="686"/>
                  <a:pt x="1372" y="667"/>
                  <a:pt x="1362" y="667"/>
                </a:cubicBezTo>
                <a:cubicBezTo>
                  <a:pt x="1317" y="667"/>
                  <a:pt x="1131" y="915"/>
                  <a:pt x="1146" y="955"/>
                </a:cubicBezTo>
                <a:cubicBezTo>
                  <a:pt x="1152" y="970"/>
                  <a:pt x="1111" y="975"/>
                  <a:pt x="985" y="976"/>
                </a:cubicBezTo>
                <a:cubicBezTo>
                  <a:pt x="834" y="976"/>
                  <a:pt x="727" y="995"/>
                  <a:pt x="600" y="1044"/>
                </a:cubicBezTo>
                <a:cubicBezTo>
                  <a:pt x="578" y="1052"/>
                  <a:pt x="574" y="1031"/>
                  <a:pt x="574" y="894"/>
                </a:cubicBezTo>
                <a:cubicBezTo>
                  <a:pt x="574" y="807"/>
                  <a:pt x="583" y="695"/>
                  <a:pt x="593" y="647"/>
                </a:cubicBezTo>
                <a:cubicBezTo>
                  <a:pt x="657" y="340"/>
                  <a:pt x="914" y="82"/>
                  <a:pt x="1221" y="18"/>
                </a:cubicBezTo>
                <a:cubicBezTo>
                  <a:pt x="1279" y="6"/>
                  <a:pt x="1599" y="0"/>
                  <a:pt x="2142" y="0"/>
                </a:cubicBezTo>
                <a:lnTo>
                  <a:pt x="2974" y="0"/>
                </a:lnTo>
                <a:lnTo>
                  <a:pt x="2974" y="1500"/>
                </a:lnTo>
                <a:lnTo>
                  <a:pt x="2974" y="3000"/>
                </a:lnTo>
                <a:lnTo>
                  <a:pt x="2095" y="2999"/>
                </a:lnTo>
                <a:cubicBezTo>
                  <a:pt x="1217" y="2998"/>
                  <a:pt x="1216" y="2998"/>
                  <a:pt x="1303" y="2967"/>
                </a:cubicBezTo>
                <a:close/>
                <a:moveTo>
                  <a:pt x="812" y="2965"/>
                </a:moveTo>
                <a:cubicBezTo>
                  <a:pt x="453" y="2905"/>
                  <a:pt x="127" y="2603"/>
                  <a:pt x="33" y="2241"/>
                </a:cubicBezTo>
                <a:cubicBezTo>
                  <a:pt x="0" y="2114"/>
                  <a:pt x="1" y="1874"/>
                  <a:pt x="34" y="1744"/>
                </a:cubicBezTo>
                <a:cubicBezTo>
                  <a:pt x="119" y="1414"/>
                  <a:pt x="391" y="1139"/>
                  <a:pt x="731" y="1041"/>
                </a:cubicBezTo>
                <a:cubicBezTo>
                  <a:pt x="851" y="1007"/>
                  <a:pt x="1081" y="1002"/>
                  <a:pt x="1208" y="1032"/>
                </a:cubicBezTo>
                <a:cubicBezTo>
                  <a:pt x="1545" y="1112"/>
                  <a:pt x="1814" y="1364"/>
                  <a:pt x="1935" y="1717"/>
                </a:cubicBezTo>
                <a:cubicBezTo>
                  <a:pt x="1982" y="1854"/>
                  <a:pt x="1977" y="2153"/>
                  <a:pt x="1926" y="2300"/>
                </a:cubicBezTo>
                <a:cubicBezTo>
                  <a:pt x="1762" y="2769"/>
                  <a:pt x="1298" y="3046"/>
                  <a:pt x="812" y="2965"/>
                </a:cubicBezTo>
                <a:close/>
                <a:moveTo>
                  <a:pt x="1112" y="2399"/>
                </a:moveTo>
                <a:cubicBezTo>
                  <a:pt x="1207" y="2373"/>
                  <a:pt x="1309" y="2285"/>
                  <a:pt x="1361" y="2185"/>
                </a:cubicBezTo>
                <a:cubicBezTo>
                  <a:pt x="1467" y="1982"/>
                  <a:pt x="1394" y="1737"/>
                  <a:pt x="1194" y="1628"/>
                </a:cubicBezTo>
                <a:cubicBezTo>
                  <a:pt x="1090" y="1572"/>
                  <a:pt x="997" y="1558"/>
                  <a:pt x="893" y="1583"/>
                </a:cubicBezTo>
                <a:cubicBezTo>
                  <a:pt x="657" y="1640"/>
                  <a:pt x="515" y="1878"/>
                  <a:pt x="582" y="2107"/>
                </a:cubicBezTo>
                <a:cubicBezTo>
                  <a:pt x="647" y="2333"/>
                  <a:pt x="883" y="2463"/>
                  <a:pt x="1112" y="2399"/>
                </a:cubicBezTo>
                <a:close/>
                <a:moveTo>
                  <a:pt x="916" y="2191"/>
                </a:moveTo>
                <a:cubicBezTo>
                  <a:pt x="879" y="2178"/>
                  <a:pt x="848" y="2167"/>
                  <a:pt x="847" y="2167"/>
                </a:cubicBezTo>
                <a:cubicBezTo>
                  <a:pt x="845" y="2167"/>
                  <a:pt x="827" y="2140"/>
                  <a:pt x="807" y="2107"/>
                </a:cubicBezTo>
                <a:cubicBezTo>
                  <a:pt x="722" y="1970"/>
                  <a:pt x="821" y="1783"/>
                  <a:pt x="978" y="1783"/>
                </a:cubicBezTo>
                <a:cubicBezTo>
                  <a:pt x="1171" y="1784"/>
                  <a:pt x="1270" y="1987"/>
                  <a:pt x="1148" y="2132"/>
                </a:cubicBezTo>
                <a:cubicBezTo>
                  <a:pt x="1109" y="2178"/>
                  <a:pt x="1094" y="2187"/>
                  <a:pt x="1012" y="2207"/>
                </a:cubicBezTo>
                <a:cubicBezTo>
                  <a:pt x="996" y="2212"/>
                  <a:pt x="953" y="2204"/>
                  <a:pt x="916" y="2191"/>
                </a:cubicBezTo>
                <a:close/>
                <a:moveTo>
                  <a:pt x="1778" y="1345"/>
                </a:moveTo>
                <a:cubicBezTo>
                  <a:pt x="1739" y="1296"/>
                  <a:pt x="1674" y="1231"/>
                  <a:pt x="1633" y="1200"/>
                </a:cubicBezTo>
                <a:cubicBezTo>
                  <a:pt x="1560" y="1145"/>
                  <a:pt x="1559" y="1144"/>
                  <a:pt x="1586" y="1100"/>
                </a:cubicBezTo>
                <a:cubicBezTo>
                  <a:pt x="1643" y="1002"/>
                  <a:pt x="1807" y="963"/>
                  <a:pt x="1901" y="1024"/>
                </a:cubicBezTo>
                <a:cubicBezTo>
                  <a:pt x="1998" y="1088"/>
                  <a:pt x="2036" y="1231"/>
                  <a:pt x="1983" y="1333"/>
                </a:cubicBezTo>
                <a:cubicBezTo>
                  <a:pt x="1958" y="1382"/>
                  <a:pt x="1898" y="1433"/>
                  <a:pt x="1866" y="1433"/>
                </a:cubicBezTo>
                <a:cubicBezTo>
                  <a:pt x="1857" y="1433"/>
                  <a:pt x="1817" y="1393"/>
                  <a:pt x="1778" y="1345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08" name="Freeform 14"/>
          <p:cNvSpPr>
            <a:spLocks noChangeAspect="1" noEditPoints="1"/>
          </p:cNvSpPr>
          <p:nvPr/>
        </p:nvSpPr>
        <p:spPr bwMode="auto">
          <a:xfrm>
            <a:off x="4787230" y="3128734"/>
            <a:ext cx="496183" cy="385396"/>
          </a:xfrm>
          <a:custGeom>
            <a:avLst/>
            <a:gdLst>
              <a:gd name="T0" fmla="*/ 27 w 2830"/>
              <a:gd name="T1" fmla="*/ 2112 h 2193"/>
              <a:gd name="T2" fmla="*/ 366 w 2830"/>
              <a:gd name="T3" fmla="*/ 172 h 2193"/>
              <a:gd name="T4" fmla="*/ 818 w 2830"/>
              <a:gd name="T5" fmla="*/ 174 h 2193"/>
              <a:gd name="T6" fmla="*/ 947 w 2830"/>
              <a:gd name="T7" fmla="*/ 1177 h 2193"/>
              <a:gd name="T8" fmla="*/ 906 w 2830"/>
              <a:gd name="T9" fmla="*/ 2156 h 2193"/>
              <a:gd name="T10" fmla="*/ 624 w 2830"/>
              <a:gd name="T11" fmla="*/ 1057 h 2193"/>
              <a:gd name="T12" fmla="*/ 621 w 2830"/>
              <a:gd name="T13" fmla="*/ 962 h 2193"/>
              <a:gd name="T14" fmla="*/ 116 w 2830"/>
              <a:gd name="T15" fmla="*/ 969 h 2193"/>
              <a:gd name="T16" fmla="*/ 116 w 2830"/>
              <a:gd name="T17" fmla="*/ 1069 h 2193"/>
              <a:gd name="T18" fmla="*/ 444 w 2830"/>
              <a:gd name="T19" fmla="*/ 1086 h 2193"/>
              <a:gd name="T20" fmla="*/ 619 w 2830"/>
              <a:gd name="T21" fmla="*/ 860 h 2193"/>
              <a:gd name="T22" fmla="*/ 203 w 2830"/>
              <a:gd name="T23" fmla="*/ 761 h 2193"/>
              <a:gd name="T24" fmla="*/ 112 w 2830"/>
              <a:gd name="T25" fmla="*/ 810 h 2193"/>
              <a:gd name="T26" fmla="*/ 619 w 2830"/>
              <a:gd name="T27" fmla="*/ 860 h 2193"/>
              <a:gd name="T28" fmla="*/ 624 w 2830"/>
              <a:gd name="T29" fmla="*/ 568 h 2193"/>
              <a:gd name="T30" fmla="*/ 216 w 2830"/>
              <a:gd name="T31" fmla="*/ 561 h 2193"/>
              <a:gd name="T32" fmla="*/ 112 w 2830"/>
              <a:gd name="T33" fmla="*/ 618 h 2193"/>
              <a:gd name="T34" fmla="*/ 593 w 2830"/>
              <a:gd name="T35" fmla="*/ 668 h 2193"/>
              <a:gd name="T36" fmla="*/ 624 w 2830"/>
              <a:gd name="T37" fmla="*/ 431 h 2193"/>
              <a:gd name="T38" fmla="*/ 564 w 2830"/>
              <a:gd name="T39" fmla="*/ 338 h 2193"/>
              <a:gd name="T40" fmla="*/ 119 w 2830"/>
              <a:gd name="T41" fmla="*/ 481 h 2193"/>
              <a:gd name="T42" fmla="*/ 1022 w 2830"/>
              <a:gd name="T43" fmla="*/ 2164 h 2193"/>
              <a:gd name="T44" fmla="*/ 1416 w 2830"/>
              <a:gd name="T45" fmla="*/ 0 h 2193"/>
              <a:gd name="T46" fmla="*/ 1809 w 2830"/>
              <a:gd name="T47" fmla="*/ 2164 h 2193"/>
              <a:gd name="T48" fmla="*/ 1022 w 2830"/>
              <a:gd name="T49" fmla="*/ 2164 h 2193"/>
              <a:gd name="T50" fmla="*/ 1495 w 2830"/>
              <a:gd name="T51" fmla="*/ 1493 h 2193"/>
              <a:gd name="T52" fmla="*/ 1496 w 2830"/>
              <a:gd name="T53" fmla="*/ 1767 h 2193"/>
              <a:gd name="T54" fmla="*/ 1702 w 2830"/>
              <a:gd name="T55" fmla="*/ 907 h 2193"/>
              <a:gd name="T56" fmla="*/ 1129 w 2830"/>
              <a:gd name="T57" fmla="*/ 907 h 2193"/>
              <a:gd name="T58" fmla="*/ 1694 w 2830"/>
              <a:gd name="T59" fmla="*/ 1010 h 2193"/>
              <a:gd name="T60" fmla="*/ 1709 w 2830"/>
              <a:gd name="T61" fmla="*/ 725 h 2193"/>
              <a:gd name="T62" fmla="*/ 1416 w 2830"/>
              <a:gd name="T63" fmla="*/ 650 h 2193"/>
              <a:gd name="T64" fmla="*/ 1144 w 2830"/>
              <a:gd name="T65" fmla="*/ 787 h 2193"/>
              <a:gd name="T66" fmla="*/ 1685 w 2830"/>
              <a:gd name="T67" fmla="*/ 562 h 2193"/>
              <a:gd name="T68" fmla="*/ 1137 w 2830"/>
              <a:gd name="T69" fmla="*/ 440 h 2193"/>
              <a:gd name="T70" fmla="*/ 1685 w 2830"/>
              <a:gd name="T71" fmla="*/ 562 h 2193"/>
              <a:gd name="T72" fmla="*/ 1694 w 2830"/>
              <a:gd name="T73" fmla="*/ 215 h 2193"/>
              <a:gd name="T74" fmla="*/ 1129 w 2830"/>
              <a:gd name="T75" fmla="*/ 318 h 2193"/>
              <a:gd name="T76" fmla="*/ 1702 w 2830"/>
              <a:gd name="T77" fmla="*/ 318 h 2193"/>
              <a:gd name="T78" fmla="*/ 1925 w 2830"/>
              <a:gd name="T79" fmla="*/ 2156 h 2193"/>
              <a:gd name="T80" fmla="*/ 1884 w 2830"/>
              <a:gd name="T81" fmla="*/ 1177 h 2193"/>
              <a:gd name="T82" fmla="*/ 2013 w 2830"/>
              <a:gd name="T83" fmla="*/ 174 h 2193"/>
              <a:gd name="T84" fmla="*/ 2465 w 2830"/>
              <a:gd name="T85" fmla="*/ 172 h 2193"/>
              <a:gd name="T86" fmla="*/ 2804 w 2830"/>
              <a:gd name="T87" fmla="*/ 2112 h 2193"/>
              <a:gd name="T88" fmla="*/ 2034 w 2830"/>
              <a:gd name="T89" fmla="*/ 2174 h 2193"/>
              <a:gd name="T90" fmla="*/ 2716 w 2830"/>
              <a:gd name="T91" fmla="*/ 1069 h 2193"/>
              <a:gd name="T92" fmla="*/ 2716 w 2830"/>
              <a:gd name="T93" fmla="*/ 969 h 2193"/>
              <a:gd name="T94" fmla="*/ 2210 w 2830"/>
              <a:gd name="T95" fmla="*/ 962 h 2193"/>
              <a:gd name="T96" fmla="*/ 2207 w 2830"/>
              <a:gd name="T97" fmla="*/ 1057 h 2193"/>
              <a:gd name="T98" fmla="*/ 2628 w 2830"/>
              <a:gd name="T99" fmla="*/ 1077 h 2193"/>
              <a:gd name="T100" fmla="*/ 2719 w 2830"/>
              <a:gd name="T101" fmla="*/ 810 h 2193"/>
              <a:gd name="T102" fmla="*/ 2628 w 2830"/>
              <a:gd name="T103" fmla="*/ 761 h 2193"/>
              <a:gd name="T104" fmla="*/ 2213 w 2830"/>
              <a:gd name="T105" fmla="*/ 861 h 2193"/>
              <a:gd name="T106" fmla="*/ 2636 w 2830"/>
              <a:gd name="T107" fmla="*/ 885 h 2193"/>
              <a:gd name="T108" fmla="*/ 2702 w 2830"/>
              <a:gd name="T109" fmla="*/ 680 h 2193"/>
              <a:gd name="T110" fmla="*/ 2459 w 2830"/>
              <a:gd name="T111" fmla="*/ 551 h 2193"/>
              <a:gd name="T112" fmla="*/ 2209 w 2830"/>
              <a:gd name="T113" fmla="*/ 650 h 2193"/>
              <a:gd name="T114" fmla="*/ 2630 w 2830"/>
              <a:gd name="T115" fmla="*/ 685 h 2193"/>
              <a:gd name="T116" fmla="*/ 2719 w 2830"/>
              <a:gd name="T117" fmla="*/ 437 h 2193"/>
              <a:gd name="T118" fmla="*/ 2455 w 2830"/>
              <a:gd name="T119" fmla="*/ 349 h 2193"/>
              <a:gd name="T120" fmla="*/ 2403 w 2830"/>
              <a:gd name="T121" fmla="*/ 473 h 2193"/>
              <a:gd name="T122" fmla="*/ 2716 w 2830"/>
              <a:gd name="T123" fmla="*/ 481 h 2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830" h="2193">
                <a:moveTo>
                  <a:pt x="343" y="2156"/>
                </a:moveTo>
                <a:cubicBezTo>
                  <a:pt x="177" y="2139"/>
                  <a:pt x="37" y="2120"/>
                  <a:pt x="27" y="2112"/>
                </a:cubicBezTo>
                <a:cubicBezTo>
                  <a:pt x="2" y="2091"/>
                  <a:pt x="0" y="236"/>
                  <a:pt x="25" y="215"/>
                </a:cubicBezTo>
                <a:cubicBezTo>
                  <a:pt x="34" y="208"/>
                  <a:pt x="187" y="188"/>
                  <a:pt x="366" y="172"/>
                </a:cubicBezTo>
                <a:lnTo>
                  <a:pt x="690" y="142"/>
                </a:lnTo>
                <a:lnTo>
                  <a:pt x="818" y="174"/>
                </a:lnTo>
                <a:lnTo>
                  <a:pt x="947" y="206"/>
                </a:lnTo>
                <a:lnTo>
                  <a:pt x="947" y="1177"/>
                </a:lnTo>
                <a:lnTo>
                  <a:pt x="947" y="2149"/>
                </a:lnTo>
                <a:lnTo>
                  <a:pt x="906" y="2156"/>
                </a:lnTo>
                <a:cubicBezTo>
                  <a:pt x="683" y="2193"/>
                  <a:pt x="727" y="2193"/>
                  <a:pt x="343" y="2156"/>
                </a:cubicBezTo>
                <a:close/>
                <a:moveTo>
                  <a:pt x="624" y="1057"/>
                </a:moveTo>
                <a:cubicBezTo>
                  <a:pt x="631" y="1041"/>
                  <a:pt x="634" y="1012"/>
                  <a:pt x="629" y="995"/>
                </a:cubicBezTo>
                <a:lnTo>
                  <a:pt x="621" y="962"/>
                </a:lnTo>
                <a:lnTo>
                  <a:pt x="368" y="966"/>
                </a:lnTo>
                <a:lnTo>
                  <a:pt x="116" y="969"/>
                </a:lnTo>
                <a:lnTo>
                  <a:pt x="116" y="1019"/>
                </a:lnTo>
                <a:lnTo>
                  <a:pt x="116" y="1069"/>
                </a:lnTo>
                <a:lnTo>
                  <a:pt x="197" y="1076"/>
                </a:lnTo>
                <a:cubicBezTo>
                  <a:pt x="241" y="1080"/>
                  <a:pt x="353" y="1084"/>
                  <a:pt x="444" y="1086"/>
                </a:cubicBezTo>
                <a:cubicBezTo>
                  <a:pt x="608" y="1088"/>
                  <a:pt x="610" y="1087"/>
                  <a:pt x="624" y="1057"/>
                </a:cubicBezTo>
                <a:close/>
                <a:moveTo>
                  <a:pt x="619" y="860"/>
                </a:moveTo>
                <a:cubicBezTo>
                  <a:pt x="639" y="844"/>
                  <a:pt x="639" y="785"/>
                  <a:pt x="619" y="765"/>
                </a:cubicBezTo>
                <a:cubicBezTo>
                  <a:pt x="603" y="749"/>
                  <a:pt x="364" y="747"/>
                  <a:pt x="203" y="761"/>
                </a:cubicBezTo>
                <a:lnTo>
                  <a:pt x="116" y="769"/>
                </a:lnTo>
                <a:lnTo>
                  <a:pt x="112" y="810"/>
                </a:lnTo>
                <a:cubicBezTo>
                  <a:pt x="104" y="885"/>
                  <a:pt x="110" y="887"/>
                  <a:pt x="369" y="879"/>
                </a:cubicBezTo>
                <a:cubicBezTo>
                  <a:pt x="498" y="875"/>
                  <a:pt x="610" y="866"/>
                  <a:pt x="619" y="860"/>
                </a:cubicBezTo>
                <a:close/>
                <a:moveTo>
                  <a:pt x="593" y="668"/>
                </a:moveTo>
                <a:cubicBezTo>
                  <a:pt x="628" y="661"/>
                  <a:pt x="643" y="610"/>
                  <a:pt x="624" y="568"/>
                </a:cubicBezTo>
                <a:cubicBezTo>
                  <a:pt x="610" y="539"/>
                  <a:pt x="609" y="539"/>
                  <a:pt x="463" y="546"/>
                </a:cubicBezTo>
                <a:cubicBezTo>
                  <a:pt x="382" y="550"/>
                  <a:pt x="271" y="557"/>
                  <a:pt x="216" y="561"/>
                </a:cubicBezTo>
                <a:lnTo>
                  <a:pt x="116" y="569"/>
                </a:lnTo>
                <a:lnTo>
                  <a:pt x="112" y="618"/>
                </a:lnTo>
                <a:cubicBezTo>
                  <a:pt x="109" y="648"/>
                  <a:pt x="114" y="670"/>
                  <a:pt x="124" y="676"/>
                </a:cubicBezTo>
                <a:cubicBezTo>
                  <a:pt x="140" y="686"/>
                  <a:pt x="539" y="679"/>
                  <a:pt x="593" y="668"/>
                </a:cubicBezTo>
                <a:close/>
                <a:moveTo>
                  <a:pt x="495" y="467"/>
                </a:moveTo>
                <a:cubicBezTo>
                  <a:pt x="600" y="460"/>
                  <a:pt x="613" y="456"/>
                  <a:pt x="624" y="431"/>
                </a:cubicBezTo>
                <a:cubicBezTo>
                  <a:pt x="632" y="415"/>
                  <a:pt x="634" y="388"/>
                  <a:pt x="629" y="370"/>
                </a:cubicBezTo>
                <a:cubicBezTo>
                  <a:pt x="622" y="341"/>
                  <a:pt x="615" y="338"/>
                  <a:pt x="564" y="338"/>
                </a:cubicBezTo>
                <a:cubicBezTo>
                  <a:pt x="447" y="338"/>
                  <a:pt x="140" y="366"/>
                  <a:pt x="125" y="378"/>
                </a:cubicBezTo>
                <a:cubicBezTo>
                  <a:pt x="108" y="392"/>
                  <a:pt x="103" y="465"/>
                  <a:pt x="119" y="481"/>
                </a:cubicBezTo>
                <a:cubicBezTo>
                  <a:pt x="127" y="490"/>
                  <a:pt x="178" y="488"/>
                  <a:pt x="495" y="467"/>
                </a:cubicBezTo>
                <a:close/>
                <a:moveTo>
                  <a:pt x="1022" y="2164"/>
                </a:moveTo>
                <a:cubicBezTo>
                  <a:pt x="1004" y="2130"/>
                  <a:pt x="1004" y="58"/>
                  <a:pt x="1022" y="24"/>
                </a:cubicBezTo>
                <a:cubicBezTo>
                  <a:pt x="1035" y="1"/>
                  <a:pt x="1052" y="0"/>
                  <a:pt x="1416" y="0"/>
                </a:cubicBezTo>
                <a:cubicBezTo>
                  <a:pt x="1779" y="0"/>
                  <a:pt x="1796" y="1"/>
                  <a:pt x="1809" y="24"/>
                </a:cubicBezTo>
                <a:cubicBezTo>
                  <a:pt x="1827" y="58"/>
                  <a:pt x="1827" y="2130"/>
                  <a:pt x="1809" y="2164"/>
                </a:cubicBezTo>
                <a:cubicBezTo>
                  <a:pt x="1796" y="2187"/>
                  <a:pt x="1779" y="2188"/>
                  <a:pt x="1416" y="2188"/>
                </a:cubicBezTo>
                <a:cubicBezTo>
                  <a:pt x="1052" y="2188"/>
                  <a:pt x="1035" y="2187"/>
                  <a:pt x="1022" y="2164"/>
                </a:cubicBezTo>
                <a:close/>
                <a:moveTo>
                  <a:pt x="1496" y="1767"/>
                </a:moveTo>
                <a:cubicBezTo>
                  <a:pt x="1597" y="1708"/>
                  <a:pt x="1596" y="1545"/>
                  <a:pt x="1495" y="1493"/>
                </a:cubicBezTo>
                <a:cubicBezTo>
                  <a:pt x="1382" y="1435"/>
                  <a:pt x="1259" y="1508"/>
                  <a:pt x="1259" y="1632"/>
                </a:cubicBezTo>
                <a:cubicBezTo>
                  <a:pt x="1259" y="1752"/>
                  <a:pt x="1393" y="1829"/>
                  <a:pt x="1496" y="1767"/>
                </a:cubicBezTo>
                <a:close/>
                <a:moveTo>
                  <a:pt x="1694" y="1010"/>
                </a:moveTo>
                <a:cubicBezTo>
                  <a:pt x="1710" y="994"/>
                  <a:pt x="1714" y="940"/>
                  <a:pt x="1702" y="907"/>
                </a:cubicBezTo>
                <a:cubicBezTo>
                  <a:pt x="1695" y="890"/>
                  <a:pt x="1658" y="888"/>
                  <a:pt x="1416" y="888"/>
                </a:cubicBezTo>
                <a:cubicBezTo>
                  <a:pt x="1173" y="888"/>
                  <a:pt x="1136" y="890"/>
                  <a:pt x="1129" y="907"/>
                </a:cubicBezTo>
                <a:cubicBezTo>
                  <a:pt x="1117" y="940"/>
                  <a:pt x="1121" y="994"/>
                  <a:pt x="1137" y="1010"/>
                </a:cubicBezTo>
                <a:cubicBezTo>
                  <a:pt x="1158" y="1031"/>
                  <a:pt x="1673" y="1031"/>
                  <a:pt x="1694" y="1010"/>
                </a:cubicBezTo>
                <a:close/>
                <a:moveTo>
                  <a:pt x="1685" y="787"/>
                </a:moveTo>
                <a:cubicBezTo>
                  <a:pt x="1703" y="778"/>
                  <a:pt x="1709" y="761"/>
                  <a:pt x="1709" y="725"/>
                </a:cubicBezTo>
                <a:cubicBezTo>
                  <a:pt x="1709" y="689"/>
                  <a:pt x="1703" y="673"/>
                  <a:pt x="1685" y="663"/>
                </a:cubicBezTo>
                <a:cubicBezTo>
                  <a:pt x="1671" y="655"/>
                  <a:pt x="1561" y="650"/>
                  <a:pt x="1416" y="650"/>
                </a:cubicBezTo>
                <a:cubicBezTo>
                  <a:pt x="1270" y="650"/>
                  <a:pt x="1160" y="655"/>
                  <a:pt x="1146" y="663"/>
                </a:cubicBezTo>
                <a:cubicBezTo>
                  <a:pt x="1113" y="681"/>
                  <a:pt x="1112" y="768"/>
                  <a:pt x="1144" y="787"/>
                </a:cubicBezTo>
                <a:cubicBezTo>
                  <a:pt x="1173" y="804"/>
                  <a:pt x="1653" y="804"/>
                  <a:pt x="1685" y="787"/>
                </a:cubicBezTo>
                <a:close/>
                <a:moveTo>
                  <a:pt x="1685" y="562"/>
                </a:moveTo>
                <a:cubicBezTo>
                  <a:pt x="1713" y="547"/>
                  <a:pt x="1719" y="465"/>
                  <a:pt x="1694" y="440"/>
                </a:cubicBezTo>
                <a:cubicBezTo>
                  <a:pt x="1673" y="419"/>
                  <a:pt x="1158" y="419"/>
                  <a:pt x="1137" y="440"/>
                </a:cubicBezTo>
                <a:cubicBezTo>
                  <a:pt x="1113" y="464"/>
                  <a:pt x="1118" y="547"/>
                  <a:pt x="1144" y="562"/>
                </a:cubicBezTo>
                <a:cubicBezTo>
                  <a:pt x="1173" y="579"/>
                  <a:pt x="1653" y="579"/>
                  <a:pt x="1685" y="562"/>
                </a:cubicBezTo>
                <a:close/>
                <a:moveTo>
                  <a:pt x="1702" y="318"/>
                </a:moveTo>
                <a:cubicBezTo>
                  <a:pt x="1714" y="285"/>
                  <a:pt x="1710" y="231"/>
                  <a:pt x="1694" y="215"/>
                </a:cubicBezTo>
                <a:cubicBezTo>
                  <a:pt x="1673" y="194"/>
                  <a:pt x="1158" y="194"/>
                  <a:pt x="1137" y="215"/>
                </a:cubicBezTo>
                <a:cubicBezTo>
                  <a:pt x="1121" y="231"/>
                  <a:pt x="1117" y="285"/>
                  <a:pt x="1129" y="318"/>
                </a:cubicBezTo>
                <a:cubicBezTo>
                  <a:pt x="1136" y="335"/>
                  <a:pt x="1173" y="338"/>
                  <a:pt x="1416" y="338"/>
                </a:cubicBezTo>
                <a:cubicBezTo>
                  <a:pt x="1658" y="338"/>
                  <a:pt x="1695" y="335"/>
                  <a:pt x="1702" y="318"/>
                </a:cubicBezTo>
                <a:close/>
                <a:moveTo>
                  <a:pt x="2034" y="2174"/>
                </a:moveTo>
                <a:cubicBezTo>
                  <a:pt x="1996" y="2168"/>
                  <a:pt x="1947" y="2160"/>
                  <a:pt x="1925" y="2156"/>
                </a:cubicBezTo>
                <a:lnTo>
                  <a:pt x="1884" y="2149"/>
                </a:lnTo>
                <a:lnTo>
                  <a:pt x="1884" y="1177"/>
                </a:lnTo>
                <a:lnTo>
                  <a:pt x="1884" y="206"/>
                </a:lnTo>
                <a:lnTo>
                  <a:pt x="2013" y="174"/>
                </a:lnTo>
                <a:lnTo>
                  <a:pt x="2141" y="142"/>
                </a:lnTo>
                <a:lnTo>
                  <a:pt x="2465" y="172"/>
                </a:lnTo>
                <a:cubicBezTo>
                  <a:pt x="2644" y="188"/>
                  <a:pt x="2797" y="208"/>
                  <a:pt x="2806" y="215"/>
                </a:cubicBezTo>
                <a:cubicBezTo>
                  <a:pt x="2830" y="235"/>
                  <a:pt x="2829" y="2091"/>
                  <a:pt x="2804" y="2112"/>
                </a:cubicBezTo>
                <a:cubicBezTo>
                  <a:pt x="2790" y="2124"/>
                  <a:pt x="2179" y="2191"/>
                  <a:pt x="2122" y="2186"/>
                </a:cubicBezTo>
                <a:cubicBezTo>
                  <a:pt x="2111" y="2185"/>
                  <a:pt x="2072" y="2180"/>
                  <a:pt x="2034" y="2174"/>
                </a:cubicBezTo>
                <a:close/>
                <a:moveTo>
                  <a:pt x="2628" y="1077"/>
                </a:moveTo>
                <a:lnTo>
                  <a:pt x="2716" y="1069"/>
                </a:lnTo>
                <a:lnTo>
                  <a:pt x="2716" y="1019"/>
                </a:lnTo>
                <a:lnTo>
                  <a:pt x="2716" y="969"/>
                </a:lnTo>
                <a:lnTo>
                  <a:pt x="2463" y="966"/>
                </a:lnTo>
                <a:lnTo>
                  <a:pt x="2210" y="962"/>
                </a:lnTo>
                <a:lnTo>
                  <a:pt x="2202" y="995"/>
                </a:lnTo>
                <a:cubicBezTo>
                  <a:pt x="2197" y="1012"/>
                  <a:pt x="2200" y="1041"/>
                  <a:pt x="2207" y="1057"/>
                </a:cubicBezTo>
                <a:cubicBezTo>
                  <a:pt x="2221" y="1087"/>
                  <a:pt x="2223" y="1088"/>
                  <a:pt x="2381" y="1086"/>
                </a:cubicBezTo>
                <a:cubicBezTo>
                  <a:pt x="2469" y="1085"/>
                  <a:pt x="2580" y="1081"/>
                  <a:pt x="2628" y="1077"/>
                </a:cubicBezTo>
                <a:close/>
                <a:moveTo>
                  <a:pt x="2709" y="870"/>
                </a:moveTo>
                <a:cubicBezTo>
                  <a:pt x="2717" y="860"/>
                  <a:pt x="2722" y="833"/>
                  <a:pt x="2719" y="810"/>
                </a:cubicBezTo>
                <a:lnTo>
                  <a:pt x="2716" y="769"/>
                </a:lnTo>
                <a:lnTo>
                  <a:pt x="2628" y="761"/>
                </a:lnTo>
                <a:cubicBezTo>
                  <a:pt x="2467" y="747"/>
                  <a:pt x="2228" y="749"/>
                  <a:pt x="2212" y="765"/>
                </a:cubicBezTo>
                <a:cubicBezTo>
                  <a:pt x="2192" y="785"/>
                  <a:pt x="2193" y="844"/>
                  <a:pt x="2213" y="861"/>
                </a:cubicBezTo>
                <a:cubicBezTo>
                  <a:pt x="2223" y="869"/>
                  <a:pt x="2302" y="876"/>
                  <a:pt x="2404" y="878"/>
                </a:cubicBezTo>
                <a:cubicBezTo>
                  <a:pt x="2500" y="880"/>
                  <a:pt x="2604" y="883"/>
                  <a:pt x="2636" y="885"/>
                </a:cubicBezTo>
                <a:cubicBezTo>
                  <a:pt x="2674" y="887"/>
                  <a:pt x="2699" y="881"/>
                  <a:pt x="2709" y="870"/>
                </a:cubicBezTo>
                <a:close/>
                <a:moveTo>
                  <a:pt x="2702" y="680"/>
                </a:moveTo>
                <a:cubicBezTo>
                  <a:pt x="2726" y="671"/>
                  <a:pt x="2730" y="577"/>
                  <a:pt x="2706" y="569"/>
                </a:cubicBezTo>
                <a:cubicBezTo>
                  <a:pt x="2698" y="566"/>
                  <a:pt x="2586" y="558"/>
                  <a:pt x="2459" y="551"/>
                </a:cubicBezTo>
                <a:cubicBezTo>
                  <a:pt x="2249" y="539"/>
                  <a:pt x="2227" y="540"/>
                  <a:pt x="2212" y="559"/>
                </a:cubicBezTo>
                <a:cubicBezTo>
                  <a:pt x="2194" y="584"/>
                  <a:pt x="2192" y="624"/>
                  <a:pt x="2209" y="650"/>
                </a:cubicBezTo>
                <a:cubicBezTo>
                  <a:pt x="2218" y="665"/>
                  <a:pt x="2260" y="670"/>
                  <a:pt x="2399" y="676"/>
                </a:cubicBezTo>
                <a:cubicBezTo>
                  <a:pt x="2498" y="680"/>
                  <a:pt x="2601" y="684"/>
                  <a:pt x="2630" y="685"/>
                </a:cubicBezTo>
                <a:cubicBezTo>
                  <a:pt x="2659" y="687"/>
                  <a:pt x="2691" y="684"/>
                  <a:pt x="2702" y="680"/>
                </a:cubicBezTo>
                <a:close/>
                <a:moveTo>
                  <a:pt x="2719" y="437"/>
                </a:moveTo>
                <a:cubicBezTo>
                  <a:pt x="2721" y="411"/>
                  <a:pt x="2716" y="386"/>
                  <a:pt x="2707" y="378"/>
                </a:cubicBezTo>
                <a:cubicBezTo>
                  <a:pt x="2697" y="371"/>
                  <a:pt x="2584" y="357"/>
                  <a:pt x="2455" y="349"/>
                </a:cubicBezTo>
                <a:cubicBezTo>
                  <a:pt x="2202" y="332"/>
                  <a:pt x="2197" y="332"/>
                  <a:pt x="2197" y="395"/>
                </a:cubicBezTo>
                <a:cubicBezTo>
                  <a:pt x="2197" y="453"/>
                  <a:pt x="2218" y="461"/>
                  <a:pt x="2403" y="473"/>
                </a:cubicBezTo>
                <a:cubicBezTo>
                  <a:pt x="2499" y="479"/>
                  <a:pt x="2609" y="484"/>
                  <a:pt x="2647" y="483"/>
                </a:cubicBezTo>
                <a:lnTo>
                  <a:pt x="2716" y="481"/>
                </a:lnTo>
                <a:lnTo>
                  <a:pt x="2719" y="437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09" name="Freeform 16"/>
          <p:cNvSpPr>
            <a:spLocks noChangeAspect="1" noEditPoints="1"/>
          </p:cNvSpPr>
          <p:nvPr/>
        </p:nvSpPr>
        <p:spPr bwMode="auto">
          <a:xfrm>
            <a:off x="8626262" y="3170084"/>
            <a:ext cx="523645" cy="441220"/>
          </a:xfrm>
          <a:custGeom>
            <a:avLst/>
            <a:gdLst>
              <a:gd name="T0" fmla="*/ 2969 w 6532"/>
              <a:gd name="T1" fmla="*/ 5481 h 5503"/>
              <a:gd name="T2" fmla="*/ 2696 w 6532"/>
              <a:gd name="T3" fmla="*/ 5323 h 5503"/>
              <a:gd name="T4" fmla="*/ 2715 w 6532"/>
              <a:gd name="T5" fmla="*/ 4557 h 5503"/>
              <a:gd name="T6" fmla="*/ 2791 w 6532"/>
              <a:gd name="T7" fmla="*/ 4485 h 5503"/>
              <a:gd name="T8" fmla="*/ 2791 w 6532"/>
              <a:gd name="T9" fmla="*/ 4293 h 5503"/>
              <a:gd name="T10" fmla="*/ 2791 w 6532"/>
              <a:gd name="T11" fmla="*/ 4101 h 5503"/>
              <a:gd name="T12" fmla="*/ 1906 w 6532"/>
              <a:gd name="T13" fmla="*/ 4096 h 5503"/>
              <a:gd name="T14" fmla="*/ 940 w 6532"/>
              <a:gd name="T15" fmla="*/ 4072 h 5503"/>
              <a:gd name="T16" fmla="*/ 33 w 6532"/>
              <a:gd name="T17" fmla="*/ 3168 h 5503"/>
              <a:gd name="T18" fmla="*/ 0 w 6532"/>
              <a:gd name="T19" fmla="*/ 2868 h 5503"/>
              <a:gd name="T20" fmla="*/ 32 w 6532"/>
              <a:gd name="T21" fmla="*/ 2568 h 5503"/>
              <a:gd name="T22" fmla="*/ 799 w 6532"/>
              <a:gd name="T23" fmla="*/ 1698 h 5503"/>
              <a:gd name="T24" fmla="*/ 908 w 6532"/>
              <a:gd name="T25" fmla="*/ 1632 h 5503"/>
              <a:gd name="T26" fmla="*/ 934 w 6532"/>
              <a:gd name="T27" fmla="*/ 1487 h 5503"/>
              <a:gd name="T28" fmla="*/ 1984 w 6532"/>
              <a:gd name="T29" fmla="*/ 236 h 5503"/>
              <a:gd name="T30" fmla="*/ 3865 w 6532"/>
              <a:gd name="T31" fmla="*/ 438 h 5503"/>
              <a:gd name="T32" fmla="*/ 4292 w 6532"/>
              <a:gd name="T33" fmla="*/ 928 h 5503"/>
              <a:gd name="T34" fmla="*/ 4342 w 6532"/>
              <a:gd name="T35" fmla="*/ 1000 h 5503"/>
              <a:gd name="T36" fmla="*/ 4465 w 6532"/>
              <a:gd name="T37" fmla="*/ 962 h 5503"/>
              <a:gd name="T38" fmla="*/ 5197 w 6532"/>
              <a:gd name="T39" fmla="*/ 992 h 5503"/>
              <a:gd name="T40" fmla="*/ 5760 w 6532"/>
              <a:gd name="T41" fmla="*/ 1668 h 5503"/>
              <a:gd name="T42" fmla="*/ 5755 w 6532"/>
              <a:gd name="T43" fmla="*/ 2143 h 5503"/>
              <a:gd name="T44" fmla="*/ 5776 w 6532"/>
              <a:gd name="T45" fmla="*/ 2262 h 5503"/>
              <a:gd name="T46" fmla="*/ 5857 w 6532"/>
              <a:gd name="T47" fmla="*/ 2289 h 5503"/>
              <a:gd name="T48" fmla="*/ 6329 w 6532"/>
              <a:gd name="T49" fmla="*/ 2803 h 5503"/>
              <a:gd name="T50" fmla="*/ 5572 w 6532"/>
              <a:gd name="T51" fmla="*/ 4087 h 5503"/>
              <a:gd name="T52" fmla="*/ 4437 w 6532"/>
              <a:gd name="T53" fmla="*/ 4099 h 5503"/>
              <a:gd name="T54" fmla="*/ 3391 w 6532"/>
              <a:gd name="T55" fmla="*/ 4100 h 5503"/>
              <a:gd name="T56" fmla="*/ 3391 w 6532"/>
              <a:gd name="T57" fmla="*/ 4294 h 5503"/>
              <a:gd name="T58" fmla="*/ 3391 w 6532"/>
              <a:gd name="T59" fmla="*/ 4488 h 5503"/>
              <a:gd name="T60" fmla="*/ 3466 w 6532"/>
              <a:gd name="T61" fmla="*/ 4558 h 5503"/>
              <a:gd name="T62" fmla="*/ 3485 w 6532"/>
              <a:gd name="T63" fmla="*/ 5323 h 5503"/>
              <a:gd name="T64" fmla="*/ 3207 w 6532"/>
              <a:gd name="T65" fmla="*/ 5481 h 5503"/>
              <a:gd name="T66" fmla="*/ 2969 w 6532"/>
              <a:gd name="T67" fmla="*/ 5481 h 5503"/>
              <a:gd name="T68" fmla="*/ 1422 w 6532"/>
              <a:gd name="T69" fmla="*/ 5288 h 5503"/>
              <a:gd name="T70" fmla="*/ 1198 w 6532"/>
              <a:gd name="T71" fmla="*/ 5000 h 5503"/>
              <a:gd name="T72" fmla="*/ 1366 w 6532"/>
              <a:gd name="T73" fmla="*/ 4729 h 5503"/>
              <a:gd name="T74" fmla="*/ 1894 w 6532"/>
              <a:gd name="T75" fmla="*/ 4702 h 5503"/>
              <a:gd name="T76" fmla="*/ 2378 w 6532"/>
              <a:gd name="T77" fmla="*/ 4705 h 5503"/>
              <a:gd name="T78" fmla="*/ 2359 w 6532"/>
              <a:gd name="T79" fmla="*/ 4783 h 5503"/>
              <a:gd name="T80" fmla="*/ 2403 w 6532"/>
              <a:gd name="T81" fmla="*/ 5246 h 5503"/>
              <a:gd name="T82" fmla="*/ 2427 w 6532"/>
              <a:gd name="T83" fmla="*/ 5300 h 5503"/>
              <a:gd name="T84" fmla="*/ 1943 w 6532"/>
              <a:gd name="T85" fmla="*/ 5298 h 5503"/>
              <a:gd name="T86" fmla="*/ 1422 w 6532"/>
              <a:gd name="T87" fmla="*/ 5288 h 5503"/>
              <a:gd name="T88" fmla="*/ 3778 w 6532"/>
              <a:gd name="T89" fmla="*/ 5246 h 5503"/>
              <a:gd name="T90" fmla="*/ 3822 w 6532"/>
              <a:gd name="T91" fmla="*/ 4783 h 5503"/>
              <a:gd name="T92" fmla="*/ 3803 w 6532"/>
              <a:gd name="T93" fmla="*/ 4705 h 5503"/>
              <a:gd name="T94" fmla="*/ 4287 w 6532"/>
              <a:gd name="T95" fmla="*/ 4702 h 5503"/>
              <a:gd name="T96" fmla="*/ 4816 w 6532"/>
              <a:gd name="T97" fmla="*/ 4729 h 5503"/>
              <a:gd name="T98" fmla="*/ 4983 w 6532"/>
              <a:gd name="T99" fmla="*/ 5000 h 5503"/>
              <a:gd name="T100" fmla="*/ 4816 w 6532"/>
              <a:gd name="T101" fmla="*/ 5270 h 5503"/>
              <a:gd name="T102" fmla="*/ 4263 w 6532"/>
              <a:gd name="T103" fmla="*/ 5297 h 5503"/>
              <a:gd name="T104" fmla="*/ 3754 w 6532"/>
              <a:gd name="T105" fmla="*/ 5301 h 5503"/>
              <a:gd name="T106" fmla="*/ 3778 w 6532"/>
              <a:gd name="T107" fmla="*/ 5246 h 55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32" h="5503">
                <a:moveTo>
                  <a:pt x="2969" y="5481"/>
                </a:moveTo>
                <a:cubicBezTo>
                  <a:pt x="2862" y="5457"/>
                  <a:pt x="2778" y="5409"/>
                  <a:pt x="2696" y="5323"/>
                </a:cubicBezTo>
                <a:cubicBezTo>
                  <a:pt x="2487" y="5104"/>
                  <a:pt x="2496" y="4767"/>
                  <a:pt x="2715" y="4557"/>
                </a:cubicBezTo>
                <a:lnTo>
                  <a:pt x="2791" y="4485"/>
                </a:lnTo>
                <a:lnTo>
                  <a:pt x="2791" y="4293"/>
                </a:lnTo>
                <a:lnTo>
                  <a:pt x="2791" y="4101"/>
                </a:lnTo>
                <a:lnTo>
                  <a:pt x="1906" y="4096"/>
                </a:lnTo>
                <a:cubicBezTo>
                  <a:pt x="1154" y="4092"/>
                  <a:pt x="1010" y="4089"/>
                  <a:pt x="940" y="4072"/>
                </a:cubicBezTo>
                <a:cubicBezTo>
                  <a:pt x="489" y="3963"/>
                  <a:pt x="152" y="3627"/>
                  <a:pt x="33" y="3168"/>
                </a:cubicBezTo>
                <a:cubicBezTo>
                  <a:pt x="5" y="3063"/>
                  <a:pt x="0" y="3016"/>
                  <a:pt x="0" y="2868"/>
                </a:cubicBezTo>
                <a:cubicBezTo>
                  <a:pt x="0" y="2720"/>
                  <a:pt x="5" y="2674"/>
                  <a:pt x="32" y="2568"/>
                </a:cubicBezTo>
                <a:cubicBezTo>
                  <a:pt x="133" y="2179"/>
                  <a:pt x="431" y="1841"/>
                  <a:pt x="799" y="1698"/>
                </a:cubicBezTo>
                <a:cubicBezTo>
                  <a:pt x="877" y="1668"/>
                  <a:pt x="905" y="1651"/>
                  <a:pt x="908" y="1632"/>
                </a:cubicBezTo>
                <a:cubicBezTo>
                  <a:pt x="911" y="1617"/>
                  <a:pt x="922" y="1552"/>
                  <a:pt x="934" y="1487"/>
                </a:cubicBezTo>
                <a:cubicBezTo>
                  <a:pt x="1031" y="933"/>
                  <a:pt x="1430" y="458"/>
                  <a:pt x="1984" y="236"/>
                </a:cubicBezTo>
                <a:cubicBezTo>
                  <a:pt x="2576" y="0"/>
                  <a:pt x="3393" y="87"/>
                  <a:pt x="3865" y="438"/>
                </a:cubicBezTo>
                <a:cubicBezTo>
                  <a:pt x="4042" y="569"/>
                  <a:pt x="4204" y="754"/>
                  <a:pt x="4292" y="928"/>
                </a:cubicBezTo>
                <a:cubicBezTo>
                  <a:pt x="4312" y="967"/>
                  <a:pt x="4335" y="1000"/>
                  <a:pt x="4342" y="1000"/>
                </a:cubicBezTo>
                <a:cubicBezTo>
                  <a:pt x="4350" y="1000"/>
                  <a:pt x="4405" y="983"/>
                  <a:pt x="4465" y="962"/>
                </a:cubicBezTo>
                <a:cubicBezTo>
                  <a:pt x="4718" y="875"/>
                  <a:pt x="4966" y="886"/>
                  <a:pt x="5197" y="992"/>
                </a:cubicBezTo>
                <a:cubicBezTo>
                  <a:pt x="5482" y="1124"/>
                  <a:pt x="5682" y="1364"/>
                  <a:pt x="5760" y="1668"/>
                </a:cubicBezTo>
                <a:cubicBezTo>
                  <a:pt x="5792" y="1795"/>
                  <a:pt x="5790" y="2012"/>
                  <a:pt x="5755" y="2143"/>
                </a:cubicBezTo>
                <a:cubicBezTo>
                  <a:pt x="5727" y="2244"/>
                  <a:pt x="5730" y="2261"/>
                  <a:pt x="5776" y="2262"/>
                </a:cubicBezTo>
                <a:cubicBezTo>
                  <a:pt x="5785" y="2262"/>
                  <a:pt x="5821" y="2274"/>
                  <a:pt x="5857" y="2289"/>
                </a:cubicBezTo>
                <a:cubicBezTo>
                  <a:pt x="6086" y="2386"/>
                  <a:pt x="6245" y="2559"/>
                  <a:pt x="6329" y="2803"/>
                </a:cubicBezTo>
                <a:cubicBezTo>
                  <a:pt x="6532" y="3394"/>
                  <a:pt x="6174" y="4001"/>
                  <a:pt x="5572" y="4087"/>
                </a:cubicBezTo>
                <a:cubicBezTo>
                  <a:pt x="5519" y="4094"/>
                  <a:pt x="5065" y="4099"/>
                  <a:pt x="4437" y="4099"/>
                </a:cubicBezTo>
                <a:lnTo>
                  <a:pt x="3391" y="4100"/>
                </a:lnTo>
                <a:lnTo>
                  <a:pt x="3391" y="4294"/>
                </a:lnTo>
                <a:lnTo>
                  <a:pt x="3391" y="4488"/>
                </a:lnTo>
                <a:lnTo>
                  <a:pt x="3466" y="4558"/>
                </a:lnTo>
                <a:cubicBezTo>
                  <a:pt x="3685" y="4761"/>
                  <a:pt x="3694" y="5104"/>
                  <a:pt x="3485" y="5323"/>
                </a:cubicBezTo>
                <a:cubicBezTo>
                  <a:pt x="3401" y="5411"/>
                  <a:pt x="3319" y="5457"/>
                  <a:pt x="3207" y="5481"/>
                </a:cubicBezTo>
                <a:cubicBezTo>
                  <a:pt x="3104" y="5503"/>
                  <a:pt x="3070" y="5503"/>
                  <a:pt x="2969" y="5481"/>
                </a:cubicBezTo>
                <a:close/>
                <a:moveTo>
                  <a:pt x="1422" y="5288"/>
                </a:moveTo>
                <a:cubicBezTo>
                  <a:pt x="1285" y="5255"/>
                  <a:pt x="1198" y="5143"/>
                  <a:pt x="1198" y="5000"/>
                </a:cubicBezTo>
                <a:cubicBezTo>
                  <a:pt x="1198" y="4878"/>
                  <a:pt x="1253" y="4789"/>
                  <a:pt x="1366" y="4729"/>
                </a:cubicBezTo>
                <a:cubicBezTo>
                  <a:pt x="1406" y="4708"/>
                  <a:pt x="1449" y="4706"/>
                  <a:pt x="1894" y="4702"/>
                </a:cubicBezTo>
                <a:cubicBezTo>
                  <a:pt x="2160" y="4700"/>
                  <a:pt x="2378" y="4701"/>
                  <a:pt x="2378" y="4705"/>
                </a:cubicBezTo>
                <a:cubicBezTo>
                  <a:pt x="2378" y="4708"/>
                  <a:pt x="2370" y="4743"/>
                  <a:pt x="2359" y="4783"/>
                </a:cubicBezTo>
                <a:cubicBezTo>
                  <a:pt x="2323" y="4922"/>
                  <a:pt x="2340" y="5104"/>
                  <a:pt x="2403" y="5246"/>
                </a:cubicBezTo>
                <a:lnTo>
                  <a:pt x="2427" y="5300"/>
                </a:lnTo>
                <a:lnTo>
                  <a:pt x="1943" y="5298"/>
                </a:lnTo>
                <a:cubicBezTo>
                  <a:pt x="1677" y="5298"/>
                  <a:pt x="1442" y="5293"/>
                  <a:pt x="1422" y="5288"/>
                </a:cubicBezTo>
                <a:close/>
                <a:moveTo>
                  <a:pt x="3778" y="5246"/>
                </a:moveTo>
                <a:cubicBezTo>
                  <a:pt x="3841" y="5104"/>
                  <a:pt x="3858" y="4922"/>
                  <a:pt x="3822" y="4783"/>
                </a:cubicBezTo>
                <a:cubicBezTo>
                  <a:pt x="3811" y="4743"/>
                  <a:pt x="3803" y="4708"/>
                  <a:pt x="3803" y="4705"/>
                </a:cubicBezTo>
                <a:cubicBezTo>
                  <a:pt x="3803" y="4701"/>
                  <a:pt x="4021" y="4700"/>
                  <a:pt x="4287" y="4702"/>
                </a:cubicBezTo>
                <a:cubicBezTo>
                  <a:pt x="4732" y="4706"/>
                  <a:pt x="4775" y="4708"/>
                  <a:pt x="4816" y="4729"/>
                </a:cubicBezTo>
                <a:cubicBezTo>
                  <a:pt x="4928" y="4789"/>
                  <a:pt x="4983" y="4878"/>
                  <a:pt x="4983" y="5000"/>
                </a:cubicBezTo>
                <a:cubicBezTo>
                  <a:pt x="4983" y="5122"/>
                  <a:pt x="4928" y="5210"/>
                  <a:pt x="4816" y="5270"/>
                </a:cubicBezTo>
                <a:cubicBezTo>
                  <a:pt x="4775" y="5291"/>
                  <a:pt x="4731" y="5294"/>
                  <a:pt x="4263" y="5297"/>
                </a:cubicBezTo>
                <a:lnTo>
                  <a:pt x="3754" y="5301"/>
                </a:lnTo>
                <a:lnTo>
                  <a:pt x="3778" y="5246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10" name="Freeform 23"/>
          <p:cNvSpPr>
            <a:spLocks noChangeAspect="1"/>
          </p:cNvSpPr>
          <p:nvPr/>
        </p:nvSpPr>
        <p:spPr bwMode="auto">
          <a:xfrm>
            <a:off x="9803014" y="3170861"/>
            <a:ext cx="447478" cy="440592"/>
          </a:xfrm>
          <a:custGeom>
            <a:avLst/>
            <a:gdLst>
              <a:gd name="T0" fmla="*/ 817 w 1309"/>
              <a:gd name="T1" fmla="*/ 1250 h 1285"/>
              <a:gd name="T2" fmla="*/ 772 w 1309"/>
              <a:gd name="T3" fmla="*/ 1051 h 1285"/>
              <a:gd name="T4" fmla="*/ 802 w 1309"/>
              <a:gd name="T5" fmla="*/ 1008 h 1285"/>
              <a:gd name="T6" fmla="*/ 767 w 1309"/>
              <a:gd name="T7" fmla="*/ 940 h 1285"/>
              <a:gd name="T8" fmla="*/ 733 w 1309"/>
              <a:gd name="T9" fmla="*/ 872 h 1285"/>
              <a:gd name="T10" fmla="*/ 660 w 1309"/>
              <a:gd name="T11" fmla="*/ 876 h 1285"/>
              <a:gd name="T12" fmla="*/ 524 w 1309"/>
              <a:gd name="T13" fmla="*/ 848 h 1285"/>
              <a:gd name="T14" fmla="*/ 462 w 1309"/>
              <a:gd name="T15" fmla="*/ 817 h 1285"/>
              <a:gd name="T16" fmla="*/ 373 w 1309"/>
              <a:gd name="T17" fmla="*/ 885 h 1285"/>
              <a:gd name="T18" fmla="*/ 283 w 1309"/>
              <a:gd name="T19" fmla="*/ 954 h 1285"/>
              <a:gd name="T20" fmla="*/ 289 w 1309"/>
              <a:gd name="T21" fmla="*/ 1008 h 1285"/>
              <a:gd name="T22" fmla="*/ 23 w 1309"/>
              <a:gd name="T23" fmla="*/ 1089 h 1285"/>
              <a:gd name="T24" fmla="*/ 26 w 1309"/>
              <a:gd name="T25" fmla="*/ 970 h 1285"/>
              <a:gd name="T26" fmla="*/ 225 w 1309"/>
              <a:gd name="T27" fmla="*/ 909 h 1285"/>
              <a:gd name="T28" fmla="*/ 345 w 1309"/>
              <a:gd name="T29" fmla="*/ 851 h 1285"/>
              <a:gd name="T30" fmla="*/ 440 w 1309"/>
              <a:gd name="T31" fmla="*/ 776 h 1285"/>
              <a:gd name="T32" fmla="*/ 423 w 1309"/>
              <a:gd name="T33" fmla="*/ 734 h 1285"/>
              <a:gd name="T34" fmla="*/ 429 w 1309"/>
              <a:gd name="T35" fmla="*/ 533 h 1285"/>
              <a:gd name="T36" fmla="*/ 453 w 1309"/>
              <a:gd name="T37" fmla="*/ 482 h 1285"/>
              <a:gd name="T38" fmla="*/ 344 w 1309"/>
              <a:gd name="T39" fmla="*/ 374 h 1285"/>
              <a:gd name="T40" fmla="*/ 218 w 1309"/>
              <a:gd name="T41" fmla="*/ 279 h 1285"/>
              <a:gd name="T42" fmla="*/ 71 w 1309"/>
              <a:gd name="T43" fmla="*/ 267 h 1285"/>
              <a:gd name="T44" fmla="*/ 16 w 1309"/>
              <a:gd name="T45" fmla="*/ 190 h 1285"/>
              <a:gd name="T46" fmla="*/ 25 w 1309"/>
              <a:gd name="T47" fmla="*/ 93 h 1285"/>
              <a:gd name="T48" fmla="*/ 94 w 1309"/>
              <a:gd name="T49" fmla="*/ 23 h 1285"/>
              <a:gd name="T50" fmla="*/ 192 w 1309"/>
              <a:gd name="T51" fmla="*/ 14 h 1285"/>
              <a:gd name="T52" fmla="*/ 268 w 1309"/>
              <a:gd name="T53" fmla="*/ 70 h 1285"/>
              <a:gd name="T54" fmla="*/ 280 w 1309"/>
              <a:gd name="T55" fmla="*/ 216 h 1285"/>
              <a:gd name="T56" fmla="*/ 376 w 1309"/>
              <a:gd name="T57" fmla="*/ 343 h 1285"/>
              <a:gd name="T58" fmla="*/ 483 w 1309"/>
              <a:gd name="T59" fmla="*/ 451 h 1285"/>
              <a:gd name="T60" fmla="*/ 535 w 1309"/>
              <a:gd name="T61" fmla="*/ 427 h 1285"/>
              <a:gd name="T62" fmla="*/ 650 w 1309"/>
              <a:gd name="T63" fmla="*/ 404 h 1285"/>
              <a:gd name="T64" fmla="*/ 713 w 1309"/>
              <a:gd name="T65" fmla="*/ 404 h 1285"/>
              <a:gd name="T66" fmla="*/ 740 w 1309"/>
              <a:gd name="T67" fmla="*/ 338 h 1285"/>
              <a:gd name="T68" fmla="*/ 749 w 1309"/>
              <a:gd name="T69" fmla="*/ 263 h 1285"/>
              <a:gd name="T70" fmla="*/ 693 w 1309"/>
              <a:gd name="T71" fmla="*/ 151 h 1285"/>
              <a:gd name="T72" fmla="*/ 837 w 1309"/>
              <a:gd name="T73" fmla="*/ 4 h 1285"/>
              <a:gd name="T74" fmla="*/ 962 w 1309"/>
              <a:gd name="T75" fmla="*/ 80 h 1285"/>
              <a:gd name="T76" fmla="*/ 856 w 1309"/>
              <a:gd name="T77" fmla="*/ 290 h 1285"/>
              <a:gd name="T78" fmla="*/ 778 w 1309"/>
              <a:gd name="T79" fmla="*/ 359 h 1285"/>
              <a:gd name="T80" fmla="*/ 754 w 1309"/>
              <a:gd name="T81" fmla="*/ 421 h 1285"/>
              <a:gd name="T82" fmla="*/ 794 w 1309"/>
              <a:gd name="T83" fmla="*/ 452 h 1285"/>
              <a:gd name="T84" fmla="*/ 880 w 1309"/>
              <a:gd name="T85" fmla="*/ 625 h 1285"/>
              <a:gd name="T86" fmla="*/ 962 w 1309"/>
              <a:gd name="T87" fmla="*/ 684 h 1285"/>
              <a:gd name="T88" fmla="*/ 1014 w 1309"/>
              <a:gd name="T89" fmla="*/ 662 h 1285"/>
              <a:gd name="T90" fmla="*/ 1138 w 1309"/>
              <a:gd name="T91" fmla="*/ 591 h 1285"/>
              <a:gd name="T92" fmla="*/ 1262 w 1309"/>
              <a:gd name="T93" fmla="*/ 679 h 1285"/>
              <a:gd name="T94" fmla="*/ 1134 w 1309"/>
              <a:gd name="T95" fmla="*/ 879 h 1285"/>
              <a:gd name="T96" fmla="*/ 1035 w 1309"/>
              <a:gd name="T97" fmla="*/ 836 h 1285"/>
              <a:gd name="T98" fmla="*/ 993 w 1309"/>
              <a:gd name="T99" fmla="*/ 767 h 1285"/>
              <a:gd name="T100" fmla="*/ 961 w 1309"/>
              <a:gd name="T101" fmla="*/ 728 h 1285"/>
              <a:gd name="T102" fmla="*/ 852 w 1309"/>
              <a:gd name="T103" fmla="*/ 759 h 1285"/>
              <a:gd name="T104" fmla="*/ 801 w 1309"/>
              <a:gd name="T105" fmla="*/ 824 h 1285"/>
              <a:gd name="T106" fmla="*/ 771 w 1309"/>
              <a:gd name="T107" fmla="*/ 847 h 1285"/>
              <a:gd name="T108" fmla="*/ 807 w 1309"/>
              <a:gd name="T109" fmla="*/ 919 h 1285"/>
              <a:gd name="T110" fmla="*/ 894 w 1309"/>
              <a:gd name="T111" fmla="*/ 991 h 1285"/>
              <a:gd name="T112" fmla="*/ 1030 w 1309"/>
              <a:gd name="T113" fmla="*/ 1122 h 1285"/>
              <a:gd name="T114" fmla="*/ 951 w 1309"/>
              <a:gd name="T115" fmla="*/ 1258 h 1285"/>
              <a:gd name="T116" fmla="*/ 817 w 1309"/>
              <a:gd name="T117" fmla="*/ 1250 h 1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09" h="1285">
                <a:moveTo>
                  <a:pt x="817" y="1250"/>
                </a:moveTo>
                <a:cubicBezTo>
                  <a:pt x="739" y="1198"/>
                  <a:pt x="722" y="1124"/>
                  <a:pt x="772" y="1051"/>
                </a:cubicBezTo>
                <a:lnTo>
                  <a:pt x="802" y="1008"/>
                </a:lnTo>
                <a:lnTo>
                  <a:pt x="767" y="940"/>
                </a:lnTo>
                <a:lnTo>
                  <a:pt x="733" y="872"/>
                </a:lnTo>
                <a:lnTo>
                  <a:pt x="660" y="876"/>
                </a:lnTo>
                <a:cubicBezTo>
                  <a:pt x="601" y="879"/>
                  <a:pt x="574" y="874"/>
                  <a:pt x="524" y="848"/>
                </a:cubicBezTo>
                <a:lnTo>
                  <a:pt x="462" y="817"/>
                </a:lnTo>
                <a:lnTo>
                  <a:pt x="373" y="885"/>
                </a:lnTo>
                <a:lnTo>
                  <a:pt x="283" y="954"/>
                </a:lnTo>
                <a:lnTo>
                  <a:pt x="289" y="1008"/>
                </a:lnTo>
                <a:cubicBezTo>
                  <a:pt x="309" y="1180"/>
                  <a:pt x="102" y="1242"/>
                  <a:pt x="23" y="1089"/>
                </a:cubicBezTo>
                <a:cubicBezTo>
                  <a:pt x="0" y="1045"/>
                  <a:pt x="1" y="1023"/>
                  <a:pt x="26" y="970"/>
                </a:cubicBezTo>
                <a:cubicBezTo>
                  <a:pt x="60" y="899"/>
                  <a:pt x="165" y="866"/>
                  <a:pt x="225" y="909"/>
                </a:cubicBezTo>
                <a:cubicBezTo>
                  <a:pt x="248" y="925"/>
                  <a:pt x="258" y="921"/>
                  <a:pt x="345" y="851"/>
                </a:cubicBezTo>
                <a:lnTo>
                  <a:pt x="440" y="776"/>
                </a:lnTo>
                <a:lnTo>
                  <a:pt x="423" y="734"/>
                </a:lnTo>
                <a:cubicBezTo>
                  <a:pt x="399" y="676"/>
                  <a:pt x="401" y="595"/>
                  <a:pt x="429" y="533"/>
                </a:cubicBezTo>
                <a:lnTo>
                  <a:pt x="453" y="482"/>
                </a:lnTo>
                <a:lnTo>
                  <a:pt x="344" y="374"/>
                </a:lnTo>
                <a:cubicBezTo>
                  <a:pt x="261" y="291"/>
                  <a:pt x="232" y="269"/>
                  <a:pt x="218" y="279"/>
                </a:cubicBezTo>
                <a:cubicBezTo>
                  <a:pt x="187" y="298"/>
                  <a:pt x="114" y="292"/>
                  <a:pt x="71" y="267"/>
                </a:cubicBezTo>
                <a:cubicBezTo>
                  <a:pt x="44" y="250"/>
                  <a:pt x="27" y="226"/>
                  <a:pt x="16" y="190"/>
                </a:cubicBezTo>
                <a:cubicBezTo>
                  <a:pt x="2" y="144"/>
                  <a:pt x="3" y="133"/>
                  <a:pt x="25" y="93"/>
                </a:cubicBezTo>
                <a:cubicBezTo>
                  <a:pt x="38" y="68"/>
                  <a:pt x="69" y="36"/>
                  <a:pt x="94" y="23"/>
                </a:cubicBezTo>
                <a:cubicBezTo>
                  <a:pt x="134" y="1"/>
                  <a:pt x="146" y="0"/>
                  <a:pt x="192" y="14"/>
                </a:cubicBezTo>
                <a:cubicBezTo>
                  <a:pt x="228" y="25"/>
                  <a:pt x="252" y="42"/>
                  <a:pt x="268" y="70"/>
                </a:cubicBezTo>
                <a:cubicBezTo>
                  <a:pt x="294" y="112"/>
                  <a:pt x="300" y="185"/>
                  <a:pt x="280" y="216"/>
                </a:cubicBezTo>
                <a:cubicBezTo>
                  <a:pt x="271" y="231"/>
                  <a:pt x="293" y="259"/>
                  <a:pt x="376" y="343"/>
                </a:cubicBezTo>
                <a:lnTo>
                  <a:pt x="483" y="451"/>
                </a:lnTo>
                <a:lnTo>
                  <a:pt x="535" y="427"/>
                </a:lnTo>
                <a:cubicBezTo>
                  <a:pt x="563" y="415"/>
                  <a:pt x="615" y="404"/>
                  <a:pt x="650" y="404"/>
                </a:cubicBezTo>
                <a:lnTo>
                  <a:pt x="713" y="404"/>
                </a:lnTo>
                <a:lnTo>
                  <a:pt x="740" y="338"/>
                </a:lnTo>
                <a:cubicBezTo>
                  <a:pt x="764" y="282"/>
                  <a:pt x="765" y="272"/>
                  <a:pt x="749" y="263"/>
                </a:cubicBezTo>
                <a:cubicBezTo>
                  <a:pt x="724" y="249"/>
                  <a:pt x="693" y="187"/>
                  <a:pt x="693" y="151"/>
                </a:cubicBezTo>
                <a:cubicBezTo>
                  <a:pt x="693" y="88"/>
                  <a:pt x="775" y="4"/>
                  <a:pt x="837" y="4"/>
                </a:cubicBezTo>
                <a:cubicBezTo>
                  <a:pt x="876" y="4"/>
                  <a:pt x="944" y="45"/>
                  <a:pt x="962" y="80"/>
                </a:cubicBezTo>
                <a:cubicBezTo>
                  <a:pt x="1010" y="173"/>
                  <a:pt x="958" y="276"/>
                  <a:pt x="856" y="290"/>
                </a:cubicBezTo>
                <a:cubicBezTo>
                  <a:pt x="805" y="297"/>
                  <a:pt x="801" y="301"/>
                  <a:pt x="778" y="359"/>
                </a:cubicBezTo>
                <a:lnTo>
                  <a:pt x="754" y="421"/>
                </a:lnTo>
                <a:lnTo>
                  <a:pt x="794" y="452"/>
                </a:lnTo>
                <a:cubicBezTo>
                  <a:pt x="840" y="488"/>
                  <a:pt x="880" y="567"/>
                  <a:pt x="880" y="625"/>
                </a:cubicBezTo>
                <a:cubicBezTo>
                  <a:pt x="880" y="666"/>
                  <a:pt x="884" y="669"/>
                  <a:pt x="962" y="684"/>
                </a:cubicBezTo>
                <a:cubicBezTo>
                  <a:pt x="995" y="691"/>
                  <a:pt x="1003" y="687"/>
                  <a:pt x="1014" y="662"/>
                </a:cubicBezTo>
                <a:cubicBezTo>
                  <a:pt x="1028" y="631"/>
                  <a:pt x="1098" y="591"/>
                  <a:pt x="1138" y="591"/>
                </a:cubicBezTo>
                <a:cubicBezTo>
                  <a:pt x="1176" y="591"/>
                  <a:pt x="1240" y="637"/>
                  <a:pt x="1262" y="679"/>
                </a:cubicBezTo>
                <a:cubicBezTo>
                  <a:pt x="1309" y="770"/>
                  <a:pt x="1239" y="879"/>
                  <a:pt x="1134" y="879"/>
                </a:cubicBezTo>
                <a:cubicBezTo>
                  <a:pt x="1087" y="879"/>
                  <a:pt x="1071" y="872"/>
                  <a:pt x="1035" y="836"/>
                </a:cubicBezTo>
                <a:cubicBezTo>
                  <a:pt x="1012" y="813"/>
                  <a:pt x="993" y="782"/>
                  <a:pt x="993" y="767"/>
                </a:cubicBezTo>
                <a:cubicBezTo>
                  <a:pt x="993" y="750"/>
                  <a:pt x="981" y="736"/>
                  <a:pt x="961" y="728"/>
                </a:cubicBezTo>
                <a:cubicBezTo>
                  <a:pt x="901" y="705"/>
                  <a:pt x="874" y="713"/>
                  <a:pt x="852" y="759"/>
                </a:cubicBezTo>
                <a:cubicBezTo>
                  <a:pt x="841" y="782"/>
                  <a:pt x="818" y="812"/>
                  <a:pt x="801" y="824"/>
                </a:cubicBezTo>
                <a:lnTo>
                  <a:pt x="771" y="847"/>
                </a:lnTo>
                <a:lnTo>
                  <a:pt x="807" y="919"/>
                </a:lnTo>
                <a:cubicBezTo>
                  <a:pt x="842" y="989"/>
                  <a:pt x="844" y="991"/>
                  <a:pt x="894" y="991"/>
                </a:cubicBezTo>
                <a:cubicBezTo>
                  <a:pt x="964" y="991"/>
                  <a:pt x="1030" y="1054"/>
                  <a:pt x="1030" y="1122"/>
                </a:cubicBezTo>
                <a:cubicBezTo>
                  <a:pt x="1030" y="1185"/>
                  <a:pt x="1002" y="1234"/>
                  <a:pt x="951" y="1258"/>
                </a:cubicBezTo>
                <a:cubicBezTo>
                  <a:pt x="893" y="1285"/>
                  <a:pt x="867" y="1284"/>
                  <a:pt x="817" y="125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11" name="Freeform 24"/>
          <p:cNvSpPr>
            <a:spLocks noChangeAspect="1" noEditPoints="1"/>
          </p:cNvSpPr>
          <p:nvPr/>
        </p:nvSpPr>
        <p:spPr bwMode="auto">
          <a:xfrm>
            <a:off x="10982819" y="3211490"/>
            <a:ext cx="404532" cy="440592"/>
          </a:xfrm>
          <a:custGeom>
            <a:avLst/>
            <a:gdLst>
              <a:gd name="T0" fmla="*/ 1493 w 5877"/>
              <a:gd name="T1" fmla="*/ 5747 h 6403"/>
              <a:gd name="T2" fmla="*/ 276 w 5877"/>
              <a:gd name="T3" fmla="*/ 991 h 6403"/>
              <a:gd name="T4" fmla="*/ 5722 w 5877"/>
              <a:gd name="T5" fmla="*/ 991 h 6403"/>
              <a:gd name="T6" fmla="*/ 5748 w 5877"/>
              <a:gd name="T7" fmla="*/ 3398 h 6403"/>
              <a:gd name="T8" fmla="*/ 4430 w 5877"/>
              <a:gd name="T9" fmla="*/ 5808 h 6403"/>
              <a:gd name="T10" fmla="*/ 2811 w 5877"/>
              <a:gd name="T11" fmla="*/ 6375 h 6403"/>
              <a:gd name="T12" fmla="*/ 4180 w 5877"/>
              <a:gd name="T13" fmla="*/ 5496 h 6403"/>
              <a:gd name="T14" fmla="*/ 5418 w 5877"/>
              <a:gd name="T15" fmla="*/ 2872 h 6403"/>
              <a:gd name="T16" fmla="*/ 5405 w 5877"/>
              <a:gd name="T17" fmla="*/ 1284 h 6403"/>
              <a:gd name="T18" fmla="*/ 2999 w 5877"/>
              <a:gd name="T19" fmla="*/ 412 h 6403"/>
              <a:gd name="T20" fmla="*/ 593 w 5877"/>
              <a:gd name="T21" fmla="*/ 1285 h 6403"/>
              <a:gd name="T22" fmla="*/ 549 w 5877"/>
              <a:gd name="T23" fmla="*/ 2180 h 6403"/>
              <a:gd name="T24" fmla="*/ 2836 w 5877"/>
              <a:gd name="T25" fmla="*/ 5973 h 6403"/>
              <a:gd name="T26" fmla="*/ 1999 w 5877"/>
              <a:gd name="T27" fmla="*/ 4483 h 6403"/>
              <a:gd name="T28" fmla="*/ 1814 w 5877"/>
              <a:gd name="T29" fmla="*/ 2907 h 6403"/>
              <a:gd name="T30" fmla="*/ 2115 w 5877"/>
              <a:gd name="T31" fmla="*/ 2700 h 6403"/>
              <a:gd name="T32" fmla="*/ 2177 w 5877"/>
              <a:gd name="T33" fmla="*/ 2346 h 6403"/>
              <a:gd name="T34" fmla="*/ 2660 w 5877"/>
              <a:gd name="T35" fmla="*/ 1512 h 6403"/>
              <a:gd name="T36" fmla="*/ 3790 w 5877"/>
              <a:gd name="T37" fmla="*/ 1915 h 6403"/>
              <a:gd name="T38" fmla="*/ 3826 w 5877"/>
              <a:gd name="T39" fmla="*/ 2700 h 6403"/>
              <a:gd name="T40" fmla="*/ 4106 w 5877"/>
              <a:gd name="T41" fmla="*/ 2793 h 6403"/>
              <a:gd name="T42" fmla="*/ 4196 w 5877"/>
              <a:gd name="T43" fmla="*/ 3625 h 6403"/>
              <a:gd name="T44" fmla="*/ 3988 w 5877"/>
              <a:gd name="T45" fmla="*/ 4485 h 6403"/>
              <a:gd name="T46" fmla="*/ 3104 w 5877"/>
              <a:gd name="T47" fmla="*/ 4080 h 6403"/>
              <a:gd name="T48" fmla="*/ 3124 w 5877"/>
              <a:gd name="T49" fmla="*/ 3567 h 6403"/>
              <a:gd name="T50" fmla="*/ 3204 w 5877"/>
              <a:gd name="T51" fmla="*/ 3209 h 6403"/>
              <a:gd name="T52" fmla="*/ 2838 w 5877"/>
              <a:gd name="T53" fmla="*/ 3540 h 6403"/>
              <a:gd name="T54" fmla="*/ 2874 w 5877"/>
              <a:gd name="T55" fmla="*/ 3814 h 6403"/>
              <a:gd name="T56" fmla="*/ 3104 w 5877"/>
              <a:gd name="T57" fmla="*/ 4080 h 6403"/>
              <a:gd name="T58" fmla="*/ 3393 w 5877"/>
              <a:gd name="T59" fmla="*/ 2001 h 6403"/>
              <a:gd name="T60" fmla="*/ 2999 w 5877"/>
              <a:gd name="T61" fmla="*/ 1906 h 6403"/>
              <a:gd name="T62" fmla="*/ 2574 w 5877"/>
              <a:gd name="T63" fmla="*/ 2383 h 6403"/>
              <a:gd name="T64" fmla="*/ 3000 w 5877"/>
              <a:gd name="T65" fmla="*/ 2700 h 6403"/>
              <a:gd name="T66" fmla="*/ 3421 w 5877"/>
              <a:gd name="T67" fmla="*/ 2371 h 6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877" h="6403">
                <a:moveTo>
                  <a:pt x="2811" y="6375"/>
                </a:moveTo>
                <a:cubicBezTo>
                  <a:pt x="2358" y="6292"/>
                  <a:pt x="1858" y="6054"/>
                  <a:pt x="1493" y="5747"/>
                </a:cubicBezTo>
                <a:cubicBezTo>
                  <a:pt x="444" y="4865"/>
                  <a:pt x="0" y="3338"/>
                  <a:pt x="193" y="1283"/>
                </a:cubicBezTo>
                <a:cubicBezTo>
                  <a:pt x="212" y="1082"/>
                  <a:pt x="224" y="1039"/>
                  <a:pt x="276" y="991"/>
                </a:cubicBezTo>
                <a:cubicBezTo>
                  <a:pt x="310" y="959"/>
                  <a:pt x="2946" y="0"/>
                  <a:pt x="2998" y="0"/>
                </a:cubicBezTo>
                <a:cubicBezTo>
                  <a:pt x="3051" y="0"/>
                  <a:pt x="5688" y="959"/>
                  <a:pt x="5722" y="991"/>
                </a:cubicBezTo>
                <a:cubicBezTo>
                  <a:pt x="5774" y="1040"/>
                  <a:pt x="5786" y="1082"/>
                  <a:pt x="5805" y="1290"/>
                </a:cubicBezTo>
                <a:cubicBezTo>
                  <a:pt x="5877" y="2088"/>
                  <a:pt x="5859" y="2756"/>
                  <a:pt x="5748" y="3398"/>
                </a:cubicBezTo>
                <a:cubicBezTo>
                  <a:pt x="5623" y="4120"/>
                  <a:pt x="5379" y="4720"/>
                  <a:pt x="5006" y="5218"/>
                </a:cubicBezTo>
                <a:cubicBezTo>
                  <a:pt x="4878" y="5390"/>
                  <a:pt x="4580" y="5695"/>
                  <a:pt x="4430" y="5808"/>
                </a:cubicBezTo>
                <a:cubicBezTo>
                  <a:pt x="4066" y="6082"/>
                  <a:pt x="3640" y="6282"/>
                  <a:pt x="3251" y="6362"/>
                </a:cubicBezTo>
                <a:cubicBezTo>
                  <a:pt x="3063" y="6400"/>
                  <a:pt x="2963" y="6403"/>
                  <a:pt x="2811" y="6375"/>
                </a:cubicBezTo>
                <a:close/>
                <a:moveTo>
                  <a:pt x="3121" y="5981"/>
                </a:moveTo>
                <a:cubicBezTo>
                  <a:pt x="3478" y="5913"/>
                  <a:pt x="3856" y="5740"/>
                  <a:pt x="4180" y="5496"/>
                </a:cubicBezTo>
                <a:cubicBezTo>
                  <a:pt x="4321" y="5389"/>
                  <a:pt x="4576" y="5130"/>
                  <a:pt x="4691" y="4975"/>
                </a:cubicBezTo>
                <a:cubicBezTo>
                  <a:pt x="5096" y="4432"/>
                  <a:pt x="5330" y="3753"/>
                  <a:pt x="5418" y="2872"/>
                </a:cubicBezTo>
                <a:cubicBezTo>
                  <a:pt x="5457" y="2483"/>
                  <a:pt x="5454" y="1811"/>
                  <a:pt x="5413" y="1370"/>
                </a:cubicBezTo>
                <a:lnTo>
                  <a:pt x="5405" y="1284"/>
                </a:lnTo>
                <a:lnTo>
                  <a:pt x="4202" y="848"/>
                </a:lnTo>
                <a:lnTo>
                  <a:pt x="2999" y="412"/>
                </a:lnTo>
                <a:lnTo>
                  <a:pt x="1796" y="848"/>
                </a:lnTo>
                <a:lnTo>
                  <a:pt x="593" y="1285"/>
                </a:lnTo>
                <a:lnTo>
                  <a:pt x="584" y="1376"/>
                </a:lnTo>
                <a:cubicBezTo>
                  <a:pt x="564" y="1593"/>
                  <a:pt x="549" y="1947"/>
                  <a:pt x="549" y="2180"/>
                </a:cubicBezTo>
                <a:cubicBezTo>
                  <a:pt x="549" y="3672"/>
                  <a:pt x="954" y="4776"/>
                  <a:pt x="1743" y="5435"/>
                </a:cubicBezTo>
                <a:cubicBezTo>
                  <a:pt x="2054" y="5695"/>
                  <a:pt x="2458" y="5894"/>
                  <a:pt x="2836" y="5973"/>
                </a:cubicBezTo>
                <a:cubicBezTo>
                  <a:pt x="2983" y="6004"/>
                  <a:pt x="2997" y="6004"/>
                  <a:pt x="3121" y="5981"/>
                </a:cubicBezTo>
                <a:close/>
                <a:moveTo>
                  <a:pt x="1999" y="4483"/>
                </a:moveTo>
                <a:cubicBezTo>
                  <a:pt x="1937" y="4464"/>
                  <a:pt x="1833" y="4356"/>
                  <a:pt x="1814" y="4292"/>
                </a:cubicBezTo>
                <a:cubicBezTo>
                  <a:pt x="1792" y="4219"/>
                  <a:pt x="1792" y="2980"/>
                  <a:pt x="1814" y="2907"/>
                </a:cubicBezTo>
                <a:cubicBezTo>
                  <a:pt x="1834" y="2839"/>
                  <a:pt x="1938" y="2735"/>
                  <a:pt x="2007" y="2715"/>
                </a:cubicBezTo>
                <a:cubicBezTo>
                  <a:pt x="2035" y="2706"/>
                  <a:pt x="2083" y="2700"/>
                  <a:pt x="2115" y="2700"/>
                </a:cubicBezTo>
                <a:lnTo>
                  <a:pt x="2171" y="2700"/>
                </a:lnTo>
                <a:lnTo>
                  <a:pt x="2177" y="2346"/>
                </a:lnTo>
                <a:cubicBezTo>
                  <a:pt x="2182" y="2033"/>
                  <a:pt x="2185" y="1985"/>
                  <a:pt x="2208" y="1915"/>
                </a:cubicBezTo>
                <a:cubicBezTo>
                  <a:pt x="2276" y="1710"/>
                  <a:pt x="2453" y="1552"/>
                  <a:pt x="2660" y="1512"/>
                </a:cubicBezTo>
                <a:cubicBezTo>
                  <a:pt x="2769" y="1492"/>
                  <a:pt x="3280" y="1496"/>
                  <a:pt x="3365" y="1518"/>
                </a:cubicBezTo>
                <a:cubicBezTo>
                  <a:pt x="3568" y="1571"/>
                  <a:pt x="3725" y="1718"/>
                  <a:pt x="3790" y="1915"/>
                </a:cubicBezTo>
                <a:cubicBezTo>
                  <a:pt x="3813" y="1985"/>
                  <a:pt x="3816" y="2033"/>
                  <a:pt x="3821" y="2346"/>
                </a:cubicBezTo>
                <a:lnTo>
                  <a:pt x="3826" y="2700"/>
                </a:lnTo>
                <a:lnTo>
                  <a:pt x="3883" y="2700"/>
                </a:lnTo>
                <a:cubicBezTo>
                  <a:pt x="3977" y="2700"/>
                  <a:pt x="4037" y="2725"/>
                  <a:pt x="4106" y="2793"/>
                </a:cubicBezTo>
                <a:cubicBezTo>
                  <a:pt x="4150" y="2837"/>
                  <a:pt x="4174" y="2873"/>
                  <a:pt x="4184" y="2912"/>
                </a:cubicBezTo>
                <a:cubicBezTo>
                  <a:pt x="4196" y="2954"/>
                  <a:pt x="4199" y="3131"/>
                  <a:pt x="4196" y="3625"/>
                </a:cubicBezTo>
                <a:cubicBezTo>
                  <a:pt x="4193" y="4275"/>
                  <a:pt x="4192" y="4281"/>
                  <a:pt x="4165" y="4333"/>
                </a:cubicBezTo>
                <a:cubicBezTo>
                  <a:pt x="4130" y="4398"/>
                  <a:pt x="4051" y="4466"/>
                  <a:pt x="3988" y="4485"/>
                </a:cubicBezTo>
                <a:cubicBezTo>
                  <a:pt x="3922" y="4505"/>
                  <a:pt x="2062" y="4503"/>
                  <a:pt x="1999" y="4483"/>
                </a:cubicBezTo>
                <a:close/>
                <a:moveTo>
                  <a:pt x="3104" y="4080"/>
                </a:moveTo>
                <a:cubicBezTo>
                  <a:pt x="3121" y="4063"/>
                  <a:pt x="3124" y="4021"/>
                  <a:pt x="3124" y="3814"/>
                </a:cubicBezTo>
                <a:lnTo>
                  <a:pt x="3124" y="3567"/>
                </a:lnTo>
                <a:lnTo>
                  <a:pt x="3160" y="3540"/>
                </a:lnTo>
                <a:cubicBezTo>
                  <a:pt x="3254" y="3470"/>
                  <a:pt x="3276" y="3311"/>
                  <a:pt x="3204" y="3209"/>
                </a:cubicBezTo>
                <a:cubicBezTo>
                  <a:pt x="3102" y="3065"/>
                  <a:pt x="2895" y="3065"/>
                  <a:pt x="2794" y="3209"/>
                </a:cubicBezTo>
                <a:cubicBezTo>
                  <a:pt x="2722" y="3311"/>
                  <a:pt x="2743" y="3470"/>
                  <a:pt x="2838" y="3540"/>
                </a:cubicBezTo>
                <a:lnTo>
                  <a:pt x="2874" y="3567"/>
                </a:lnTo>
                <a:lnTo>
                  <a:pt x="2874" y="3814"/>
                </a:lnTo>
                <a:cubicBezTo>
                  <a:pt x="2874" y="4107"/>
                  <a:pt x="2871" y="4100"/>
                  <a:pt x="2999" y="4100"/>
                </a:cubicBezTo>
                <a:cubicBezTo>
                  <a:pt x="3060" y="4100"/>
                  <a:pt x="3090" y="4094"/>
                  <a:pt x="3104" y="4080"/>
                </a:cubicBezTo>
                <a:close/>
                <a:moveTo>
                  <a:pt x="3421" y="2371"/>
                </a:moveTo>
                <a:cubicBezTo>
                  <a:pt x="3418" y="2070"/>
                  <a:pt x="3416" y="2040"/>
                  <a:pt x="3393" y="2001"/>
                </a:cubicBezTo>
                <a:cubicBezTo>
                  <a:pt x="3379" y="1978"/>
                  <a:pt x="3352" y="1947"/>
                  <a:pt x="3332" y="1932"/>
                </a:cubicBezTo>
                <a:cubicBezTo>
                  <a:pt x="3299" y="1907"/>
                  <a:pt x="3282" y="1906"/>
                  <a:pt x="2999" y="1906"/>
                </a:cubicBezTo>
                <a:cubicBezTo>
                  <a:pt x="2659" y="1906"/>
                  <a:pt x="2656" y="1907"/>
                  <a:pt x="2602" y="2012"/>
                </a:cubicBezTo>
                <a:cubicBezTo>
                  <a:pt x="2575" y="2065"/>
                  <a:pt x="2574" y="2080"/>
                  <a:pt x="2574" y="2383"/>
                </a:cubicBezTo>
                <a:lnTo>
                  <a:pt x="2574" y="2700"/>
                </a:lnTo>
                <a:lnTo>
                  <a:pt x="3000" y="2700"/>
                </a:lnTo>
                <a:lnTo>
                  <a:pt x="3425" y="2700"/>
                </a:lnTo>
                <a:lnTo>
                  <a:pt x="3421" y="2371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6099976" y="3172242"/>
            <a:ext cx="563764" cy="460808"/>
            <a:chOff x="4524181" y="2362907"/>
            <a:chExt cx="522446" cy="427036"/>
          </a:xfrm>
          <a:solidFill>
            <a:schemeClr val="bg1"/>
          </a:solidFill>
        </p:grpSpPr>
        <p:sp>
          <p:nvSpPr>
            <p:cNvPr id="312" name="Freeform 14"/>
            <p:cNvSpPr>
              <a:spLocks/>
            </p:cNvSpPr>
            <p:nvPr/>
          </p:nvSpPr>
          <p:spPr bwMode="gray">
            <a:xfrm>
              <a:off x="4524181" y="2362907"/>
              <a:ext cx="392538" cy="323189"/>
            </a:xfrm>
            <a:custGeom>
              <a:avLst/>
              <a:gdLst>
                <a:gd name="T0" fmla="*/ 119 w 174"/>
                <a:gd name="T1" fmla="*/ 137 h 151"/>
                <a:gd name="T2" fmla="*/ 123 w 174"/>
                <a:gd name="T3" fmla="*/ 131 h 151"/>
                <a:gd name="T4" fmla="*/ 20 w 174"/>
                <a:gd name="T5" fmla="*/ 131 h 151"/>
                <a:gd name="T6" fmla="*/ 20 w 174"/>
                <a:gd name="T7" fmla="*/ 20 h 151"/>
                <a:gd name="T8" fmla="*/ 154 w 174"/>
                <a:gd name="T9" fmla="*/ 20 h 151"/>
                <a:gd name="T10" fmla="*/ 154 w 174"/>
                <a:gd name="T11" fmla="*/ 71 h 151"/>
                <a:gd name="T12" fmla="*/ 165 w 174"/>
                <a:gd name="T13" fmla="*/ 68 h 151"/>
                <a:gd name="T14" fmla="*/ 174 w 174"/>
                <a:gd name="T15" fmla="*/ 70 h 151"/>
                <a:gd name="T16" fmla="*/ 174 w 174"/>
                <a:gd name="T17" fmla="*/ 0 h 151"/>
                <a:gd name="T18" fmla="*/ 0 w 174"/>
                <a:gd name="T19" fmla="*/ 0 h 151"/>
                <a:gd name="T20" fmla="*/ 0 w 174"/>
                <a:gd name="T21" fmla="*/ 151 h 151"/>
                <a:gd name="T22" fmla="*/ 120 w 174"/>
                <a:gd name="T23" fmla="*/ 151 h 151"/>
                <a:gd name="T24" fmla="*/ 119 w 174"/>
                <a:gd name="T25" fmla="*/ 13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151">
                  <a:moveTo>
                    <a:pt x="119" y="137"/>
                  </a:moveTo>
                  <a:cubicBezTo>
                    <a:pt x="120" y="135"/>
                    <a:pt x="121" y="133"/>
                    <a:pt x="123" y="131"/>
                  </a:cubicBezTo>
                  <a:cubicBezTo>
                    <a:pt x="20" y="131"/>
                    <a:pt x="20" y="131"/>
                    <a:pt x="20" y="13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54" y="20"/>
                    <a:pt x="154" y="20"/>
                    <a:pt x="154" y="20"/>
                  </a:cubicBezTo>
                  <a:cubicBezTo>
                    <a:pt x="154" y="71"/>
                    <a:pt x="154" y="71"/>
                    <a:pt x="154" y="71"/>
                  </a:cubicBezTo>
                  <a:cubicBezTo>
                    <a:pt x="157" y="69"/>
                    <a:pt x="161" y="68"/>
                    <a:pt x="165" y="68"/>
                  </a:cubicBezTo>
                  <a:cubicBezTo>
                    <a:pt x="168" y="68"/>
                    <a:pt x="171" y="69"/>
                    <a:pt x="174" y="7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20" y="151"/>
                    <a:pt x="120" y="151"/>
                    <a:pt x="120" y="151"/>
                  </a:cubicBezTo>
                  <a:cubicBezTo>
                    <a:pt x="119" y="146"/>
                    <a:pt x="118" y="142"/>
                    <a:pt x="119" y="1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2" tIns="45705" rIns="91412" bIns="45705" numCol="1" anchor="t" anchorCtr="0" compatLnSpc="1">
              <a:prstTxWarp prst="textNoShape">
                <a:avLst/>
              </a:prstTxWarp>
            </a:bodyPr>
            <a:lstStyle/>
            <a:p>
              <a:pPr defTabSz="1218834">
                <a:defRPr/>
              </a:pPr>
              <a:endParaRPr lang="en-US" sz="1866">
                <a:solidFill>
                  <a:srgbClr val="000000"/>
                </a:solidFill>
                <a:latin typeface="Corbel"/>
              </a:endParaRPr>
            </a:p>
          </p:txBody>
        </p:sp>
        <p:sp>
          <p:nvSpPr>
            <p:cNvPr id="313" name="Freeform 15"/>
            <p:cNvSpPr>
              <a:spLocks/>
            </p:cNvSpPr>
            <p:nvPr/>
          </p:nvSpPr>
          <p:spPr bwMode="gray">
            <a:xfrm>
              <a:off x="4585368" y="2439899"/>
              <a:ext cx="270165" cy="166519"/>
            </a:xfrm>
            <a:custGeom>
              <a:avLst/>
              <a:gdLst>
                <a:gd name="T0" fmla="*/ 98 w 120"/>
                <a:gd name="T1" fmla="*/ 78 h 78"/>
                <a:gd name="T2" fmla="*/ 98 w 120"/>
                <a:gd name="T3" fmla="*/ 78 h 78"/>
                <a:gd name="T4" fmla="*/ 94 w 120"/>
                <a:gd name="T5" fmla="*/ 76 h 78"/>
                <a:gd name="T6" fmla="*/ 74 w 120"/>
                <a:gd name="T7" fmla="*/ 17 h 78"/>
                <a:gd name="T8" fmla="*/ 61 w 120"/>
                <a:gd name="T9" fmla="*/ 56 h 78"/>
                <a:gd name="T10" fmla="*/ 57 w 120"/>
                <a:gd name="T11" fmla="*/ 59 h 78"/>
                <a:gd name="T12" fmla="*/ 53 w 120"/>
                <a:gd name="T13" fmla="*/ 57 h 78"/>
                <a:gd name="T14" fmla="*/ 48 w 120"/>
                <a:gd name="T15" fmla="*/ 44 h 78"/>
                <a:gd name="T16" fmla="*/ 39 w 120"/>
                <a:gd name="T17" fmla="*/ 70 h 78"/>
                <a:gd name="T18" fmla="*/ 36 w 120"/>
                <a:gd name="T19" fmla="*/ 72 h 78"/>
                <a:gd name="T20" fmla="*/ 32 w 120"/>
                <a:gd name="T21" fmla="*/ 70 h 78"/>
                <a:gd name="T22" fmla="*/ 18 w 120"/>
                <a:gd name="T23" fmla="*/ 31 h 78"/>
                <a:gd name="T24" fmla="*/ 12 w 120"/>
                <a:gd name="T25" fmla="*/ 46 h 78"/>
                <a:gd name="T26" fmla="*/ 8 w 120"/>
                <a:gd name="T27" fmla="*/ 49 h 78"/>
                <a:gd name="T28" fmla="*/ 0 w 120"/>
                <a:gd name="T29" fmla="*/ 49 h 78"/>
                <a:gd name="T30" fmla="*/ 0 w 120"/>
                <a:gd name="T31" fmla="*/ 41 h 78"/>
                <a:gd name="T32" fmla="*/ 6 w 120"/>
                <a:gd name="T33" fmla="*/ 41 h 78"/>
                <a:gd name="T34" fmla="*/ 14 w 120"/>
                <a:gd name="T35" fmla="*/ 18 h 78"/>
                <a:gd name="T36" fmla="*/ 18 w 120"/>
                <a:gd name="T37" fmla="*/ 16 h 78"/>
                <a:gd name="T38" fmla="*/ 18 w 120"/>
                <a:gd name="T39" fmla="*/ 16 h 78"/>
                <a:gd name="T40" fmla="*/ 21 w 120"/>
                <a:gd name="T41" fmla="*/ 18 h 78"/>
                <a:gd name="T42" fmla="*/ 35 w 120"/>
                <a:gd name="T43" fmla="*/ 56 h 78"/>
                <a:gd name="T44" fmla="*/ 43 w 120"/>
                <a:gd name="T45" fmla="*/ 31 h 78"/>
                <a:gd name="T46" fmla="*/ 47 w 120"/>
                <a:gd name="T47" fmla="*/ 28 h 78"/>
                <a:gd name="T48" fmla="*/ 51 w 120"/>
                <a:gd name="T49" fmla="*/ 31 h 78"/>
                <a:gd name="T50" fmla="*/ 56 w 120"/>
                <a:gd name="T51" fmla="*/ 44 h 78"/>
                <a:gd name="T52" fmla="*/ 70 w 120"/>
                <a:gd name="T53" fmla="*/ 3 h 78"/>
                <a:gd name="T54" fmla="*/ 74 w 120"/>
                <a:gd name="T55" fmla="*/ 1 h 78"/>
                <a:gd name="T56" fmla="*/ 78 w 120"/>
                <a:gd name="T57" fmla="*/ 3 h 78"/>
                <a:gd name="T58" fmla="*/ 98 w 120"/>
                <a:gd name="T59" fmla="*/ 64 h 78"/>
                <a:gd name="T60" fmla="*/ 108 w 120"/>
                <a:gd name="T61" fmla="*/ 43 h 78"/>
                <a:gd name="T62" fmla="*/ 112 w 120"/>
                <a:gd name="T63" fmla="*/ 41 h 78"/>
                <a:gd name="T64" fmla="*/ 120 w 120"/>
                <a:gd name="T65" fmla="*/ 41 h 78"/>
                <a:gd name="T66" fmla="*/ 120 w 120"/>
                <a:gd name="T67" fmla="*/ 49 h 78"/>
                <a:gd name="T68" fmla="*/ 114 w 120"/>
                <a:gd name="T69" fmla="*/ 49 h 78"/>
                <a:gd name="T70" fmla="*/ 102 w 120"/>
                <a:gd name="T71" fmla="*/ 76 h 78"/>
                <a:gd name="T72" fmla="*/ 98 w 120"/>
                <a:gd name="T73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" h="78">
                  <a:moveTo>
                    <a:pt x="98" y="78"/>
                  </a:moveTo>
                  <a:cubicBezTo>
                    <a:pt x="98" y="78"/>
                    <a:pt x="98" y="78"/>
                    <a:pt x="98" y="78"/>
                  </a:cubicBezTo>
                  <a:cubicBezTo>
                    <a:pt x="96" y="78"/>
                    <a:pt x="95" y="77"/>
                    <a:pt x="94" y="7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60" y="58"/>
                    <a:pt x="59" y="59"/>
                    <a:pt x="57" y="59"/>
                  </a:cubicBezTo>
                  <a:cubicBezTo>
                    <a:pt x="55" y="59"/>
                    <a:pt x="54" y="58"/>
                    <a:pt x="53" y="57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9" y="71"/>
                    <a:pt x="37" y="72"/>
                    <a:pt x="36" y="72"/>
                  </a:cubicBezTo>
                  <a:cubicBezTo>
                    <a:pt x="34" y="72"/>
                    <a:pt x="32" y="71"/>
                    <a:pt x="32" y="7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2" y="47"/>
                    <a:pt x="10" y="49"/>
                    <a:pt x="8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7"/>
                    <a:pt x="16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9" y="16"/>
                    <a:pt x="21" y="17"/>
                    <a:pt x="21" y="18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4" y="29"/>
                    <a:pt x="45" y="28"/>
                    <a:pt x="47" y="28"/>
                  </a:cubicBezTo>
                  <a:cubicBezTo>
                    <a:pt x="49" y="28"/>
                    <a:pt x="50" y="29"/>
                    <a:pt x="51" y="3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1" y="2"/>
                    <a:pt x="72" y="1"/>
                    <a:pt x="74" y="1"/>
                  </a:cubicBezTo>
                  <a:cubicBezTo>
                    <a:pt x="76" y="0"/>
                    <a:pt x="77" y="2"/>
                    <a:pt x="78" y="3"/>
                  </a:cubicBezTo>
                  <a:cubicBezTo>
                    <a:pt x="98" y="64"/>
                    <a:pt x="98" y="64"/>
                    <a:pt x="98" y="64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9" y="41"/>
                    <a:pt x="110" y="41"/>
                    <a:pt x="112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9"/>
                    <a:pt x="120" y="49"/>
                    <a:pt x="120" y="49"/>
                  </a:cubicBezTo>
                  <a:cubicBezTo>
                    <a:pt x="114" y="49"/>
                    <a:pt x="114" y="49"/>
                    <a:pt x="114" y="49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101" y="77"/>
                    <a:pt x="99" y="78"/>
                    <a:pt x="98" y="7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2" tIns="45705" rIns="91412" bIns="45705" numCol="1" anchor="t" anchorCtr="0" compatLnSpc="1">
              <a:prstTxWarp prst="textNoShape">
                <a:avLst/>
              </a:prstTxWarp>
            </a:bodyPr>
            <a:lstStyle/>
            <a:p>
              <a:pPr defTabSz="1218834">
                <a:defRPr/>
              </a:pPr>
              <a:endParaRPr lang="en-US" sz="1866">
                <a:solidFill>
                  <a:srgbClr val="000000"/>
                </a:solidFill>
                <a:latin typeface="Corbel"/>
              </a:endParaRPr>
            </a:p>
          </p:txBody>
        </p:sp>
        <p:sp>
          <p:nvSpPr>
            <p:cNvPr id="314" name="Freeform 16"/>
            <p:cNvSpPr>
              <a:spLocks/>
            </p:cNvSpPr>
            <p:nvPr/>
          </p:nvSpPr>
          <p:spPr bwMode="gray">
            <a:xfrm>
              <a:off x="4815057" y="2533898"/>
              <a:ext cx="231570" cy="256045"/>
            </a:xfrm>
            <a:custGeom>
              <a:avLst/>
              <a:gdLst>
                <a:gd name="T0" fmla="*/ 95 w 103"/>
                <a:gd name="T1" fmla="*/ 62 h 120"/>
                <a:gd name="T2" fmla="*/ 89 w 103"/>
                <a:gd name="T3" fmla="*/ 60 h 120"/>
                <a:gd name="T4" fmla="*/ 82 w 103"/>
                <a:gd name="T5" fmla="*/ 63 h 120"/>
                <a:gd name="T6" fmla="*/ 82 w 103"/>
                <a:gd name="T7" fmla="*/ 62 h 120"/>
                <a:gd name="T8" fmla="*/ 72 w 103"/>
                <a:gd name="T9" fmla="*/ 52 h 120"/>
                <a:gd name="T10" fmla="*/ 65 w 103"/>
                <a:gd name="T11" fmla="*/ 55 h 120"/>
                <a:gd name="T12" fmla="*/ 65 w 103"/>
                <a:gd name="T13" fmla="*/ 53 h 120"/>
                <a:gd name="T14" fmla="*/ 55 w 103"/>
                <a:gd name="T15" fmla="*/ 43 h 120"/>
                <a:gd name="T16" fmla="*/ 45 w 103"/>
                <a:gd name="T17" fmla="*/ 53 h 120"/>
                <a:gd name="T18" fmla="*/ 45 w 103"/>
                <a:gd name="T19" fmla="*/ 9 h 120"/>
                <a:gd name="T20" fmla="*/ 36 w 103"/>
                <a:gd name="T21" fmla="*/ 0 h 120"/>
                <a:gd name="T22" fmla="*/ 27 w 103"/>
                <a:gd name="T23" fmla="*/ 9 h 120"/>
                <a:gd name="T24" fmla="*/ 27 w 103"/>
                <a:gd name="T25" fmla="*/ 72 h 120"/>
                <a:gd name="T26" fmla="*/ 19 w 103"/>
                <a:gd name="T27" fmla="*/ 58 h 120"/>
                <a:gd name="T28" fmla="*/ 6 w 103"/>
                <a:gd name="T29" fmla="*/ 55 h 120"/>
                <a:gd name="T30" fmla="*/ 3 w 103"/>
                <a:gd name="T31" fmla="*/ 67 h 120"/>
                <a:gd name="T32" fmla="*/ 31 w 103"/>
                <a:gd name="T33" fmla="*/ 116 h 120"/>
                <a:gd name="T34" fmla="*/ 39 w 103"/>
                <a:gd name="T35" fmla="*/ 120 h 120"/>
                <a:gd name="T36" fmla="*/ 80 w 103"/>
                <a:gd name="T37" fmla="*/ 120 h 120"/>
                <a:gd name="T38" fmla="*/ 89 w 103"/>
                <a:gd name="T39" fmla="*/ 114 h 120"/>
                <a:gd name="T40" fmla="*/ 98 w 103"/>
                <a:gd name="T41" fmla="*/ 89 h 120"/>
                <a:gd name="T42" fmla="*/ 95 w 103"/>
                <a:gd name="T43" fmla="*/ 6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" h="120">
                  <a:moveTo>
                    <a:pt x="95" y="62"/>
                  </a:moveTo>
                  <a:cubicBezTo>
                    <a:pt x="93" y="61"/>
                    <a:pt x="91" y="60"/>
                    <a:pt x="89" y="60"/>
                  </a:cubicBezTo>
                  <a:cubicBezTo>
                    <a:pt x="86" y="60"/>
                    <a:pt x="84" y="61"/>
                    <a:pt x="82" y="63"/>
                  </a:cubicBezTo>
                  <a:cubicBezTo>
                    <a:pt x="82" y="63"/>
                    <a:pt x="82" y="62"/>
                    <a:pt x="82" y="62"/>
                  </a:cubicBezTo>
                  <a:cubicBezTo>
                    <a:pt x="82" y="56"/>
                    <a:pt x="77" y="52"/>
                    <a:pt x="72" y="52"/>
                  </a:cubicBezTo>
                  <a:cubicBezTo>
                    <a:pt x="69" y="52"/>
                    <a:pt x="67" y="53"/>
                    <a:pt x="65" y="55"/>
                  </a:cubicBezTo>
                  <a:cubicBezTo>
                    <a:pt x="65" y="54"/>
                    <a:pt x="65" y="54"/>
                    <a:pt x="65" y="53"/>
                  </a:cubicBezTo>
                  <a:cubicBezTo>
                    <a:pt x="65" y="48"/>
                    <a:pt x="60" y="43"/>
                    <a:pt x="55" y="43"/>
                  </a:cubicBezTo>
                  <a:cubicBezTo>
                    <a:pt x="49" y="43"/>
                    <a:pt x="45" y="48"/>
                    <a:pt x="45" y="53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4"/>
                    <a:pt x="41" y="0"/>
                    <a:pt x="36" y="0"/>
                  </a:cubicBezTo>
                  <a:cubicBezTo>
                    <a:pt x="31" y="0"/>
                    <a:pt x="27" y="4"/>
                    <a:pt x="27" y="9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6" y="54"/>
                    <a:pt x="11" y="52"/>
                    <a:pt x="6" y="55"/>
                  </a:cubicBezTo>
                  <a:cubicBezTo>
                    <a:pt x="2" y="57"/>
                    <a:pt x="0" y="63"/>
                    <a:pt x="3" y="67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3" y="119"/>
                    <a:pt x="36" y="120"/>
                    <a:pt x="39" y="120"/>
                  </a:cubicBezTo>
                  <a:cubicBezTo>
                    <a:pt x="80" y="120"/>
                    <a:pt x="80" y="120"/>
                    <a:pt x="80" y="120"/>
                  </a:cubicBezTo>
                  <a:cubicBezTo>
                    <a:pt x="84" y="120"/>
                    <a:pt x="88" y="118"/>
                    <a:pt x="89" y="114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103" y="75"/>
                    <a:pt x="101" y="68"/>
                    <a:pt x="95" y="6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12" tIns="45705" rIns="91412" bIns="45705" numCol="1" anchor="t" anchorCtr="0" compatLnSpc="1">
              <a:prstTxWarp prst="textNoShape">
                <a:avLst/>
              </a:prstTxWarp>
            </a:bodyPr>
            <a:lstStyle/>
            <a:p>
              <a:pPr defTabSz="1218834">
                <a:defRPr/>
              </a:pPr>
              <a:endParaRPr lang="en-US" sz="1866">
                <a:solidFill>
                  <a:srgbClr val="000000"/>
                </a:solidFill>
                <a:latin typeface="Corbel"/>
              </a:endParaRPr>
            </a:p>
          </p:txBody>
        </p:sp>
      </p:grpSp>
      <p:sp>
        <p:nvSpPr>
          <p:cNvPr id="315" name="Freeform 20"/>
          <p:cNvSpPr>
            <a:spLocks noEditPoints="1"/>
          </p:cNvSpPr>
          <p:nvPr/>
        </p:nvSpPr>
        <p:spPr bwMode="auto">
          <a:xfrm>
            <a:off x="9735285" y="4326996"/>
            <a:ext cx="463810" cy="413259"/>
          </a:xfrm>
          <a:custGeom>
            <a:avLst/>
            <a:gdLst>
              <a:gd name="T0" fmla="*/ 4 w 2468"/>
              <a:gd name="T1" fmla="*/ 1834 h 2191"/>
              <a:gd name="T2" fmla="*/ 250 w 2468"/>
              <a:gd name="T3" fmla="*/ 1653 h 2191"/>
              <a:gd name="T4" fmla="*/ 0 w 2468"/>
              <a:gd name="T5" fmla="*/ 518 h 2191"/>
              <a:gd name="T6" fmla="*/ 146 w 2468"/>
              <a:gd name="T7" fmla="*/ 32 h 2191"/>
              <a:gd name="T8" fmla="*/ 2271 w 2468"/>
              <a:gd name="T9" fmla="*/ 0 h 2191"/>
              <a:gd name="T10" fmla="*/ 2465 w 2468"/>
              <a:gd name="T11" fmla="*/ 378 h 2191"/>
              <a:gd name="T12" fmla="*/ 2218 w 2468"/>
              <a:gd name="T13" fmla="*/ 533 h 2191"/>
              <a:gd name="T14" fmla="*/ 2468 w 2468"/>
              <a:gd name="T15" fmla="*/ 1668 h 2191"/>
              <a:gd name="T16" fmla="*/ 2330 w 2468"/>
              <a:gd name="T17" fmla="*/ 2152 h 2191"/>
              <a:gd name="T18" fmla="*/ 200 w 2468"/>
              <a:gd name="T19" fmla="*/ 2181 h 2191"/>
              <a:gd name="T20" fmla="*/ 358 w 2468"/>
              <a:gd name="T21" fmla="*/ 1843 h 2191"/>
              <a:gd name="T22" fmla="*/ 265 w 2468"/>
              <a:gd name="T23" fmla="*/ 2020 h 2191"/>
              <a:gd name="T24" fmla="*/ 448 w 2468"/>
              <a:gd name="T25" fmla="*/ 1928 h 2191"/>
              <a:gd name="T26" fmla="*/ 796 w 2468"/>
              <a:gd name="T27" fmla="*/ 1843 h 2191"/>
              <a:gd name="T28" fmla="*/ 703 w 2468"/>
              <a:gd name="T29" fmla="*/ 2018 h 2191"/>
              <a:gd name="T30" fmla="*/ 890 w 2468"/>
              <a:gd name="T31" fmla="*/ 1931 h 2191"/>
              <a:gd name="T32" fmla="*/ 1234 w 2468"/>
              <a:gd name="T33" fmla="*/ 1843 h 2191"/>
              <a:gd name="T34" fmla="*/ 1140 w 2468"/>
              <a:gd name="T35" fmla="*/ 2018 h 2191"/>
              <a:gd name="T36" fmla="*/ 1328 w 2468"/>
              <a:gd name="T37" fmla="*/ 1931 h 2191"/>
              <a:gd name="T38" fmla="*/ 1671 w 2468"/>
              <a:gd name="T39" fmla="*/ 1843 h 2191"/>
              <a:gd name="T40" fmla="*/ 1578 w 2468"/>
              <a:gd name="T41" fmla="*/ 2018 h 2191"/>
              <a:gd name="T42" fmla="*/ 1765 w 2468"/>
              <a:gd name="T43" fmla="*/ 1931 h 2191"/>
              <a:gd name="T44" fmla="*/ 2111 w 2468"/>
              <a:gd name="T45" fmla="*/ 1843 h 2191"/>
              <a:gd name="T46" fmla="*/ 2017 w 2468"/>
              <a:gd name="T47" fmla="*/ 2018 h 2191"/>
              <a:gd name="T48" fmla="*/ 2203 w 2468"/>
              <a:gd name="T49" fmla="*/ 1931 h 2191"/>
              <a:gd name="T50" fmla="*/ 1920 w 2468"/>
              <a:gd name="T51" fmla="*/ 538 h 2191"/>
              <a:gd name="T52" fmla="*/ 528 w 2468"/>
              <a:gd name="T53" fmla="*/ 1093 h 2191"/>
              <a:gd name="T54" fmla="*/ 1920 w 2468"/>
              <a:gd name="T55" fmla="*/ 1649 h 2191"/>
              <a:gd name="T56" fmla="*/ 896 w 2468"/>
              <a:gd name="T57" fmla="*/ 712 h 2191"/>
              <a:gd name="T58" fmla="*/ 1659 w 2468"/>
              <a:gd name="T59" fmla="*/ 1093 h 2191"/>
              <a:gd name="T60" fmla="*/ 896 w 2468"/>
              <a:gd name="T61" fmla="*/ 1465 h 2191"/>
              <a:gd name="T62" fmla="*/ 356 w 2468"/>
              <a:gd name="T63" fmla="*/ 171 h 2191"/>
              <a:gd name="T64" fmla="*/ 265 w 2468"/>
              <a:gd name="T65" fmla="*/ 357 h 2191"/>
              <a:gd name="T66" fmla="*/ 446 w 2468"/>
              <a:gd name="T67" fmla="*/ 262 h 2191"/>
              <a:gd name="T68" fmla="*/ 797 w 2468"/>
              <a:gd name="T69" fmla="*/ 168 h 2191"/>
              <a:gd name="T70" fmla="*/ 703 w 2468"/>
              <a:gd name="T71" fmla="*/ 357 h 2191"/>
              <a:gd name="T72" fmla="*/ 887 w 2468"/>
              <a:gd name="T73" fmla="*/ 259 h 2191"/>
              <a:gd name="T74" fmla="*/ 1234 w 2468"/>
              <a:gd name="T75" fmla="*/ 168 h 2191"/>
              <a:gd name="T76" fmla="*/ 1149 w 2468"/>
              <a:gd name="T77" fmla="*/ 348 h 2191"/>
              <a:gd name="T78" fmla="*/ 1325 w 2468"/>
              <a:gd name="T79" fmla="*/ 259 h 2191"/>
              <a:gd name="T80" fmla="*/ 1671 w 2468"/>
              <a:gd name="T81" fmla="*/ 168 h 2191"/>
              <a:gd name="T82" fmla="*/ 1586 w 2468"/>
              <a:gd name="T83" fmla="*/ 348 h 2191"/>
              <a:gd name="T84" fmla="*/ 1765 w 2468"/>
              <a:gd name="T85" fmla="*/ 262 h 2191"/>
              <a:gd name="T86" fmla="*/ 2112 w 2468"/>
              <a:gd name="T87" fmla="*/ 171 h 2191"/>
              <a:gd name="T88" fmla="*/ 2023 w 2468"/>
              <a:gd name="T89" fmla="*/ 347 h 2191"/>
              <a:gd name="T90" fmla="*/ 2203 w 2468"/>
              <a:gd name="T91" fmla="*/ 262 h 2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468" h="2191">
                <a:moveTo>
                  <a:pt x="200" y="2181"/>
                </a:moveTo>
                <a:cubicBezTo>
                  <a:pt x="135" y="2161"/>
                  <a:pt x="77" y="2116"/>
                  <a:pt x="43" y="2058"/>
                </a:cubicBezTo>
                <a:cubicBezTo>
                  <a:pt x="11" y="2004"/>
                  <a:pt x="9" y="1988"/>
                  <a:pt x="4" y="1834"/>
                </a:cubicBezTo>
                <a:lnTo>
                  <a:pt x="0" y="1668"/>
                </a:lnTo>
                <a:lnTo>
                  <a:pt x="118" y="1668"/>
                </a:lnTo>
                <a:cubicBezTo>
                  <a:pt x="192" y="1668"/>
                  <a:pt x="241" y="1663"/>
                  <a:pt x="250" y="1653"/>
                </a:cubicBezTo>
                <a:cubicBezTo>
                  <a:pt x="272" y="1632"/>
                  <a:pt x="272" y="555"/>
                  <a:pt x="250" y="533"/>
                </a:cubicBezTo>
                <a:cubicBezTo>
                  <a:pt x="241" y="524"/>
                  <a:pt x="192" y="518"/>
                  <a:pt x="117" y="518"/>
                </a:cubicBezTo>
                <a:lnTo>
                  <a:pt x="0" y="518"/>
                </a:lnTo>
                <a:lnTo>
                  <a:pt x="5" y="351"/>
                </a:lnTo>
                <a:cubicBezTo>
                  <a:pt x="9" y="192"/>
                  <a:pt x="11" y="181"/>
                  <a:pt x="47" y="124"/>
                </a:cubicBezTo>
                <a:cubicBezTo>
                  <a:pt x="73" y="81"/>
                  <a:pt x="102" y="54"/>
                  <a:pt x="146" y="32"/>
                </a:cubicBezTo>
                <a:lnTo>
                  <a:pt x="208" y="0"/>
                </a:lnTo>
                <a:lnTo>
                  <a:pt x="1240" y="0"/>
                </a:lnTo>
                <a:lnTo>
                  <a:pt x="2271" y="0"/>
                </a:lnTo>
                <a:lnTo>
                  <a:pt x="2324" y="30"/>
                </a:lnTo>
                <a:cubicBezTo>
                  <a:pt x="2383" y="64"/>
                  <a:pt x="2434" y="129"/>
                  <a:pt x="2453" y="194"/>
                </a:cubicBezTo>
                <a:cubicBezTo>
                  <a:pt x="2460" y="218"/>
                  <a:pt x="2465" y="300"/>
                  <a:pt x="2465" y="378"/>
                </a:cubicBezTo>
                <a:lnTo>
                  <a:pt x="2465" y="518"/>
                </a:lnTo>
                <a:lnTo>
                  <a:pt x="2349" y="518"/>
                </a:lnTo>
                <a:cubicBezTo>
                  <a:pt x="2275" y="518"/>
                  <a:pt x="2227" y="524"/>
                  <a:pt x="2218" y="533"/>
                </a:cubicBezTo>
                <a:cubicBezTo>
                  <a:pt x="2196" y="555"/>
                  <a:pt x="2196" y="1632"/>
                  <a:pt x="2218" y="1653"/>
                </a:cubicBezTo>
                <a:cubicBezTo>
                  <a:pt x="2227" y="1663"/>
                  <a:pt x="2275" y="1668"/>
                  <a:pt x="2350" y="1668"/>
                </a:cubicBezTo>
                <a:lnTo>
                  <a:pt x="2468" y="1668"/>
                </a:lnTo>
                <a:lnTo>
                  <a:pt x="2463" y="1834"/>
                </a:lnTo>
                <a:cubicBezTo>
                  <a:pt x="2459" y="1989"/>
                  <a:pt x="2456" y="2004"/>
                  <a:pt x="2424" y="2059"/>
                </a:cubicBezTo>
                <a:cubicBezTo>
                  <a:pt x="2402" y="2097"/>
                  <a:pt x="2369" y="2130"/>
                  <a:pt x="2330" y="2152"/>
                </a:cubicBezTo>
                <a:lnTo>
                  <a:pt x="2271" y="2187"/>
                </a:lnTo>
                <a:lnTo>
                  <a:pt x="1253" y="2189"/>
                </a:lnTo>
                <a:cubicBezTo>
                  <a:pt x="692" y="2191"/>
                  <a:pt x="218" y="2187"/>
                  <a:pt x="200" y="2181"/>
                </a:cubicBezTo>
                <a:close/>
                <a:moveTo>
                  <a:pt x="448" y="1928"/>
                </a:moveTo>
                <a:lnTo>
                  <a:pt x="450" y="1843"/>
                </a:lnTo>
                <a:lnTo>
                  <a:pt x="358" y="1843"/>
                </a:lnTo>
                <a:lnTo>
                  <a:pt x="265" y="1843"/>
                </a:lnTo>
                <a:lnTo>
                  <a:pt x="265" y="1931"/>
                </a:lnTo>
                <a:lnTo>
                  <a:pt x="265" y="2020"/>
                </a:lnTo>
                <a:lnTo>
                  <a:pt x="356" y="2016"/>
                </a:lnTo>
                <a:lnTo>
                  <a:pt x="446" y="2012"/>
                </a:lnTo>
                <a:lnTo>
                  <a:pt x="448" y="1928"/>
                </a:lnTo>
                <a:close/>
                <a:moveTo>
                  <a:pt x="890" y="1931"/>
                </a:moveTo>
                <a:lnTo>
                  <a:pt x="890" y="1843"/>
                </a:lnTo>
                <a:lnTo>
                  <a:pt x="796" y="1843"/>
                </a:lnTo>
                <a:lnTo>
                  <a:pt x="703" y="1843"/>
                </a:lnTo>
                <a:lnTo>
                  <a:pt x="703" y="1931"/>
                </a:lnTo>
                <a:lnTo>
                  <a:pt x="703" y="2018"/>
                </a:lnTo>
                <a:lnTo>
                  <a:pt x="796" y="2018"/>
                </a:lnTo>
                <a:lnTo>
                  <a:pt x="890" y="2018"/>
                </a:lnTo>
                <a:lnTo>
                  <a:pt x="890" y="1931"/>
                </a:lnTo>
                <a:close/>
                <a:moveTo>
                  <a:pt x="1328" y="1931"/>
                </a:moveTo>
                <a:lnTo>
                  <a:pt x="1328" y="1843"/>
                </a:lnTo>
                <a:lnTo>
                  <a:pt x="1234" y="1843"/>
                </a:lnTo>
                <a:lnTo>
                  <a:pt x="1140" y="1843"/>
                </a:lnTo>
                <a:lnTo>
                  <a:pt x="1140" y="1931"/>
                </a:lnTo>
                <a:lnTo>
                  <a:pt x="1140" y="2018"/>
                </a:lnTo>
                <a:lnTo>
                  <a:pt x="1234" y="2018"/>
                </a:lnTo>
                <a:lnTo>
                  <a:pt x="1328" y="2018"/>
                </a:lnTo>
                <a:lnTo>
                  <a:pt x="1328" y="1931"/>
                </a:lnTo>
                <a:close/>
                <a:moveTo>
                  <a:pt x="1765" y="1931"/>
                </a:moveTo>
                <a:lnTo>
                  <a:pt x="1765" y="1843"/>
                </a:lnTo>
                <a:lnTo>
                  <a:pt x="1671" y="1843"/>
                </a:lnTo>
                <a:lnTo>
                  <a:pt x="1578" y="1843"/>
                </a:lnTo>
                <a:lnTo>
                  <a:pt x="1578" y="1931"/>
                </a:lnTo>
                <a:lnTo>
                  <a:pt x="1578" y="2018"/>
                </a:lnTo>
                <a:lnTo>
                  <a:pt x="1671" y="2018"/>
                </a:lnTo>
                <a:lnTo>
                  <a:pt x="1765" y="2018"/>
                </a:lnTo>
                <a:lnTo>
                  <a:pt x="1765" y="1931"/>
                </a:lnTo>
                <a:close/>
                <a:moveTo>
                  <a:pt x="2203" y="1931"/>
                </a:moveTo>
                <a:lnTo>
                  <a:pt x="2203" y="1843"/>
                </a:lnTo>
                <a:lnTo>
                  <a:pt x="2111" y="1843"/>
                </a:lnTo>
                <a:lnTo>
                  <a:pt x="2018" y="1843"/>
                </a:lnTo>
                <a:lnTo>
                  <a:pt x="2018" y="1931"/>
                </a:lnTo>
                <a:lnTo>
                  <a:pt x="2017" y="2018"/>
                </a:lnTo>
                <a:lnTo>
                  <a:pt x="2110" y="2018"/>
                </a:lnTo>
                <a:lnTo>
                  <a:pt x="2203" y="2018"/>
                </a:lnTo>
                <a:lnTo>
                  <a:pt x="2203" y="1931"/>
                </a:lnTo>
                <a:close/>
                <a:moveTo>
                  <a:pt x="1920" y="1649"/>
                </a:moveTo>
                <a:cubicBezTo>
                  <a:pt x="1938" y="1632"/>
                  <a:pt x="1940" y="1564"/>
                  <a:pt x="1940" y="1093"/>
                </a:cubicBezTo>
                <a:cubicBezTo>
                  <a:pt x="1940" y="623"/>
                  <a:pt x="1938" y="555"/>
                  <a:pt x="1920" y="538"/>
                </a:cubicBezTo>
                <a:cubicBezTo>
                  <a:pt x="1903" y="521"/>
                  <a:pt x="1823" y="518"/>
                  <a:pt x="1234" y="518"/>
                </a:cubicBezTo>
                <a:cubicBezTo>
                  <a:pt x="644" y="518"/>
                  <a:pt x="565" y="521"/>
                  <a:pt x="547" y="538"/>
                </a:cubicBezTo>
                <a:cubicBezTo>
                  <a:pt x="530" y="555"/>
                  <a:pt x="528" y="623"/>
                  <a:pt x="528" y="1093"/>
                </a:cubicBezTo>
                <a:cubicBezTo>
                  <a:pt x="528" y="1564"/>
                  <a:pt x="530" y="1632"/>
                  <a:pt x="547" y="1649"/>
                </a:cubicBezTo>
                <a:cubicBezTo>
                  <a:pt x="565" y="1666"/>
                  <a:pt x="644" y="1668"/>
                  <a:pt x="1234" y="1668"/>
                </a:cubicBezTo>
                <a:cubicBezTo>
                  <a:pt x="1823" y="1668"/>
                  <a:pt x="1903" y="1666"/>
                  <a:pt x="1920" y="1649"/>
                </a:cubicBezTo>
                <a:close/>
                <a:moveTo>
                  <a:pt x="896" y="1465"/>
                </a:moveTo>
                <a:cubicBezTo>
                  <a:pt x="892" y="1456"/>
                  <a:pt x="891" y="1284"/>
                  <a:pt x="893" y="1081"/>
                </a:cubicBezTo>
                <a:lnTo>
                  <a:pt x="896" y="712"/>
                </a:lnTo>
                <a:lnTo>
                  <a:pt x="928" y="709"/>
                </a:lnTo>
                <a:cubicBezTo>
                  <a:pt x="947" y="708"/>
                  <a:pt x="1090" y="773"/>
                  <a:pt x="1309" y="884"/>
                </a:cubicBezTo>
                <a:cubicBezTo>
                  <a:pt x="1626" y="1046"/>
                  <a:pt x="1659" y="1065"/>
                  <a:pt x="1659" y="1093"/>
                </a:cubicBezTo>
                <a:cubicBezTo>
                  <a:pt x="1659" y="1122"/>
                  <a:pt x="1626" y="1141"/>
                  <a:pt x="1309" y="1302"/>
                </a:cubicBezTo>
                <a:cubicBezTo>
                  <a:pt x="1116" y="1400"/>
                  <a:pt x="946" y="1480"/>
                  <a:pt x="930" y="1480"/>
                </a:cubicBezTo>
                <a:cubicBezTo>
                  <a:pt x="915" y="1481"/>
                  <a:pt x="899" y="1474"/>
                  <a:pt x="896" y="1465"/>
                </a:cubicBezTo>
                <a:close/>
                <a:moveTo>
                  <a:pt x="446" y="262"/>
                </a:moveTo>
                <a:lnTo>
                  <a:pt x="446" y="175"/>
                </a:lnTo>
                <a:lnTo>
                  <a:pt x="356" y="171"/>
                </a:lnTo>
                <a:lnTo>
                  <a:pt x="265" y="167"/>
                </a:lnTo>
                <a:lnTo>
                  <a:pt x="265" y="262"/>
                </a:lnTo>
                <a:lnTo>
                  <a:pt x="265" y="357"/>
                </a:lnTo>
                <a:lnTo>
                  <a:pt x="356" y="353"/>
                </a:lnTo>
                <a:lnTo>
                  <a:pt x="446" y="350"/>
                </a:lnTo>
                <a:lnTo>
                  <a:pt x="446" y="262"/>
                </a:lnTo>
                <a:close/>
                <a:moveTo>
                  <a:pt x="887" y="259"/>
                </a:moveTo>
                <a:lnTo>
                  <a:pt x="891" y="168"/>
                </a:lnTo>
                <a:lnTo>
                  <a:pt x="797" y="168"/>
                </a:lnTo>
                <a:lnTo>
                  <a:pt x="703" y="168"/>
                </a:lnTo>
                <a:lnTo>
                  <a:pt x="703" y="263"/>
                </a:lnTo>
                <a:lnTo>
                  <a:pt x="703" y="357"/>
                </a:lnTo>
                <a:lnTo>
                  <a:pt x="793" y="353"/>
                </a:lnTo>
                <a:lnTo>
                  <a:pt x="884" y="350"/>
                </a:lnTo>
                <a:lnTo>
                  <a:pt x="887" y="259"/>
                </a:lnTo>
                <a:close/>
                <a:moveTo>
                  <a:pt x="1325" y="259"/>
                </a:moveTo>
                <a:lnTo>
                  <a:pt x="1329" y="168"/>
                </a:lnTo>
                <a:lnTo>
                  <a:pt x="1234" y="168"/>
                </a:lnTo>
                <a:lnTo>
                  <a:pt x="1140" y="168"/>
                </a:lnTo>
                <a:lnTo>
                  <a:pt x="1140" y="254"/>
                </a:lnTo>
                <a:cubicBezTo>
                  <a:pt x="1140" y="301"/>
                  <a:pt x="1144" y="343"/>
                  <a:pt x="1149" y="348"/>
                </a:cubicBezTo>
                <a:cubicBezTo>
                  <a:pt x="1154" y="353"/>
                  <a:pt x="1195" y="355"/>
                  <a:pt x="1240" y="353"/>
                </a:cubicBezTo>
                <a:lnTo>
                  <a:pt x="1321" y="350"/>
                </a:lnTo>
                <a:lnTo>
                  <a:pt x="1325" y="259"/>
                </a:lnTo>
                <a:close/>
                <a:moveTo>
                  <a:pt x="1765" y="262"/>
                </a:moveTo>
                <a:lnTo>
                  <a:pt x="1765" y="168"/>
                </a:lnTo>
                <a:lnTo>
                  <a:pt x="1671" y="168"/>
                </a:lnTo>
                <a:lnTo>
                  <a:pt x="1578" y="168"/>
                </a:lnTo>
                <a:lnTo>
                  <a:pt x="1578" y="254"/>
                </a:lnTo>
                <a:cubicBezTo>
                  <a:pt x="1578" y="301"/>
                  <a:pt x="1581" y="343"/>
                  <a:pt x="1586" y="348"/>
                </a:cubicBezTo>
                <a:cubicBezTo>
                  <a:pt x="1590" y="352"/>
                  <a:pt x="1633" y="356"/>
                  <a:pt x="1680" y="356"/>
                </a:cubicBezTo>
                <a:lnTo>
                  <a:pt x="1765" y="356"/>
                </a:lnTo>
                <a:lnTo>
                  <a:pt x="1765" y="262"/>
                </a:lnTo>
                <a:close/>
                <a:moveTo>
                  <a:pt x="2203" y="262"/>
                </a:moveTo>
                <a:lnTo>
                  <a:pt x="2203" y="167"/>
                </a:lnTo>
                <a:lnTo>
                  <a:pt x="2112" y="171"/>
                </a:lnTo>
                <a:lnTo>
                  <a:pt x="2021" y="175"/>
                </a:lnTo>
                <a:lnTo>
                  <a:pt x="2020" y="256"/>
                </a:lnTo>
                <a:cubicBezTo>
                  <a:pt x="2019" y="301"/>
                  <a:pt x="2020" y="341"/>
                  <a:pt x="2023" y="347"/>
                </a:cubicBezTo>
                <a:cubicBezTo>
                  <a:pt x="2027" y="352"/>
                  <a:pt x="2068" y="356"/>
                  <a:pt x="2116" y="356"/>
                </a:cubicBezTo>
                <a:lnTo>
                  <a:pt x="2203" y="356"/>
                </a:lnTo>
                <a:lnTo>
                  <a:pt x="2203" y="26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16" name="Freeform 21"/>
          <p:cNvSpPr>
            <a:spLocks noEditPoints="1"/>
          </p:cNvSpPr>
          <p:nvPr/>
        </p:nvSpPr>
        <p:spPr bwMode="auto">
          <a:xfrm>
            <a:off x="8948444" y="4334700"/>
            <a:ext cx="429988" cy="382867"/>
          </a:xfrm>
          <a:custGeom>
            <a:avLst/>
            <a:gdLst>
              <a:gd name="T0" fmla="*/ 854 w 5398"/>
              <a:gd name="T1" fmla="*/ 4788 h 4803"/>
              <a:gd name="T2" fmla="*/ 486 w 5398"/>
              <a:gd name="T3" fmla="*/ 4675 h 4803"/>
              <a:gd name="T4" fmla="*/ 23 w 5398"/>
              <a:gd name="T5" fmla="*/ 4129 h 4803"/>
              <a:gd name="T6" fmla="*/ 23 w 5398"/>
              <a:gd name="T7" fmla="*/ 3871 h 4803"/>
              <a:gd name="T8" fmla="*/ 486 w 5398"/>
              <a:gd name="T9" fmla="*/ 3325 h 4803"/>
              <a:gd name="T10" fmla="*/ 1011 w 5398"/>
              <a:gd name="T11" fmla="*/ 3209 h 4803"/>
              <a:gd name="T12" fmla="*/ 1285 w 5398"/>
              <a:gd name="T13" fmla="*/ 3236 h 4803"/>
              <a:gd name="T14" fmla="*/ 1394 w 5398"/>
              <a:gd name="T15" fmla="*/ 3263 h 4803"/>
              <a:gd name="T16" fmla="*/ 1404 w 5398"/>
              <a:gd name="T17" fmla="*/ 1857 h 4803"/>
              <a:gd name="T18" fmla="*/ 1418 w 5398"/>
              <a:gd name="T19" fmla="*/ 385 h 4803"/>
              <a:gd name="T20" fmla="*/ 1799 w 5398"/>
              <a:gd name="T21" fmla="*/ 13 h 4803"/>
              <a:gd name="T22" fmla="*/ 3455 w 5398"/>
              <a:gd name="T23" fmla="*/ 3 h 4803"/>
              <a:gd name="T24" fmla="*/ 5037 w 5398"/>
              <a:gd name="T25" fmla="*/ 6 h 4803"/>
              <a:gd name="T26" fmla="*/ 5132 w 5398"/>
              <a:gd name="T27" fmla="*/ 53 h 4803"/>
              <a:gd name="T28" fmla="*/ 5359 w 5398"/>
              <a:gd name="T29" fmla="*/ 286 h 4803"/>
              <a:gd name="T30" fmla="*/ 5398 w 5398"/>
              <a:gd name="T31" fmla="*/ 369 h 4803"/>
              <a:gd name="T32" fmla="*/ 5398 w 5398"/>
              <a:gd name="T33" fmla="*/ 2238 h 4803"/>
              <a:gd name="T34" fmla="*/ 5398 w 5398"/>
              <a:gd name="T35" fmla="*/ 4106 h 4803"/>
              <a:gd name="T36" fmla="*/ 5368 w 5398"/>
              <a:gd name="T37" fmla="*/ 4198 h 4803"/>
              <a:gd name="T38" fmla="*/ 5060 w 5398"/>
              <a:gd name="T39" fmla="*/ 4601 h 4803"/>
              <a:gd name="T40" fmla="*/ 4684 w 5398"/>
              <a:gd name="T41" fmla="*/ 4764 h 4803"/>
              <a:gd name="T42" fmla="*/ 4123 w 5398"/>
              <a:gd name="T43" fmla="*/ 4764 h 4803"/>
              <a:gd name="T44" fmla="*/ 3694 w 5398"/>
              <a:gd name="T45" fmla="*/ 4559 h 4803"/>
              <a:gd name="T46" fmla="*/ 3423 w 5398"/>
              <a:gd name="T47" fmla="*/ 4131 h 4803"/>
              <a:gd name="T48" fmla="*/ 3423 w 5398"/>
              <a:gd name="T49" fmla="*/ 3871 h 4803"/>
              <a:gd name="T50" fmla="*/ 3886 w 5398"/>
              <a:gd name="T51" fmla="*/ 3325 h 4803"/>
              <a:gd name="T52" fmla="*/ 4398 w 5398"/>
              <a:gd name="T53" fmla="*/ 3209 h 4803"/>
              <a:gd name="T54" fmla="*/ 4654 w 5398"/>
              <a:gd name="T55" fmla="*/ 3230 h 4803"/>
              <a:gd name="T56" fmla="*/ 4776 w 5398"/>
              <a:gd name="T57" fmla="*/ 3259 h 4803"/>
              <a:gd name="T58" fmla="*/ 4804 w 5398"/>
              <a:gd name="T59" fmla="*/ 3266 h 4803"/>
              <a:gd name="T60" fmla="*/ 4804 w 5398"/>
              <a:gd name="T61" fmla="*/ 2433 h 4803"/>
              <a:gd name="T62" fmla="*/ 4804 w 5398"/>
              <a:gd name="T63" fmla="*/ 1600 h 4803"/>
              <a:gd name="T64" fmla="*/ 3405 w 5398"/>
              <a:gd name="T65" fmla="*/ 1600 h 4803"/>
              <a:gd name="T66" fmla="*/ 2005 w 5398"/>
              <a:gd name="T67" fmla="*/ 1600 h 4803"/>
              <a:gd name="T68" fmla="*/ 2002 w 5398"/>
              <a:gd name="T69" fmla="*/ 2860 h 4803"/>
              <a:gd name="T70" fmla="*/ 1998 w 5398"/>
              <a:gd name="T71" fmla="*/ 4119 h 4803"/>
              <a:gd name="T72" fmla="*/ 1964 w 5398"/>
              <a:gd name="T73" fmla="*/ 4211 h 4803"/>
              <a:gd name="T74" fmla="*/ 1061 w 5398"/>
              <a:gd name="T75" fmla="*/ 4793 h 4803"/>
              <a:gd name="T76" fmla="*/ 854 w 5398"/>
              <a:gd name="T77" fmla="*/ 4788 h 4803"/>
              <a:gd name="T78" fmla="*/ 4804 w 5398"/>
              <a:gd name="T79" fmla="*/ 900 h 4803"/>
              <a:gd name="T80" fmla="*/ 4804 w 5398"/>
              <a:gd name="T81" fmla="*/ 800 h 4803"/>
              <a:gd name="T82" fmla="*/ 3404 w 5398"/>
              <a:gd name="T83" fmla="*/ 800 h 4803"/>
              <a:gd name="T84" fmla="*/ 2004 w 5398"/>
              <a:gd name="T85" fmla="*/ 800 h 4803"/>
              <a:gd name="T86" fmla="*/ 2004 w 5398"/>
              <a:gd name="T87" fmla="*/ 900 h 4803"/>
              <a:gd name="T88" fmla="*/ 2004 w 5398"/>
              <a:gd name="T89" fmla="*/ 1000 h 4803"/>
              <a:gd name="T90" fmla="*/ 3404 w 5398"/>
              <a:gd name="T91" fmla="*/ 1000 h 4803"/>
              <a:gd name="T92" fmla="*/ 4804 w 5398"/>
              <a:gd name="T93" fmla="*/ 1000 h 4803"/>
              <a:gd name="T94" fmla="*/ 4804 w 5398"/>
              <a:gd name="T95" fmla="*/ 900 h 48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398" h="4803">
                <a:moveTo>
                  <a:pt x="854" y="4788"/>
                </a:moveTo>
                <a:cubicBezTo>
                  <a:pt x="720" y="4771"/>
                  <a:pt x="617" y="4739"/>
                  <a:pt x="486" y="4675"/>
                </a:cubicBezTo>
                <a:cubicBezTo>
                  <a:pt x="231" y="4551"/>
                  <a:pt x="73" y="4365"/>
                  <a:pt x="23" y="4129"/>
                </a:cubicBezTo>
                <a:cubicBezTo>
                  <a:pt x="0" y="4022"/>
                  <a:pt x="0" y="3978"/>
                  <a:pt x="23" y="3871"/>
                </a:cubicBezTo>
                <a:cubicBezTo>
                  <a:pt x="73" y="3636"/>
                  <a:pt x="230" y="3450"/>
                  <a:pt x="486" y="3325"/>
                </a:cubicBezTo>
                <a:cubicBezTo>
                  <a:pt x="666" y="3236"/>
                  <a:pt x="794" y="3208"/>
                  <a:pt x="1011" y="3209"/>
                </a:cubicBezTo>
                <a:cubicBezTo>
                  <a:pt x="1148" y="3209"/>
                  <a:pt x="1207" y="3215"/>
                  <a:pt x="1285" y="3236"/>
                </a:cubicBezTo>
                <a:cubicBezTo>
                  <a:pt x="1339" y="3251"/>
                  <a:pt x="1388" y="3263"/>
                  <a:pt x="1394" y="3263"/>
                </a:cubicBezTo>
                <a:cubicBezTo>
                  <a:pt x="1400" y="3263"/>
                  <a:pt x="1404" y="2630"/>
                  <a:pt x="1404" y="1857"/>
                </a:cubicBezTo>
                <a:cubicBezTo>
                  <a:pt x="1404" y="876"/>
                  <a:pt x="1409" y="431"/>
                  <a:pt x="1418" y="385"/>
                </a:cubicBezTo>
                <a:cubicBezTo>
                  <a:pt x="1459" y="191"/>
                  <a:pt x="1602" y="51"/>
                  <a:pt x="1799" y="13"/>
                </a:cubicBezTo>
                <a:cubicBezTo>
                  <a:pt x="1853" y="3"/>
                  <a:pt x="2305" y="0"/>
                  <a:pt x="3455" y="3"/>
                </a:cubicBezTo>
                <a:lnTo>
                  <a:pt x="5037" y="6"/>
                </a:lnTo>
                <a:lnTo>
                  <a:pt x="5132" y="53"/>
                </a:lnTo>
                <a:cubicBezTo>
                  <a:pt x="5244" y="109"/>
                  <a:pt x="5304" y="171"/>
                  <a:pt x="5359" y="286"/>
                </a:cubicBezTo>
                <a:lnTo>
                  <a:pt x="5398" y="369"/>
                </a:lnTo>
                <a:lnTo>
                  <a:pt x="5398" y="2238"/>
                </a:lnTo>
                <a:lnTo>
                  <a:pt x="5398" y="4106"/>
                </a:lnTo>
                <a:lnTo>
                  <a:pt x="5368" y="4198"/>
                </a:lnTo>
                <a:cubicBezTo>
                  <a:pt x="5318" y="4351"/>
                  <a:pt x="5202" y="4503"/>
                  <a:pt x="5060" y="4601"/>
                </a:cubicBezTo>
                <a:cubicBezTo>
                  <a:pt x="4968" y="4664"/>
                  <a:pt x="4804" y="4735"/>
                  <a:pt x="4684" y="4764"/>
                </a:cubicBezTo>
                <a:cubicBezTo>
                  <a:pt x="4528" y="4803"/>
                  <a:pt x="4281" y="4803"/>
                  <a:pt x="4123" y="4764"/>
                </a:cubicBezTo>
                <a:cubicBezTo>
                  <a:pt x="3987" y="4731"/>
                  <a:pt x="3785" y="4635"/>
                  <a:pt x="3694" y="4559"/>
                </a:cubicBezTo>
                <a:cubicBezTo>
                  <a:pt x="3551" y="4440"/>
                  <a:pt x="3457" y="4292"/>
                  <a:pt x="3423" y="4131"/>
                </a:cubicBezTo>
                <a:cubicBezTo>
                  <a:pt x="3400" y="4022"/>
                  <a:pt x="3400" y="3978"/>
                  <a:pt x="3423" y="3871"/>
                </a:cubicBezTo>
                <a:cubicBezTo>
                  <a:pt x="3473" y="3636"/>
                  <a:pt x="3630" y="3450"/>
                  <a:pt x="3886" y="3325"/>
                </a:cubicBezTo>
                <a:cubicBezTo>
                  <a:pt x="4060" y="3239"/>
                  <a:pt x="4193" y="3209"/>
                  <a:pt x="4398" y="3209"/>
                </a:cubicBezTo>
                <a:cubicBezTo>
                  <a:pt x="4511" y="3208"/>
                  <a:pt x="4589" y="3215"/>
                  <a:pt x="4654" y="3230"/>
                </a:cubicBezTo>
                <a:cubicBezTo>
                  <a:pt x="4706" y="3243"/>
                  <a:pt x="4761" y="3255"/>
                  <a:pt x="4776" y="3259"/>
                </a:cubicBezTo>
                <a:lnTo>
                  <a:pt x="4804" y="3266"/>
                </a:lnTo>
                <a:lnTo>
                  <a:pt x="4804" y="2433"/>
                </a:lnTo>
                <a:lnTo>
                  <a:pt x="4804" y="1600"/>
                </a:lnTo>
                <a:lnTo>
                  <a:pt x="3405" y="1600"/>
                </a:lnTo>
                <a:lnTo>
                  <a:pt x="2005" y="1600"/>
                </a:lnTo>
                <a:lnTo>
                  <a:pt x="2002" y="2860"/>
                </a:lnTo>
                <a:lnTo>
                  <a:pt x="1998" y="4119"/>
                </a:lnTo>
                <a:lnTo>
                  <a:pt x="1964" y="4211"/>
                </a:lnTo>
                <a:cubicBezTo>
                  <a:pt x="1842" y="4547"/>
                  <a:pt x="1489" y="4774"/>
                  <a:pt x="1061" y="4793"/>
                </a:cubicBezTo>
                <a:cubicBezTo>
                  <a:pt x="992" y="4796"/>
                  <a:pt x="899" y="4794"/>
                  <a:pt x="854" y="4788"/>
                </a:cubicBezTo>
                <a:close/>
                <a:moveTo>
                  <a:pt x="4804" y="900"/>
                </a:moveTo>
                <a:lnTo>
                  <a:pt x="4804" y="800"/>
                </a:lnTo>
                <a:lnTo>
                  <a:pt x="3404" y="800"/>
                </a:lnTo>
                <a:lnTo>
                  <a:pt x="2004" y="800"/>
                </a:lnTo>
                <a:lnTo>
                  <a:pt x="2004" y="900"/>
                </a:lnTo>
                <a:lnTo>
                  <a:pt x="2004" y="1000"/>
                </a:lnTo>
                <a:lnTo>
                  <a:pt x="3404" y="1000"/>
                </a:lnTo>
                <a:lnTo>
                  <a:pt x="4804" y="1000"/>
                </a:lnTo>
                <a:lnTo>
                  <a:pt x="4804" y="900"/>
                </a:lnTo>
                <a:close/>
              </a:path>
            </a:pathLst>
          </a:custGeom>
          <a:noFill/>
          <a:ln w="28575">
            <a:solidFill>
              <a:srgbClr val="F3F3F3"/>
            </a:solidFill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17" name="Freeform 22"/>
          <p:cNvSpPr>
            <a:spLocks noChangeAspect="1" noEditPoints="1"/>
          </p:cNvSpPr>
          <p:nvPr/>
        </p:nvSpPr>
        <p:spPr bwMode="auto">
          <a:xfrm>
            <a:off x="7397018" y="4321155"/>
            <a:ext cx="422519" cy="433990"/>
          </a:xfrm>
          <a:custGeom>
            <a:avLst/>
            <a:gdLst>
              <a:gd name="T0" fmla="*/ 2004 w 2974"/>
              <a:gd name="T1" fmla="*/ 2049 h 3046"/>
              <a:gd name="T2" fmla="*/ 2120 w 2974"/>
              <a:gd name="T3" fmla="*/ 1833 h 3046"/>
              <a:gd name="T4" fmla="*/ 2209 w 2974"/>
              <a:gd name="T5" fmla="*/ 1682 h 3046"/>
              <a:gd name="T6" fmla="*/ 2319 w 2974"/>
              <a:gd name="T7" fmla="*/ 1543 h 3046"/>
              <a:gd name="T8" fmla="*/ 2440 w 2974"/>
              <a:gd name="T9" fmla="*/ 1442 h 3046"/>
              <a:gd name="T10" fmla="*/ 2404 w 2974"/>
              <a:gd name="T11" fmla="*/ 1173 h 3046"/>
              <a:gd name="T12" fmla="*/ 2364 w 2974"/>
              <a:gd name="T13" fmla="*/ 1000 h 3046"/>
              <a:gd name="T14" fmla="*/ 2216 w 2974"/>
              <a:gd name="T15" fmla="*/ 679 h 3046"/>
              <a:gd name="T16" fmla="*/ 2018 w 2974"/>
              <a:gd name="T17" fmla="*/ 731 h 3046"/>
              <a:gd name="T18" fmla="*/ 1958 w 2974"/>
              <a:gd name="T19" fmla="*/ 576 h 3046"/>
              <a:gd name="T20" fmla="*/ 1599 w 2974"/>
              <a:gd name="T21" fmla="*/ 542 h 3046"/>
              <a:gd name="T22" fmla="*/ 1540 w 2974"/>
              <a:gd name="T23" fmla="*/ 726 h 3046"/>
              <a:gd name="T24" fmla="*/ 1362 w 2974"/>
              <a:gd name="T25" fmla="*/ 667 h 3046"/>
              <a:gd name="T26" fmla="*/ 985 w 2974"/>
              <a:gd name="T27" fmla="*/ 976 h 3046"/>
              <a:gd name="T28" fmla="*/ 574 w 2974"/>
              <a:gd name="T29" fmla="*/ 894 h 3046"/>
              <a:gd name="T30" fmla="*/ 1221 w 2974"/>
              <a:gd name="T31" fmla="*/ 18 h 3046"/>
              <a:gd name="T32" fmla="*/ 2974 w 2974"/>
              <a:gd name="T33" fmla="*/ 0 h 3046"/>
              <a:gd name="T34" fmla="*/ 2974 w 2974"/>
              <a:gd name="T35" fmla="*/ 3000 h 3046"/>
              <a:gd name="T36" fmla="*/ 1303 w 2974"/>
              <a:gd name="T37" fmla="*/ 2967 h 3046"/>
              <a:gd name="T38" fmla="*/ 33 w 2974"/>
              <a:gd name="T39" fmla="*/ 2241 h 3046"/>
              <a:gd name="T40" fmla="*/ 731 w 2974"/>
              <a:gd name="T41" fmla="*/ 1041 h 3046"/>
              <a:gd name="T42" fmla="*/ 1935 w 2974"/>
              <a:gd name="T43" fmla="*/ 1717 h 3046"/>
              <a:gd name="T44" fmla="*/ 812 w 2974"/>
              <a:gd name="T45" fmla="*/ 2965 h 3046"/>
              <a:gd name="T46" fmla="*/ 1361 w 2974"/>
              <a:gd name="T47" fmla="*/ 2185 h 3046"/>
              <a:gd name="T48" fmla="*/ 893 w 2974"/>
              <a:gd name="T49" fmla="*/ 1583 h 3046"/>
              <a:gd name="T50" fmla="*/ 1112 w 2974"/>
              <a:gd name="T51" fmla="*/ 2399 h 3046"/>
              <a:gd name="T52" fmla="*/ 847 w 2974"/>
              <a:gd name="T53" fmla="*/ 2167 h 3046"/>
              <a:gd name="T54" fmla="*/ 978 w 2974"/>
              <a:gd name="T55" fmla="*/ 1783 h 3046"/>
              <a:gd name="T56" fmla="*/ 1012 w 2974"/>
              <a:gd name="T57" fmla="*/ 2207 h 3046"/>
              <a:gd name="T58" fmla="*/ 1778 w 2974"/>
              <a:gd name="T59" fmla="*/ 1345 h 3046"/>
              <a:gd name="T60" fmla="*/ 1586 w 2974"/>
              <a:gd name="T61" fmla="*/ 1100 h 3046"/>
              <a:gd name="T62" fmla="*/ 1983 w 2974"/>
              <a:gd name="T63" fmla="*/ 1333 h 3046"/>
              <a:gd name="T64" fmla="*/ 1778 w 2974"/>
              <a:gd name="T65" fmla="*/ 1345 h 30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974" h="3046">
                <a:moveTo>
                  <a:pt x="1303" y="2967"/>
                </a:moveTo>
                <a:cubicBezTo>
                  <a:pt x="1722" y="2818"/>
                  <a:pt x="1982" y="2476"/>
                  <a:pt x="2004" y="2049"/>
                </a:cubicBezTo>
                <a:lnTo>
                  <a:pt x="2012" y="1890"/>
                </a:lnTo>
                <a:lnTo>
                  <a:pt x="2120" y="1833"/>
                </a:lnTo>
                <a:cubicBezTo>
                  <a:pt x="2179" y="1801"/>
                  <a:pt x="2231" y="1770"/>
                  <a:pt x="2234" y="1764"/>
                </a:cubicBezTo>
                <a:cubicBezTo>
                  <a:pt x="2238" y="1758"/>
                  <a:pt x="2227" y="1721"/>
                  <a:pt x="2209" y="1682"/>
                </a:cubicBezTo>
                <a:cubicBezTo>
                  <a:pt x="2179" y="1615"/>
                  <a:pt x="2179" y="1609"/>
                  <a:pt x="2205" y="1572"/>
                </a:cubicBezTo>
                <a:cubicBezTo>
                  <a:pt x="2230" y="1537"/>
                  <a:pt x="2242" y="1534"/>
                  <a:pt x="2319" y="1543"/>
                </a:cubicBezTo>
                <a:lnTo>
                  <a:pt x="2405" y="1554"/>
                </a:lnTo>
                <a:lnTo>
                  <a:pt x="2440" y="1442"/>
                </a:lnTo>
                <a:cubicBezTo>
                  <a:pt x="2459" y="1380"/>
                  <a:pt x="2474" y="1298"/>
                  <a:pt x="2474" y="1259"/>
                </a:cubicBezTo>
                <a:cubicBezTo>
                  <a:pt x="2474" y="1189"/>
                  <a:pt x="2473" y="1188"/>
                  <a:pt x="2404" y="1173"/>
                </a:cubicBezTo>
                <a:cubicBezTo>
                  <a:pt x="2345" y="1161"/>
                  <a:pt x="2332" y="1150"/>
                  <a:pt x="2319" y="1105"/>
                </a:cubicBezTo>
                <a:cubicBezTo>
                  <a:pt x="2305" y="1057"/>
                  <a:pt x="2309" y="1048"/>
                  <a:pt x="2364" y="1000"/>
                </a:cubicBezTo>
                <a:cubicBezTo>
                  <a:pt x="2421" y="950"/>
                  <a:pt x="2423" y="945"/>
                  <a:pt x="2400" y="902"/>
                </a:cubicBezTo>
                <a:cubicBezTo>
                  <a:pt x="2370" y="843"/>
                  <a:pt x="2250" y="698"/>
                  <a:pt x="2216" y="679"/>
                </a:cubicBezTo>
                <a:cubicBezTo>
                  <a:pt x="2197" y="668"/>
                  <a:pt x="2170" y="677"/>
                  <a:pt x="2126" y="708"/>
                </a:cubicBezTo>
                <a:cubicBezTo>
                  <a:pt x="2070" y="746"/>
                  <a:pt x="2057" y="749"/>
                  <a:pt x="2018" y="731"/>
                </a:cubicBezTo>
                <a:cubicBezTo>
                  <a:pt x="1986" y="717"/>
                  <a:pt x="1974" y="699"/>
                  <a:pt x="1974" y="665"/>
                </a:cubicBezTo>
                <a:cubicBezTo>
                  <a:pt x="1974" y="640"/>
                  <a:pt x="1967" y="599"/>
                  <a:pt x="1958" y="576"/>
                </a:cubicBezTo>
                <a:cubicBezTo>
                  <a:pt x="1942" y="532"/>
                  <a:pt x="1941" y="532"/>
                  <a:pt x="1770" y="537"/>
                </a:cubicBezTo>
                <a:lnTo>
                  <a:pt x="1599" y="542"/>
                </a:lnTo>
                <a:lnTo>
                  <a:pt x="1594" y="621"/>
                </a:lnTo>
                <a:cubicBezTo>
                  <a:pt x="1590" y="689"/>
                  <a:pt x="1583" y="704"/>
                  <a:pt x="1540" y="726"/>
                </a:cubicBezTo>
                <a:cubicBezTo>
                  <a:pt x="1493" y="750"/>
                  <a:pt x="1488" y="749"/>
                  <a:pt x="1435" y="709"/>
                </a:cubicBezTo>
                <a:cubicBezTo>
                  <a:pt x="1405" y="686"/>
                  <a:pt x="1372" y="667"/>
                  <a:pt x="1362" y="667"/>
                </a:cubicBezTo>
                <a:cubicBezTo>
                  <a:pt x="1317" y="667"/>
                  <a:pt x="1131" y="915"/>
                  <a:pt x="1146" y="955"/>
                </a:cubicBezTo>
                <a:cubicBezTo>
                  <a:pt x="1152" y="970"/>
                  <a:pt x="1111" y="975"/>
                  <a:pt x="985" y="976"/>
                </a:cubicBezTo>
                <a:cubicBezTo>
                  <a:pt x="834" y="976"/>
                  <a:pt x="727" y="995"/>
                  <a:pt x="600" y="1044"/>
                </a:cubicBezTo>
                <a:cubicBezTo>
                  <a:pt x="578" y="1052"/>
                  <a:pt x="574" y="1031"/>
                  <a:pt x="574" y="894"/>
                </a:cubicBezTo>
                <a:cubicBezTo>
                  <a:pt x="574" y="807"/>
                  <a:pt x="583" y="695"/>
                  <a:pt x="593" y="647"/>
                </a:cubicBezTo>
                <a:cubicBezTo>
                  <a:pt x="657" y="340"/>
                  <a:pt x="914" y="82"/>
                  <a:pt x="1221" y="18"/>
                </a:cubicBezTo>
                <a:cubicBezTo>
                  <a:pt x="1279" y="6"/>
                  <a:pt x="1599" y="0"/>
                  <a:pt x="2142" y="0"/>
                </a:cubicBezTo>
                <a:lnTo>
                  <a:pt x="2974" y="0"/>
                </a:lnTo>
                <a:lnTo>
                  <a:pt x="2974" y="1500"/>
                </a:lnTo>
                <a:lnTo>
                  <a:pt x="2974" y="3000"/>
                </a:lnTo>
                <a:lnTo>
                  <a:pt x="2095" y="2999"/>
                </a:lnTo>
                <a:cubicBezTo>
                  <a:pt x="1217" y="2998"/>
                  <a:pt x="1216" y="2998"/>
                  <a:pt x="1303" y="2967"/>
                </a:cubicBezTo>
                <a:close/>
                <a:moveTo>
                  <a:pt x="812" y="2965"/>
                </a:moveTo>
                <a:cubicBezTo>
                  <a:pt x="453" y="2905"/>
                  <a:pt x="127" y="2603"/>
                  <a:pt x="33" y="2241"/>
                </a:cubicBezTo>
                <a:cubicBezTo>
                  <a:pt x="0" y="2114"/>
                  <a:pt x="1" y="1874"/>
                  <a:pt x="34" y="1744"/>
                </a:cubicBezTo>
                <a:cubicBezTo>
                  <a:pt x="119" y="1414"/>
                  <a:pt x="391" y="1139"/>
                  <a:pt x="731" y="1041"/>
                </a:cubicBezTo>
                <a:cubicBezTo>
                  <a:pt x="851" y="1007"/>
                  <a:pt x="1081" y="1002"/>
                  <a:pt x="1208" y="1032"/>
                </a:cubicBezTo>
                <a:cubicBezTo>
                  <a:pt x="1545" y="1112"/>
                  <a:pt x="1814" y="1364"/>
                  <a:pt x="1935" y="1717"/>
                </a:cubicBezTo>
                <a:cubicBezTo>
                  <a:pt x="1982" y="1854"/>
                  <a:pt x="1977" y="2153"/>
                  <a:pt x="1926" y="2300"/>
                </a:cubicBezTo>
                <a:cubicBezTo>
                  <a:pt x="1762" y="2769"/>
                  <a:pt x="1298" y="3046"/>
                  <a:pt x="812" y="2965"/>
                </a:cubicBezTo>
                <a:close/>
                <a:moveTo>
                  <a:pt x="1112" y="2399"/>
                </a:moveTo>
                <a:cubicBezTo>
                  <a:pt x="1207" y="2373"/>
                  <a:pt x="1309" y="2285"/>
                  <a:pt x="1361" y="2185"/>
                </a:cubicBezTo>
                <a:cubicBezTo>
                  <a:pt x="1467" y="1982"/>
                  <a:pt x="1394" y="1737"/>
                  <a:pt x="1194" y="1628"/>
                </a:cubicBezTo>
                <a:cubicBezTo>
                  <a:pt x="1090" y="1572"/>
                  <a:pt x="997" y="1558"/>
                  <a:pt x="893" y="1583"/>
                </a:cubicBezTo>
                <a:cubicBezTo>
                  <a:pt x="657" y="1640"/>
                  <a:pt x="515" y="1878"/>
                  <a:pt x="582" y="2107"/>
                </a:cubicBezTo>
                <a:cubicBezTo>
                  <a:pt x="647" y="2333"/>
                  <a:pt x="883" y="2463"/>
                  <a:pt x="1112" y="2399"/>
                </a:cubicBezTo>
                <a:close/>
                <a:moveTo>
                  <a:pt x="916" y="2191"/>
                </a:moveTo>
                <a:cubicBezTo>
                  <a:pt x="879" y="2178"/>
                  <a:pt x="848" y="2167"/>
                  <a:pt x="847" y="2167"/>
                </a:cubicBezTo>
                <a:cubicBezTo>
                  <a:pt x="845" y="2167"/>
                  <a:pt x="827" y="2140"/>
                  <a:pt x="807" y="2107"/>
                </a:cubicBezTo>
                <a:cubicBezTo>
                  <a:pt x="722" y="1970"/>
                  <a:pt x="821" y="1783"/>
                  <a:pt x="978" y="1783"/>
                </a:cubicBezTo>
                <a:cubicBezTo>
                  <a:pt x="1171" y="1784"/>
                  <a:pt x="1270" y="1987"/>
                  <a:pt x="1148" y="2132"/>
                </a:cubicBezTo>
                <a:cubicBezTo>
                  <a:pt x="1109" y="2178"/>
                  <a:pt x="1094" y="2187"/>
                  <a:pt x="1012" y="2207"/>
                </a:cubicBezTo>
                <a:cubicBezTo>
                  <a:pt x="996" y="2212"/>
                  <a:pt x="953" y="2204"/>
                  <a:pt x="916" y="2191"/>
                </a:cubicBezTo>
                <a:close/>
                <a:moveTo>
                  <a:pt x="1778" y="1345"/>
                </a:moveTo>
                <a:cubicBezTo>
                  <a:pt x="1739" y="1296"/>
                  <a:pt x="1674" y="1231"/>
                  <a:pt x="1633" y="1200"/>
                </a:cubicBezTo>
                <a:cubicBezTo>
                  <a:pt x="1560" y="1145"/>
                  <a:pt x="1559" y="1144"/>
                  <a:pt x="1586" y="1100"/>
                </a:cubicBezTo>
                <a:cubicBezTo>
                  <a:pt x="1643" y="1002"/>
                  <a:pt x="1807" y="963"/>
                  <a:pt x="1901" y="1024"/>
                </a:cubicBezTo>
                <a:cubicBezTo>
                  <a:pt x="1998" y="1088"/>
                  <a:pt x="2036" y="1231"/>
                  <a:pt x="1983" y="1333"/>
                </a:cubicBezTo>
                <a:cubicBezTo>
                  <a:pt x="1958" y="1382"/>
                  <a:pt x="1898" y="1433"/>
                  <a:pt x="1866" y="1433"/>
                </a:cubicBezTo>
                <a:cubicBezTo>
                  <a:pt x="1857" y="1433"/>
                  <a:pt x="1817" y="1393"/>
                  <a:pt x="1778" y="1345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18" name="Freeform 129"/>
          <p:cNvSpPr>
            <a:spLocks noChangeAspect="1" noEditPoints="1"/>
          </p:cNvSpPr>
          <p:nvPr/>
        </p:nvSpPr>
        <p:spPr bwMode="auto">
          <a:xfrm>
            <a:off x="5376329" y="4326311"/>
            <a:ext cx="475897" cy="465032"/>
          </a:xfrm>
          <a:custGeom>
            <a:avLst/>
            <a:gdLst>
              <a:gd name="T0" fmla="*/ 162 w 176"/>
              <a:gd name="T1" fmla="*/ 68 h 176"/>
              <a:gd name="T2" fmla="*/ 159 w 176"/>
              <a:gd name="T3" fmla="*/ 42 h 176"/>
              <a:gd name="T4" fmla="*/ 142 w 176"/>
              <a:gd name="T5" fmla="*/ 17 h 176"/>
              <a:gd name="T6" fmla="*/ 134 w 176"/>
              <a:gd name="T7" fmla="*/ 17 h 176"/>
              <a:gd name="T8" fmla="*/ 108 w 176"/>
              <a:gd name="T9" fmla="*/ 14 h 176"/>
              <a:gd name="T10" fmla="*/ 100 w 176"/>
              <a:gd name="T11" fmla="*/ 0 h 176"/>
              <a:gd name="T12" fmla="*/ 70 w 176"/>
              <a:gd name="T13" fmla="*/ 6 h 176"/>
              <a:gd name="T14" fmla="*/ 50 w 176"/>
              <a:gd name="T15" fmla="*/ 22 h 176"/>
              <a:gd name="T16" fmla="*/ 38 w 176"/>
              <a:gd name="T17" fmla="*/ 16 h 176"/>
              <a:gd name="T18" fmla="*/ 17 w 176"/>
              <a:gd name="T19" fmla="*/ 34 h 176"/>
              <a:gd name="T20" fmla="*/ 22 w 176"/>
              <a:gd name="T21" fmla="*/ 50 h 176"/>
              <a:gd name="T22" fmla="*/ 6 w 176"/>
              <a:gd name="T23" fmla="*/ 70 h 176"/>
              <a:gd name="T24" fmla="*/ 0 w 176"/>
              <a:gd name="T25" fmla="*/ 100 h 176"/>
              <a:gd name="T26" fmla="*/ 14 w 176"/>
              <a:gd name="T27" fmla="*/ 108 h 176"/>
              <a:gd name="T28" fmla="*/ 17 w 176"/>
              <a:gd name="T29" fmla="*/ 134 h 176"/>
              <a:gd name="T30" fmla="*/ 34 w 176"/>
              <a:gd name="T31" fmla="*/ 159 h 176"/>
              <a:gd name="T32" fmla="*/ 42 w 176"/>
              <a:gd name="T33" fmla="*/ 159 h 176"/>
              <a:gd name="T34" fmla="*/ 68 w 176"/>
              <a:gd name="T35" fmla="*/ 162 h 176"/>
              <a:gd name="T36" fmla="*/ 76 w 176"/>
              <a:gd name="T37" fmla="*/ 176 h 176"/>
              <a:gd name="T38" fmla="*/ 106 w 176"/>
              <a:gd name="T39" fmla="*/ 170 h 176"/>
              <a:gd name="T40" fmla="*/ 126 w 176"/>
              <a:gd name="T41" fmla="*/ 154 h 176"/>
              <a:gd name="T42" fmla="*/ 138 w 176"/>
              <a:gd name="T43" fmla="*/ 160 h 176"/>
              <a:gd name="T44" fmla="*/ 159 w 176"/>
              <a:gd name="T45" fmla="*/ 142 h 176"/>
              <a:gd name="T46" fmla="*/ 154 w 176"/>
              <a:gd name="T47" fmla="*/ 126 h 176"/>
              <a:gd name="T48" fmla="*/ 170 w 176"/>
              <a:gd name="T49" fmla="*/ 106 h 176"/>
              <a:gd name="T50" fmla="*/ 176 w 176"/>
              <a:gd name="T51" fmla="*/ 76 h 176"/>
              <a:gd name="T52" fmla="*/ 168 w 176"/>
              <a:gd name="T53" fmla="*/ 98 h 176"/>
              <a:gd name="T54" fmla="*/ 160 w 176"/>
              <a:gd name="T55" fmla="*/ 100 h 176"/>
              <a:gd name="T56" fmla="*/ 147 w 176"/>
              <a:gd name="T57" fmla="*/ 122 h 176"/>
              <a:gd name="T58" fmla="*/ 152 w 176"/>
              <a:gd name="T59" fmla="*/ 138 h 176"/>
              <a:gd name="T60" fmla="*/ 138 w 176"/>
              <a:gd name="T61" fmla="*/ 152 h 176"/>
              <a:gd name="T62" fmla="*/ 126 w 176"/>
              <a:gd name="T63" fmla="*/ 146 h 176"/>
              <a:gd name="T64" fmla="*/ 106 w 176"/>
              <a:gd name="T65" fmla="*/ 154 h 176"/>
              <a:gd name="T66" fmla="*/ 98 w 176"/>
              <a:gd name="T67" fmla="*/ 168 h 176"/>
              <a:gd name="T68" fmla="*/ 78 w 176"/>
              <a:gd name="T69" fmla="*/ 168 h 176"/>
              <a:gd name="T70" fmla="*/ 70 w 176"/>
              <a:gd name="T71" fmla="*/ 154 h 176"/>
              <a:gd name="T72" fmla="*/ 50 w 176"/>
              <a:gd name="T73" fmla="*/ 146 h 176"/>
              <a:gd name="T74" fmla="*/ 39 w 176"/>
              <a:gd name="T75" fmla="*/ 152 h 176"/>
              <a:gd name="T76" fmla="*/ 24 w 176"/>
              <a:gd name="T77" fmla="*/ 138 h 176"/>
              <a:gd name="T78" fmla="*/ 29 w 176"/>
              <a:gd name="T79" fmla="*/ 122 h 176"/>
              <a:gd name="T80" fmla="*/ 16 w 176"/>
              <a:gd name="T81" fmla="*/ 100 h 176"/>
              <a:gd name="T82" fmla="*/ 8 w 176"/>
              <a:gd name="T83" fmla="*/ 98 h 176"/>
              <a:gd name="T84" fmla="*/ 16 w 176"/>
              <a:gd name="T85" fmla="*/ 76 h 176"/>
              <a:gd name="T86" fmla="*/ 29 w 176"/>
              <a:gd name="T87" fmla="*/ 54 h 176"/>
              <a:gd name="T88" fmla="*/ 24 w 176"/>
              <a:gd name="T89" fmla="*/ 38 h 176"/>
              <a:gd name="T90" fmla="*/ 38 w 176"/>
              <a:gd name="T91" fmla="*/ 24 h 176"/>
              <a:gd name="T92" fmla="*/ 50 w 176"/>
              <a:gd name="T93" fmla="*/ 30 h 176"/>
              <a:gd name="T94" fmla="*/ 70 w 176"/>
              <a:gd name="T95" fmla="*/ 22 h 176"/>
              <a:gd name="T96" fmla="*/ 78 w 176"/>
              <a:gd name="T97" fmla="*/ 8 h 176"/>
              <a:gd name="T98" fmla="*/ 98 w 176"/>
              <a:gd name="T99" fmla="*/ 8 h 176"/>
              <a:gd name="T100" fmla="*/ 106 w 176"/>
              <a:gd name="T101" fmla="*/ 22 h 176"/>
              <a:gd name="T102" fmla="*/ 126 w 176"/>
              <a:gd name="T103" fmla="*/ 30 h 176"/>
              <a:gd name="T104" fmla="*/ 138 w 176"/>
              <a:gd name="T105" fmla="*/ 24 h 176"/>
              <a:gd name="T106" fmla="*/ 152 w 176"/>
              <a:gd name="T107" fmla="*/ 39 h 176"/>
              <a:gd name="T108" fmla="*/ 147 w 176"/>
              <a:gd name="T109" fmla="*/ 54 h 176"/>
              <a:gd name="T110" fmla="*/ 160 w 176"/>
              <a:gd name="T111" fmla="*/ 76 h 176"/>
              <a:gd name="T112" fmla="*/ 168 w 176"/>
              <a:gd name="T113" fmla="*/ 98 h 176"/>
              <a:gd name="T114" fmla="*/ 48 w 176"/>
              <a:gd name="T115" fmla="*/ 88 h 176"/>
              <a:gd name="T116" fmla="*/ 128 w 176"/>
              <a:gd name="T117" fmla="*/ 88 h 176"/>
              <a:gd name="T118" fmla="*/ 88 w 176"/>
              <a:gd name="T119" fmla="*/ 120 h 176"/>
              <a:gd name="T120" fmla="*/ 88 w 176"/>
              <a:gd name="T121" fmla="*/ 56 h 176"/>
              <a:gd name="T122" fmla="*/ 88 w 176"/>
              <a:gd name="T123" fmla="*/ 120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6" h="176">
                <a:moveTo>
                  <a:pt x="170" y="70"/>
                </a:moveTo>
                <a:cubicBezTo>
                  <a:pt x="162" y="68"/>
                  <a:pt x="162" y="68"/>
                  <a:pt x="162" y="68"/>
                </a:cubicBezTo>
                <a:cubicBezTo>
                  <a:pt x="160" y="62"/>
                  <a:pt x="157" y="56"/>
                  <a:pt x="154" y="5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160" y="40"/>
                  <a:pt x="161" y="36"/>
                  <a:pt x="159" y="34"/>
                </a:cubicBezTo>
                <a:cubicBezTo>
                  <a:pt x="142" y="17"/>
                  <a:pt x="142" y="17"/>
                  <a:pt x="142" y="17"/>
                </a:cubicBezTo>
                <a:cubicBezTo>
                  <a:pt x="141" y="16"/>
                  <a:pt x="140" y="16"/>
                  <a:pt x="138" y="16"/>
                </a:cubicBezTo>
                <a:cubicBezTo>
                  <a:pt x="137" y="16"/>
                  <a:pt x="135" y="17"/>
                  <a:pt x="134" y="17"/>
                </a:cubicBezTo>
                <a:cubicBezTo>
                  <a:pt x="126" y="22"/>
                  <a:pt x="126" y="22"/>
                  <a:pt x="126" y="22"/>
                </a:cubicBezTo>
                <a:cubicBezTo>
                  <a:pt x="120" y="19"/>
                  <a:pt x="114" y="16"/>
                  <a:pt x="108" y="14"/>
                </a:cubicBezTo>
                <a:cubicBezTo>
                  <a:pt x="106" y="6"/>
                  <a:pt x="106" y="6"/>
                  <a:pt x="106" y="6"/>
                </a:cubicBezTo>
                <a:cubicBezTo>
                  <a:pt x="105" y="3"/>
                  <a:pt x="103" y="0"/>
                  <a:pt x="100" y="0"/>
                </a:cubicBezTo>
                <a:cubicBezTo>
                  <a:pt x="76" y="0"/>
                  <a:pt x="76" y="0"/>
                  <a:pt x="76" y="0"/>
                </a:cubicBezTo>
                <a:cubicBezTo>
                  <a:pt x="73" y="0"/>
                  <a:pt x="71" y="3"/>
                  <a:pt x="70" y="6"/>
                </a:cubicBezTo>
                <a:cubicBezTo>
                  <a:pt x="68" y="14"/>
                  <a:pt x="68" y="14"/>
                  <a:pt x="68" y="14"/>
                </a:cubicBezTo>
                <a:cubicBezTo>
                  <a:pt x="62" y="16"/>
                  <a:pt x="56" y="19"/>
                  <a:pt x="50" y="22"/>
                </a:cubicBezTo>
                <a:cubicBezTo>
                  <a:pt x="42" y="17"/>
                  <a:pt x="42" y="17"/>
                  <a:pt x="42" y="17"/>
                </a:cubicBezTo>
                <a:cubicBezTo>
                  <a:pt x="41" y="17"/>
                  <a:pt x="39" y="16"/>
                  <a:pt x="38" y="16"/>
                </a:cubicBezTo>
                <a:cubicBezTo>
                  <a:pt x="36" y="16"/>
                  <a:pt x="35" y="16"/>
                  <a:pt x="34" y="17"/>
                </a:cubicBezTo>
                <a:cubicBezTo>
                  <a:pt x="17" y="34"/>
                  <a:pt x="17" y="34"/>
                  <a:pt x="17" y="34"/>
                </a:cubicBezTo>
                <a:cubicBezTo>
                  <a:pt x="15" y="36"/>
                  <a:pt x="16" y="40"/>
                  <a:pt x="17" y="42"/>
                </a:cubicBezTo>
                <a:cubicBezTo>
                  <a:pt x="22" y="50"/>
                  <a:pt x="22" y="50"/>
                  <a:pt x="22" y="50"/>
                </a:cubicBezTo>
                <a:cubicBezTo>
                  <a:pt x="19" y="56"/>
                  <a:pt x="16" y="62"/>
                  <a:pt x="14" y="68"/>
                </a:cubicBezTo>
                <a:cubicBezTo>
                  <a:pt x="6" y="70"/>
                  <a:pt x="6" y="70"/>
                  <a:pt x="6" y="70"/>
                </a:cubicBezTo>
                <a:cubicBezTo>
                  <a:pt x="3" y="71"/>
                  <a:pt x="0" y="73"/>
                  <a:pt x="0" y="76"/>
                </a:cubicBezTo>
                <a:cubicBezTo>
                  <a:pt x="0" y="100"/>
                  <a:pt x="0" y="100"/>
                  <a:pt x="0" y="100"/>
                </a:cubicBezTo>
                <a:cubicBezTo>
                  <a:pt x="0" y="103"/>
                  <a:pt x="3" y="105"/>
                  <a:pt x="6" y="106"/>
                </a:cubicBezTo>
                <a:cubicBezTo>
                  <a:pt x="14" y="108"/>
                  <a:pt x="14" y="108"/>
                  <a:pt x="14" y="108"/>
                </a:cubicBezTo>
                <a:cubicBezTo>
                  <a:pt x="16" y="114"/>
                  <a:pt x="19" y="120"/>
                  <a:pt x="22" y="126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6" y="136"/>
                  <a:pt x="15" y="140"/>
                  <a:pt x="17" y="142"/>
                </a:cubicBezTo>
                <a:cubicBezTo>
                  <a:pt x="34" y="159"/>
                  <a:pt x="34" y="159"/>
                  <a:pt x="34" y="159"/>
                </a:cubicBezTo>
                <a:cubicBezTo>
                  <a:pt x="35" y="160"/>
                  <a:pt x="36" y="160"/>
                  <a:pt x="38" y="160"/>
                </a:cubicBezTo>
                <a:cubicBezTo>
                  <a:pt x="39" y="160"/>
                  <a:pt x="41" y="159"/>
                  <a:pt x="42" y="159"/>
                </a:cubicBezTo>
                <a:cubicBezTo>
                  <a:pt x="50" y="154"/>
                  <a:pt x="50" y="154"/>
                  <a:pt x="50" y="154"/>
                </a:cubicBezTo>
                <a:cubicBezTo>
                  <a:pt x="56" y="157"/>
                  <a:pt x="62" y="160"/>
                  <a:pt x="68" y="162"/>
                </a:cubicBezTo>
                <a:cubicBezTo>
                  <a:pt x="70" y="170"/>
                  <a:pt x="70" y="170"/>
                  <a:pt x="70" y="170"/>
                </a:cubicBezTo>
                <a:cubicBezTo>
                  <a:pt x="71" y="173"/>
                  <a:pt x="73" y="176"/>
                  <a:pt x="76" y="176"/>
                </a:cubicBezTo>
                <a:cubicBezTo>
                  <a:pt x="100" y="176"/>
                  <a:pt x="100" y="176"/>
                  <a:pt x="100" y="176"/>
                </a:cubicBezTo>
                <a:cubicBezTo>
                  <a:pt x="103" y="176"/>
                  <a:pt x="105" y="173"/>
                  <a:pt x="106" y="170"/>
                </a:cubicBezTo>
                <a:cubicBezTo>
                  <a:pt x="108" y="162"/>
                  <a:pt x="108" y="162"/>
                  <a:pt x="108" y="162"/>
                </a:cubicBezTo>
                <a:cubicBezTo>
                  <a:pt x="114" y="160"/>
                  <a:pt x="120" y="157"/>
                  <a:pt x="126" y="154"/>
                </a:cubicBezTo>
                <a:cubicBezTo>
                  <a:pt x="134" y="159"/>
                  <a:pt x="134" y="159"/>
                  <a:pt x="134" y="159"/>
                </a:cubicBezTo>
                <a:cubicBezTo>
                  <a:pt x="135" y="159"/>
                  <a:pt x="137" y="160"/>
                  <a:pt x="138" y="160"/>
                </a:cubicBezTo>
                <a:cubicBezTo>
                  <a:pt x="140" y="160"/>
                  <a:pt x="141" y="160"/>
                  <a:pt x="142" y="159"/>
                </a:cubicBezTo>
                <a:cubicBezTo>
                  <a:pt x="159" y="142"/>
                  <a:pt x="159" y="142"/>
                  <a:pt x="159" y="142"/>
                </a:cubicBezTo>
                <a:cubicBezTo>
                  <a:pt x="161" y="140"/>
                  <a:pt x="160" y="136"/>
                  <a:pt x="159" y="134"/>
                </a:cubicBezTo>
                <a:cubicBezTo>
                  <a:pt x="154" y="126"/>
                  <a:pt x="154" y="126"/>
                  <a:pt x="154" y="126"/>
                </a:cubicBezTo>
                <a:cubicBezTo>
                  <a:pt x="157" y="120"/>
                  <a:pt x="160" y="114"/>
                  <a:pt x="162" y="108"/>
                </a:cubicBezTo>
                <a:cubicBezTo>
                  <a:pt x="170" y="106"/>
                  <a:pt x="170" y="106"/>
                  <a:pt x="170" y="106"/>
                </a:cubicBezTo>
                <a:cubicBezTo>
                  <a:pt x="173" y="105"/>
                  <a:pt x="176" y="103"/>
                  <a:pt x="176" y="100"/>
                </a:cubicBezTo>
                <a:cubicBezTo>
                  <a:pt x="176" y="76"/>
                  <a:pt x="176" y="76"/>
                  <a:pt x="176" y="76"/>
                </a:cubicBezTo>
                <a:cubicBezTo>
                  <a:pt x="176" y="73"/>
                  <a:pt x="173" y="71"/>
                  <a:pt x="170" y="70"/>
                </a:cubicBezTo>
                <a:moveTo>
                  <a:pt x="168" y="98"/>
                </a:moveTo>
                <a:cubicBezTo>
                  <a:pt x="168" y="98"/>
                  <a:pt x="168" y="98"/>
                  <a:pt x="168" y="98"/>
                </a:cubicBezTo>
                <a:cubicBezTo>
                  <a:pt x="160" y="100"/>
                  <a:pt x="160" y="100"/>
                  <a:pt x="160" y="100"/>
                </a:cubicBezTo>
                <a:cubicBezTo>
                  <a:pt x="157" y="101"/>
                  <a:pt x="155" y="103"/>
                  <a:pt x="154" y="106"/>
                </a:cubicBezTo>
                <a:cubicBezTo>
                  <a:pt x="152" y="111"/>
                  <a:pt x="150" y="117"/>
                  <a:pt x="147" y="122"/>
                </a:cubicBezTo>
                <a:cubicBezTo>
                  <a:pt x="146" y="125"/>
                  <a:pt x="146" y="128"/>
                  <a:pt x="147" y="130"/>
                </a:cubicBezTo>
                <a:cubicBezTo>
                  <a:pt x="152" y="138"/>
                  <a:pt x="152" y="138"/>
                  <a:pt x="152" y="138"/>
                </a:cubicBezTo>
                <a:cubicBezTo>
                  <a:pt x="138" y="152"/>
                  <a:pt x="138" y="152"/>
                  <a:pt x="138" y="152"/>
                </a:cubicBezTo>
                <a:cubicBezTo>
                  <a:pt x="138" y="152"/>
                  <a:pt x="138" y="152"/>
                  <a:pt x="138" y="152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29" y="146"/>
                  <a:pt x="128" y="146"/>
                  <a:pt x="126" y="146"/>
                </a:cubicBezTo>
                <a:cubicBezTo>
                  <a:pt x="125" y="146"/>
                  <a:pt x="123" y="146"/>
                  <a:pt x="122" y="147"/>
                </a:cubicBezTo>
                <a:cubicBezTo>
                  <a:pt x="117" y="150"/>
                  <a:pt x="111" y="152"/>
                  <a:pt x="106" y="154"/>
                </a:cubicBezTo>
                <a:cubicBezTo>
                  <a:pt x="103" y="155"/>
                  <a:pt x="101" y="157"/>
                  <a:pt x="100" y="160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98" y="168"/>
                  <a:pt x="98" y="168"/>
                  <a:pt x="98" y="168"/>
                </a:cubicBezTo>
                <a:cubicBezTo>
                  <a:pt x="78" y="168"/>
                  <a:pt x="78" y="168"/>
                  <a:pt x="78" y="168"/>
                </a:cubicBezTo>
                <a:cubicBezTo>
                  <a:pt x="76" y="160"/>
                  <a:pt x="76" y="160"/>
                  <a:pt x="76" y="160"/>
                </a:cubicBezTo>
                <a:cubicBezTo>
                  <a:pt x="75" y="157"/>
                  <a:pt x="73" y="155"/>
                  <a:pt x="70" y="154"/>
                </a:cubicBezTo>
                <a:cubicBezTo>
                  <a:pt x="65" y="152"/>
                  <a:pt x="59" y="150"/>
                  <a:pt x="54" y="147"/>
                </a:cubicBezTo>
                <a:cubicBezTo>
                  <a:pt x="53" y="146"/>
                  <a:pt x="51" y="146"/>
                  <a:pt x="50" y="146"/>
                </a:cubicBezTo>
                <a:cubicBezTo>
                  <a:pt x="48" y="146"/>
                  <a:pt x="47" y="146"/>
                  <a:pt x="46" y="147"/>
                </a:cubicBezTo>
                <a:cubicBezTo>
                  <a:pt x="39" y="152"/>
                  <a:pt x="39" y="152"/>
                  <a:pt x="39" y="152"/>
                </a:cubicBezTo>
                <a:cubicBezTo>
                  <a:pt x="38" y="152"/>
                  <a:pt x="38" y="152"/>
                  <a:pt x="38" y="152"/>
                </a:cubicBezTo>
                <a:cubicBezTo>
                  <a:pt x="24" y="138"/>
                  <a:pt x="24" y="138"/>
                  <a:pt x="24" y="138"/>
                </a:cubicBezTo>
                <a:cubicBezTo>
                  <a:pt x="29" y="130"/>
                  <a:pt x="29" y="130"/>
                  <a:pt x="29" y="130"/>
                </a:cubicBezTo>
                <a:cubicBezTo>
                  <a:pt x="30" y="128"/>
                  <a:pt x="30" y="125"/>
                  <a:pt x="29" y="122"/>
                </a:cubicBezTo>
                <a:cubicBezTo>
                  <a:pt x="26" y="117"/>
                  <a:pt x="24" y="111"/>
                  <a:pt x="22" y="106"/>
                </a:cubicBezTo>
                <a:cubicBezTo>
                  <a:pt x="21" y="103"/>
                  <a:pt x="19" y="101"/>
                  <a:pt x="16" y="100"/>
                </a:cubicBezTo>
                <a:cubicBezTo>
                  <a:pt x="8" y="98"/>
                  <a:pt x="8" y="98"/>
                  <a:pt x="8" y="98"/>
                </a:cubicBezTo>
                <a:cubicBezTo>
                  <a:pt x="8" y="98"/>
                  <a:pt x="8" y="98"/>
                  <a:pt x="8" y="98"/>
                </a:cubicBezTo>
                <a:cubicBezTo>
                  <a:pt x="8" y="78"/>
                  <a:pt x="8" y="78"/>
                  <a:pt x="8" y="78"/>
                </a:cubicBezTo>
                <a:cubicBezTo>
                  <a:pt x="16" y="76"/>
                  <a:pt x="16" y="76"/>
                  <a:pt x="16" y="76"/>
                </a:cubicBezTo>
                <a:cubicBezTo>
                  <a:pt x="19" y="75"/>
                  <a:pt x="21" y="73"/>
                  <a:pt x="22" y="70"/>
                </a:cubicBezTo>
                <a:cubicBezTo>
                  <a:pt x="24" y="65"/>
                  <a:pt x="26" y="59"/>
                  <a:pt x="29" y="54"/>
                </a:cubicBezTo>
                <a:cubicBezTo>
                  <a:pt x="30" y="51"/>
                  <a:pt x="30" y="48"/>
                  <a:pt x="29" y="46"/>
                </a:cubicBezTo>
                <a:cubicBezTo>
                  <a:pt x="24" y="38"/>
                  <a:pt x="24" y="38"/>
                  <a:pt x="24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38" y="24"/>
                  <a:pt x="38" y="24"/>
                  <a:pt x="38" y="24"/>
                </a:cubicBezTo>
                <a:cubicBezTo>
                  <a:pt x="46" y="29"/>
                  <a:pt x="46" y="29"/>
                  <a:pt x="46" y="29"/>
                </a:cubicBezTo>
                <a:cubicBezTo>
                  <a:pt x="47" y="30"/>
                  <a:pt x="48" y="30"/>
                  <a:pt x="50" y="30"/>
                </a:cubicBezTo>
                <a:cubicBezTo>
                  <a:pt x="51" y="30"/>
                  <a:pt x="53" y="30"/>
                  <a:pt x="54" y="29"/>
                </a:cubicBezTo>
                <a:cubicBezTo>
                  <a:pt x="59" y="26"/>
                  <a:pt x="65" y="24"/>
                  <a:pt x="70" y="22"/>
                </a:cubicBezTo>
                <a:cubicBezTo>
                  <a:pt x="73" y="21"/>
                  <a:pt x="75" y="19"/>
                  <a:pt x="76" y="16"/>
                </a:cubicBezTo>
                <a:cubicBezTo>
                  <a:pt x="78" y="8"/>
                  <a:pt x="78" y="8"/>
                  <a:pt x="78" y="8"/>
                </a:cubicBezTo>
                <a:cubicBezTo>
                  <a:pt x="98" y="8"/>
                  <a:pt x="98" y="8"/>
                  <a:pt x="98" y="8"/>
                </a:cubicBezTo>
                <a:cubicBezTo>
                  <a:pt x="98" y="8"/>
                  <a:pt x="98" y="8"/>
                  <a:pt x="98" y="8"/>
                </a:cubicBezTo>
                <a:cubicBezTo>
                  <a:pt x="100" y="16"/>
                  <a:pt x="100" y="16"/>
                  <a:pt x="100" y="16"/>
                </a:cubicBezTo>
                <a:cubicBezTo>
                  <a:pt x="101" y="19"/>
                  <a:pt x="103" y="21"/>
                  <a:pt x="106" y="22"/>
                </a:cubicBezTo>
                <a:cubicBezTo>
                  <a:pt x="111" y="24"/>
                  <a:pt x="117" y="26"/>
                  <a:pt x="122" y="29"/>
                </a:cubicBezTo>
                <a:cubicBezTo>
                  <a:pt x="123" y="30"/>
                  <a:pt x="125" y="30"/>
                  <a:pt x="126" y="30"/>
                </a:cubicBezTo>
                <a:cubicBezTo>
                  <a:pt x="128" y="30"/>
                  <a:pt x="129" y="30"/>
                  <a:pt x="130" y="29"/>
                </a:cubicBezTo>
                <a:cubicBezTo>
                  <a:pt x="138" y="24"/>
                  <a:pt x="138" y="24"/>
                  <a:pt x="138" y="24"/>
                </a:cubicBezTo>
                <a:cubicBezTo>
                  <a:pt x="152" y="38"/>
                  <a:pt x="152" y="38"/>
                  <a:pt x="152" y="38"/>
                </a:cubicBezTo>
                <a:cubicBezTo>
                  <a:pt x="152" y="38"/>
                  <a:pt x="152" y="38"/>
                  <a:pt x="152" y="39"/>
                </a:cubicBezTo>
                <a:cubicBezTo>
                  <a:pt x="147" y="46"/>
                  <a:pt x="147" y="46"/>
                  <a:pt x="147" y="46"/>
                </a:cubicBezTo>
                <a:cubicBezTo>
                  <a:pt x="146" y="48"/>
                  <a:pt x="146" y="51"/>
                  <a:pt x="147" y="54"/>
                </a:cubicBezTo>
                <a:cubicBezTo>
                  <a:pt x="150" y="59"/>
                  <a:pt x="152" y="65"/>
                  <a:pt x="154" y="70"/>
                </a:cubicBezTo>
                <a:cubicBezTo>
                  <a:pt x="155" y="73"/>
                  <a:pt x="157" y="75"/>
                  <a:pt x="160" y="76"/>
                </a:cubicBezTo>
                <a:cubicBezTo>
                  <a:pt x="168" y="78"/>
                  <a:pt x="168" y="78"/>
                  <a:pt x="168" y="78"/>
                </a:cubicBezTo>
                <a:lnTo>
                  <a:pt x="168" y="98"/>
                </a:lnTo>
                <a:close/>
                <a:moveTo>
                  <a:pt x="88" y="48"/>
                </a:moveTo>
                <a:cubicBezTo>
                  <a:pt x="66" y="48"/>
                  <a:pt x="48" y="66"/>
                  <a:pt x="48" y="88"/>
                </a:cubicBezTo>
                <a:cubicBezTo>
                  <a:pt x="48" y="110"/>
                  <a:pt x="66" y="128"/>
                  <a:pt x="88" y="128"/>
                </a:cubicBezTo>
                <a:cubicBezTo>
                  <a:pt x="110" y="128"/>
                  <a:pt x="128" y="110"/>
                  <a:pt x="128" y="88"/>
                </a:cubicBezTo>
                <a:cubicBezTo>
                  <a:pt x="128" y="66"/>
                  <a:pt x="110" y="48"/>
                  <a:pt x="88" y="48"/>
                </a:cubicBezTo>
                <a:moveTo>
                  <a:pt x="88" y="120"/>
                </a:moveTo>
                <a:cubicBezTo>
                  <a:pt x="70" y="120"/>
                  <a:pt x="56" y="106"/>
                  <a:pt x="56" y="88"/>
                </a:cubicBezTo>
                <a:cubicBezTo>
                  <a:pt x="56" y="70"/>
                  <a:pt x="70" y="56"/>
                  <a:pt x="88" y="56"/>
                </a:cubicBezTo>
                <a:cubicBezTo>
                  <a:pt x="106" y="56"/>
                  <a:pt x="120" y="70"/>
                  <a:pt x="120" y="88"/>
                </a:cubicBezTo>
                <a:cubicBezTo>
                  <a:pt x="120" y="106"/>
                  <a:pt x="106" y="120"/>
                  <a:pt x="88" y="120"/>
                </a:cubicBezTo>
              </a:path>
            </a:pathLst>
          </a:custGeom>
          <a:solidFill>
            <a:schemeClr val="bg1"/>
          </a:solidFill>
          <a:ln>
            <a:solidFill>
              <a:srgbClr val="FFFFFF"/>
            </a:solidFill>
          </a:ln>
          <a:extLst/>
        </p:spPr>
        <p:txBody>
          <a:bodyPr vert="horz" wrap="square" lIns="91416" tIns="45709" rIns="91416" bIns="45709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1200">
              <a:solidFill>
                <a:srgbClr val="1F2A44"/>
              </a:solidFill>
              <a:latin typeface="Corbel"/>
              <a:sym typeface="Century Gothic"/>
            </a:endParaRPr>
          </a:p>
        </p:txBody>
      </p:sp>
      <p:sp>
        <p:nvSpPr>
          <p:cNvPr id="320" name="Freeform 12"/>
          <p:cNvSpPr>
            <a:spLocks noChangeAspect="1" noEditPoints="1"/>
          </p:cNvSpPr>
          <p:nvPr/>
        </p:nvSpPr>
        <p:spPr bwMode="auto">
          <a:xfrm>
            <a:off x="9788200" y="5628016"/>
            <a:ext cx="406118" cy="415143"/>
          </a:xfrm>
          <a:custGeom>
            <a:avLst/>
            <a:gdLst>
              <a:gd name="T0" fmla="*/ 868 w 2417"/>
              <a:gd name="T1" fmla="*/ 2429 h 2476"/>
              <a:gd name="T2" fmla="*/ 668 w 2417"/>
              <a:gd name="T3" fmla="*/ 2289 h 2476"/>
              <a:gd name="T4" fmla="*/ 452 w 2417"/>
              <a:gd name="T5" fmla="*/ 2044 h 2476"/>
              <a:gd name="T6" fmla="*/ 218 w 2417"/>
              <a:gd name="T7" fmla="*/ 1944 h 2476"/>
              <a:gd name="T8" fmla="*/ 97 w 2417"/>
              <a:gd name="T9" fmla="*/ 1587 h 2476"/>
              <a:gd name="T10" fmla="*/ 48 w 2417"/>
              <a:gd name="T11" fmla="*/ 1351 h 2476"/>
              <a:gd name="T12" fmla="*/ 35 w 2417"/>
              <a:gd name="T13" fmla="*/ 953 h 2476"/>
              <a:gd name="T14" fmla="*/ 186 w 2417"/>
              <a:gd name="T15" fmla="*/ 689 h 2476"/>
              <a:gd name="T16" fmla="*/ 267 w 2417"/>
              <a:gd name="T17" fmla="*/ 457 h 2476"/>
              <a:gd name="T18" fmla="*/ 461 w 2417"/>
              <a:gd name="T19" fmla="*/ 298 h 2476"/>
              <a:gd name="T20" fmla="*/ 831 w 2417"/>
              <a:gd name="T21" fmla="*/ 182 h 2476"/>
              <a:gd name="T22" fmla="*/ 962 w 2417"/>
              <a:gd name="T23" fmla="*/ 27 h 2476"/>
              <a:gd name="T24" fmla="*/ 1330 w 2417"/>
              <a:gd name="T25" fmla="*/ 32 h 2476"/>
              <a:gd name="T26" fmla="*/ 1555 w 2417"/>
              <a:gd name="T27" fmla="*/ 94 h 2476"/>
              <a:gd name="T28" fmla="*/ 1798 w 2417"/>
              <a:gd name="T29" fmla="*/ 156 h 2476"/>
              <a:gd name="T30" fmla="*/ 2024 w 2417"/>
              <a:gd name="T31" fmla="*/ 478 h 2476"/>
              <a:gd name="T32" fmla="*/ 2197 w 2417"/>
              <a:gd name="T33" fmla="*/ 516 h 2476"/>
              <a:gd name="T34" fmla="*/ 2216 w 2417"/>
              <a:gd name="T35" fmla="*/ 809 h 2476"/>
              <a:gd name="T36" fmla="*/ 2409 w 2417"/>
              <a:gd name="T37" fmla="*/ 1048 h 2476"/>
              <a:gd name="T38" fmla="*/ 2409 w 2417"/>
              <a:gd name="T39" fmla="*/ 1427 h 2476"/>
              <a:gd name="T40" fmla="*/ 2222 w 2417"/>
              <a:gd name="T41" fmla="*/ 1662 h 2476"/>
              <a:gd name="T42" fmla="*/ 2218 w 2417"/>
              <a:gd name="T43" fmla="*/ 1926 h 2476"/>
              <a:gd name="T44" fmla="*/ 1955 w 2417"/>
              <a:gd name="T45" fmla="*/ 2163 h 2476"/>
              <a:gd name="T46" fmla="*/ 1794 w 2417"/>
              <a:gd name="T47" fmla="*/ 2322 h 2476"/>
              <a:gd name="T48" fmla="*/ 1555 w 2417"/>
              <a:gd name="T49" fmla="*/ 2379 h 2476"/>
              <a:gd name="T50" fmla="*/ 1098 w 2417"/>
              <a:gd name="T51" fmla="*/ 2441 h 2476"/>
              <a:gd name="T52" fmla="*/ 2175 w 2417"/>
              <a:gd name="T53" fmla="*/ 1622 h 2476"/>
              <a:gd name="T54" fmla="*/ 1661 w 2417"/>
              <a:gd name="T55" fmla="*/ 287 h 2476"/>
              <a:gd name="T56" fmla="*/ 180 w 2417"/>
              <a:gd name="T57" fmla="*/ 1237 h 2476"/>
              <a:gd name="T58" fmla="*/ 1529 w 2417"/>
              <a:gd name="T59" fmla="*/ 2246 h 2476"/>
              <a:gd name="T60" fmla="*/ 955 w 2417"/>
              <a:gd name="T61" fmla="*/ 1787 h 2476"/>
              <a:gd name="T62" fmla="*/ 699 w 2417"/>
              <a:gd name="T63" fmla="*/ 1703 h 2476"/>
              <a:gd name="T64" fmla="*/ 817 w 2417"/>
              <a:gd name="T65" fmla="*/ 1506 h 2476"/>
              <a:gd name="T66" fmla="*/ 1104 w 2417"/>
              <a:gd name="T67" fmla="*/ 1298 h 2476"/>
              <a:gd name="T68" fmla="*/ 744 w 2417"/>
              <a:gd name="T69" fmla="*/ 1012 h 2476"/>
              <a:gd name="T70" fmla="*/ 599 w 2417"/>
              <a:gd name="T71" fmla="*/ 1219 h 2476"/>
              <a:gd name="T72" fmla="*/ 448 w 2417"/>
              <a:gd name="T73" fmla="*/ 945 h 2476"/>
              <a:gd name="T74" fmla="*/ 626 w 2417"/>
              <a:gd name="T75" fmla="*/ 803 h 2476"/>
              <a:gd name="T76" fmla="*/ 863 w 2417"/>
              <a:gd name="T77" fmla="*/ 604 h 2476"/>
              <a:gd name="T78" fmla="*/ 1243 w 2417"/>
              <a:gd name="T79" fmla="*/ 664 h 2476"/>
              <a:gd name="T80" fmla="*/ 1109 w 2417"/>
              <a:gd name="T81" fmla="*/ 967 h 2476"/>
              <a:gd name="T82" fmla="*/ 1491 w 2417"/>
              <a:gd name="T83" fmla="*/ 848 h 2476"/>
              <a:gd name="T84" fmla="*/ 1768 w 2417"/>
              <a:gd name="T85" fmla="*/ 624 h 2476"/>
              <a:gd name="T86" fmla="*/ 1770 w 2417"/>
              <a:gd name="T87" fmla="*/ 956 h 2476"/>
              <a:gd name="T88" fmla="*/ 1721 w 2417"/>
              <a:gd name="T89" fmla="*/ 1081 h 2476"/>
              <a:gd name="T90" fmla="*/ 1651 w 2417"/>
              <a:gd name="T91" fmla="*/ 1488 h 2476"/>
              <a:gd name="T92" fmla="*/ 1740 w 2417"/>
              <a:gd name="T93" fmla="*/ 1961 h 2476"/>
              <a:gd name="T94" fmla="*/ 1263 w 2417"/>
              <a:gd name="T95" fmla="*/ 1469 h 2476"/>
              <a:gd name="T96" fmla="*/ 922 w 2417"/>
              <a:gd name="T97" fmla="*/ 1951 h 2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417" h="2476">
                <a:moveTo>
                  <a:pt x="1024" y="2460"/>
                </a:moveTo>
                <a:cubicBezTo>
                  <a:pt x="1010" y="2457"/>
                  <a:pt x="969" y="2449"/>
                  <a:pt x="933" y="2442"/>
                </a:cubicBezTo>
                <a:lnTo>
                  <a:pt x="868" y="2429"/>
                </a:lnTo>
                <a:lnTo>
                  <a:pt x="868" y="2379"/>
                </a:lnTo>
                <a:cubicBezTo>
                  <a:pt x="868" y="2341"/>
                  <a:pt x="859" y="2321"/>
                  <a:pt x="831" y="2293"/>
                </a:cubicBezTo>
                <a:cubicBezTo>
                  <a:pt x="783" y="2245"/>
                  <a:pt x="722" y="2243"/>
                  <a:pt x="668" y="2289"/>
                </a:cubicBezTo>
                <a:cubicBezTo>
                  <a:pt x="623" y="2327"/>
                  <a:pt x="619" y="2325"/>
                  <a:pt x="513" y="2249"/>
                </a:cubicBezTo>
                <a:cubicBezTo>
                  <a:pt x="468" y="2215"/>
                  <a:pt x="455" y="2199"/>
                  <a:pt x="462" y="2183"/>
                </a:cubicBezTo>
                <a:cubicBezTo>
                  <a:pt x="485" y="2132"/>
                  <a:pt x="481" y="2087"/>
                  <a:pt x="452" y="2044"/>
                </a:cubicBezTo>
                <a:cubicBezTo>
                  <a:pt x="428" y="2007"/>
                  <a:pt x="415" y="1999"/>
                  <a:pt x="371" y="1996"/>
                </a:cubicBezTo>
                <a:cubicBezTo>
                  <a:pt x="342" y="1994"/>
                  <a:pt x="307" y="1998"/>
                  <a:pt x="294" y="2006"/>
                </a:cubicBezTo>
                <a:cubicBezTo>
                  <a:pt x="272" y="2017"/>
                  <a:pt x="263" y="2010"/>
                  <a:pt x="218" y="1944"/>
                </a:cubicBezTo>
                <a:cubicBezTo>
                  <a:pt x="149" y="1843"/>
                  <a:pt x="147" y="1835"/>
                  <a:pt x="182" y="1798"/>
                </a:cubicBezTo>
                <a:cubicBezTo>
                  <a:pt x="204" y="1775"/>
                  <a:pt x="211" y="1752"/>
                  <a:pt x="211" y="1712"/>
                </a:cubicBezTo>
                <a:cubicBezTo>
                  <a:pt x="211" y="1640"/>
                  <a:pt x="167" y="1591"/>
                  <a:pt x="97" y="1587"/>
                </a:cubicBezTo>
                <a:cubicBezTo>
                  <a:pt x="52" y="1584"/>
                  <a:pt x="49" y="1581"/>
                  <a:pt x="36" y="1530"/>
                </a:cubicBezTo>
                <a:cubicBezTo>
                  <a:pt x="28" y="1500"/>
                  <a:pt x="18" y="1451"/>
                  <a:pt x="13" y="1422"/>
                </a:cubicBezTo>
                <a:cubicBezTo>
                  <a:pt x="5" y="1371"/>
                  <a:pt x="6" y="1369"/>
                  <a:pt x="48" y="1351"/>
                </a:cubicBezTo>
                <a:cubicBezTo>
                  <a:pt x="99" y="1330"/>
                  <a:pt x="118" y="1299"/>
                  <a:pt x="118" y="1238"/>
                </a:cubicBezTo>
                <a:cubicBezTo>
                  <a:pt x="118" y="1181"/>
                  <a:pt x="89" y="1137"/>
                  <a:pt x="41" y="1120"/>
                </a:cubicBezTo>
                <a:cubicBezTo>
                  <a:pt x="0" y="1106"/>
                  <a:pt x="0" y="1109"/>
                  <a:pt x="35" y="953"/>
                </a:cubicBezTo>
                <a:cubicBezTo>
                  <a:pt x="49" y="892"/>
                  <a:pt x="50" y="891"/>
                  <a:pt x="98" y="888"/>
                </a:cubicBezTo>
                <a:cubicBezTo>
                  <a:pt x="135" y="886"/>
                  <a:pt x="156" y="875"/>
                  <a:pt x="182" y="845"/>
                </a:cubicBezTo>
                <a:cubicBezTo>
                  <a:pt x="226" y="796"/>
                  <a:pt x="227" y="749"/>
                  <a:pt x="186" y="689"/>
                </a:cubicBezTo>
                <a:cubicBezTo>
                  <a:pt x="169" y="663"/>
                  <a:pt x="155" y="640"/>
                  <a:pt x="155" y="636"/>
                </a:cubicBezTo>
                <a:cubicBezTo>
                  <a:pt x="155" y="632"/>
                  <a:pt x="180" y="591"/>
                  <a:pt x="211" y="543"/>
                </a:cubicBezTo>
                <a:lnTo>
                  <a:pt x="267" y="457"/>
                </a:lnTo>
                <a:lnTo>
                  <a:pt x="309" y="475"/>
                </a:lnTo>
                <a:cubicBezTo>
                  <a:pt x="367" y="499"/>
                  <a:pt x="417" y="484"/>
                  <a:pt x="453" y="430"/>
                </a:cubicBezTo>
                <a:cubicBezTo>
                  <a:pt x="481" y="389"/>
                  <a:pt x="483" y="365"/>
                  <a:pt x="461" y="298"/>
                </a:cubicBezTo>
                <a:cubicBezTo>
                  <a:pt x="454" y="275"/>
                  <a:pt x="463" y="263"/>
                  <a:pt x="513" y="227"/>
                </a:cubicBezTo>
                <a:cubicBezTo>
                  <a:pt x="619" y="149"/>
                  <a:pt x="623" y="148"/>
                  <a:pt x="668" y="186"/>
                </a:cubicBezTo>
                <a:cubicBezTo>
                  <a:pt x="722" y="232"/>
                  <a:pt x="783" y="230"/>
                  <a:pt x="831" y="182"/>
                </a:cubicBezTo>
                <a:cubicBezTo>
                  <a:pt x="859" y="154"/>
                  <a:pt x="868" y="134"/>
                  <a:pt x="868" y="97"/>
                </a:cubicBezTo>
                <a:lnTo>
                  <a:pt x="868" y="48"/>
                </a:lnTo>
                <a:lnTo>
                  <a:pt x="962" y="27"/>
                </a:lnTo>
                <a:cubicBezTo>
                  <a:pt x="1082" y="0"/>
                  <a:pt x="1088" y="1"/>
                  <a:pt x="1097" y="35"/>
                </a:cubicBezTo>
                <a:cubicBezTo>
                  <a:pt x="1118" y="120"/>
                  <a:pt x="1231" y="150"/>
                  <a:pt x="1297" y="88"/>
                </a:cubicBezTo>
                <a:cubicBezTo>
                  <a:pt x="1315" y="71"/>
                  <a:pt x="1330" y="46"/>
                  <a:pt x="1330" y="32"/>
                </a:cubicBezTo>
                <a:cubicBezTo>
                  <a:pt x="1330" y="1"/>
                  <a:pt x="1341" y="0"/>
                  <a:pt x="1461" y="27"/>
                </a:cubicBezTo>
                <a:lnTo>
                  <a:pt x="1555" y="48"/>
                </a:lnTo>
                <a:lnTo>
                  <a:pt x="1555" y="94"/>
                </a:lnTo>
                <a:cubicBezTo>
                  <a:pt x="1555" y="129"/>
                  <a:pt x="1565" y="151"/>
                  <a:pt x="1591" y="180"/>
                </a:cubicBezTo>
                <a:cubicBezTo>
                  <a:pt x="1638" y="230"/>
                  <a:pt x="1699" y="233"/>
                  <a:pt x="1753" y="187"/>
                </a:cubicBezTo>
                <a:cubicBezTo>
                  <a:pt x="1773" y="170"/>
                  <a:pt x="1794" y="156"/>
                  <a:pt x="1798" y="156"/>
                </a:cubicBezTo>
                <a:cubicBezTo>
                  <a:pt x="1810" y="156"/>
                  <a:pt x="1952" y="254"/>
                  <a:pt x="1961" y="268"/>
                </a:cubicBezTo>
                <a:cubicBezTo>
                  <a:pt x="1965" y="275"/>
                  <a:pt x="1962" y="302"/>
                  <a:pt x="1954" y="329"/>
                </a:cubicBezTo>
                <a:cubicBezTo>
                  <a:pt x="1936" y="391"/>
                  <a:pt x="1963" y="448"/>
                  <a:pt x="2024" y="478"/>
                </a:cubicBezTo>
                <a:cubicBezTo>
                  <a:pt x="2064" y="497"/>
                  <a:pt x="2071" y="497"/>
                  <a:pt x="2111" y="478"/>
                </a:cubicBezTo>
                <a:lnTo>
                  <a:pt x="2154" y="457"/>
                </a:lnTo>
                <a:lnTo>
                  <a:pt x="2197" y="516"/>
                </a:lnTo>
                <a:cubicBezTo>
                  <a:pt x="2220" y="548"/>
                  <a:pt x="2248" y="592"/>
                  <a:pt x="2259" y="613"/>
                </a:cubicBezTo>
                <a:cubicBezTo>
                  <a:pt x="2277" y="649"/>
                  <a:pt x="2277" y="652"/>
                  <a:pt x="2255" y="666"/>
                </a:cubicBezTo>
                <a:cubicBezTo>
                  <a:pt x="2221" y="687"/>
                  <a:pt x="2200" y="766"/>
                  <a:pt x="2216" y="809"/>
                </a:cubicBezTo>
                <a:cubicBezTo>
                  <a:pt x="2232" y="851"/>
                  <a:pt x="2300" y="895"/>
                  <a:pt x="2341" y="891"/>
                </a:cubicBezTo>
                <a:cubicBezTo>
                  <a:pt x="2366" y="888"/>
                  <a:pt x="2373" y="895"/>
                  <a:pt x="2386" y="938"/>
                </a:cubicBezTo>
                <a:cubicBezTo>
                  <a:pt x="2394" y="966"/>
                  <a:pt x="2405" y="1016"/>
                  <a:pt x="2409" y="1048"/>
                </a:cubicBezTo>
                <a:cubicBezTo>
                  <a:pt x="2417" y="1106"/>
                  <a:pt x="2416" y="1108"/>
                  <a:pt x="2381" y="1120"/>
                </a:cubicBezTo>
                <a:cubicBezTo>
                  <a:pt x="2279" y="1156"/>
                  <a:pt x="2279" y="1319"/>
                  <a:pt x="2381" y="1355"/>
                </a:cubicBezTo>
                <a:cubicBezTo>
                  <a:pt x="2416" y="1367"/>
                  <a:pt x="2417" y="1369"/>
                  <a:pt x="2409" y="1427"/>
                </a:cubicBezTo>
                <a:cubicBezTo>
                  <a:pt x="2405" y="1459"/>
                  <a:pt x="2394" y="1509"/>
                  <a:pt x="2386" y="1537"/>
                </a:cubicBezTo>
                <a:cubicBezTo>
                  <a:pt x="2374" y="1577"/>
                  <a:pt x="2366" y="1587"/>
                  <a:pt x="2345" y="1584"/>
                </a:cubicBezTo>
                <a:cubicBezTo>
                  <a:pt x="2304" y="1578"/>
                  <a:pt x="2243" y="1616"/>
                  <a:pt x="2222" y="1662"/>
                </a:cubicBezTo>
                <a:cubicBezTo>
                  <a:pt x="2198" y="1711"/>
                  <a:pt x="2206" y="1753"/>
                  <a:pt x="2248" y="1803"/>
                </a:cubicBezTo>
                <a:lnTo>
                  <a:pt x="2278" y="1839"/>
                </a:lnTo>
                <a:lnTo>
                  <a:pt x="2218" y="1926"/>
                </a:lnTo>
                <a:cubicBezTo>
                  <a:pt x="2182" y="1978"/>
                  <a:pt x="2151" y="2010"/>
                  <a:pt x="2141" y="2007"/>
                </a:cubicBezTo>
                <a:cubicBezTo>
                  <a:pt x="2132" y="2004"/>
                  <a:pt x="2101" y="1999"/>
                  <a:pt x="2074" y="1997"/>
                </a:cubicBezTo>
                <a:cubicBezTo>
                  <a:pt x="1981" y="1987"/>
                  <a:pt x="1921" y="2072"/>
                  <a:pt x="1955" y="2163"/>
                </a:cubicBezTo>
                <a:cubicBezTo>
                  <a:pt x="1969" y="2197"/>
                  <a:pt x="1967" y="2202"/>
                  <a:pt x="1926" y="2237"/>
                </a:cubicBezTo>
                <a:cubicBezTo>
                  <a:pt x="1902" y="2258"/>
                  <a:pt x="1862" y="2286"/>
                  <a:pt x="1838" y="2298"/>
                </a:cubicBezTo>
                <a:lnTo>
                  <a:pt x="1794" y="2322"/>
                </a:lnTo>
                <a:lnTo>
                  <a:pt x="1755" y="2289"/>
                </a:lnTo>
                <a:cubicBezTo>
                  <a:pt x="1700" y="2243"/>
                  <a:pt x="1640" y="2245"/>
                  <a:pt x="1592" y="2293"/>
                </a:cubicBezTo>
                <a:cubicBezTo>
                  <a:pt x="1563" y="2321"/>
                  <a:pt x="1555" y="2341"/>
                  <a:pt x="1555" y="2379"/>
                </a:cubicBezTo>
                <a:cubicBezTo>
                  <a:pt x="1555" y="2429"/>
                  <a:pt x="1555" y="2429"/>
                  <a:pt x="1496" y="2442"/>
                </a:cubicBezTo>
                <a:cubicBezTo>
                  <a:pt x="1337" y="2475"/>
                  <a:pt x="1347" y="2476"/>
                  <a:pt x="1319" y="2421"/>
                </a:cubicBezTo>
                <a:cubicBezTo>
                  <a:pt x="1267" y="2320"/>
                  <a:pt x="1127" y="2332"/>
                  <a:pt x="1098" y="2441"/>
                </a:cubicBezTo>
                <a:cubicBezTo>
                  <a:pt x="1090" y="2468"/>
                  <a:pt x="1076" y="2472"/>
                  <a:pt x="1024" y="2460"/>
                </a:cubicBezTo>
                <a:close/>
                <a:moveTo>
                  <a:pt x="1529" y="2246"/>
                </a:moveTo>
                <a:cubicBezTo>
                  <a:pt x="1840" y="2131"/>
                  <a:pt x="2065" y="1915"/>
                  <a:pt x="2175" y="1622"/>
                </a:cubicBezTo>
                <a:cubicBezTo>
                  <a:pt x="2232" y="1473"/>
                  <a:pt x="2246" y="1379"/>
                  <a:pt x="2239" y="1201"/>
                </a:cubicBezTo>
                <a:cubicBezTo>
                  <a:pt x="2236" y="1106"/>
                  <a:pt x="2224" y="1007"/>
                  <a:pt x="2213" y="964"/>
                </a:cubicBezTo>
                <a:cubicBezTo>
                  <a:pt x="2128" y="662"/>
                  <a:pt x="1928" y="417"/>
                  <a:pt x="1661" y="287"/>
                </a:cubicBezTo>
                <a:cubicBezTo>
                  <a:pt x="1490" y="204"/>
                  <a:pt x="1416" y="188"/>
                  <a:pt x="1211" y="188"/>
                </a:cubicBezTo>
                <a:cubicBezTo>
                  <a:pt x="1009" y="189"/>
                  <a:pt x="931" y="206"/>
                  <a:pt x="772" y="282"/>
                </a:cubicBezTo>
                <a:cubicBezTo>
                  <a:pt x="410" y="456"/>
                  <a:pt x="180" y="827"/>
                  <a:pt x="180" y="1237"/>
                </a:cubicBezTo>
                <a:cubicBezTo>
                  <a:pt x="180" y="1728"/>
                  <a:pt x="494" y="2138"/>
                  <a:pt x="968" y="2268"/>
                </a:cubicBezTo>
                <a:cubicBezTo>
                  <a:pt x="1047" y="2290"/>
                  <a:pt x="1088" y="2293"/>
                  <a:pt x="1243" y="2289"/>
                </a:cubicBezTo>
                <a:cubicBezTo>
                  <a:pt x="1407" y="2284"/>
                  <a:pt x="1433" y="2280"/>
                  <a:pt x="1529" y="2246"/>
                </a:cubicBezTo>
                <a:close/>
                <a:moveTo>
                  <a:pt x="813" y="1960"/>
                </a:moveTo>
                <a:cubicBezTo>
                  <a:pt x="793" y="1955"/>
                  <a:pt x="804" y="1939"/>
                  <a:pt x="872" y="1870"/>
                </a:cubicBezTo>
                <a:lnTo>
                  <a:pt x="955" y="1787"/>
                </a:lnTo>
                <a:lnTo>
                  <a:pt x="870" y="1703"/>
                </a:lnTo>
                <a:lnTo>
                  <a:pt x="786" y="1619"/>
                </a:lnTo>
                <a:lnTo>
                  <a:pt x="699" y="1703"/>
                </a:lnTo>
                <a:lnTo>
                  <a:pt x="611" y="1787"/>
                </a:lnTo>
                <a:lnTo>
                  <a:pt x="608" y="1729"/>
                </a:lnTo>
                <a:cubicBezTo>
                  <a:pt x="599" y="1604"/>
                  <a:pt x="692" y="1506"/>
                  <a:pt x="817" y="1506"/>
                </a:cubicBezTo>
                <a:lnTo>
                  <a:pt x="887" y="1506"/>
                </a:lnTo>
                <a:lnTo>
                  <a:pt x="995" y="1402"/>
                </a:lnTo>
                <a:lnTo>
                  <a:pt x="1104" y="1298"/>
                </a:lnTo>
                <a:lnTo>
                  <a:pt x="946" y="1133"/>
                </a:lnTo>
                <a:lnTo>
                  <a:pt x="788" y="967"/>
                </a:lnTo>
                <a:lnTo>
                  <a:pt x="744" y="1012"/>
                </a:lnTo>
                <a:cubicBezTo>
                  <a:pt x="706" y="1050"/>
                  <a:pt x="701" y="1060"/>
                  <a:pt x="714" y="1080"/>
                </a:cubicBezTo>
                <a:cubicBezTo>
                  <a:pt x="726" y="1100"/>
                  <a:pt x="720" y="1111"/>
                  <a:pt x="669" y="1161"/>
                </a:cubicBezTo>
                <a:cubicBezTo>
                  <a:pt x="637" y="1193"/>
                  <a:pt x="605" y="1219"/>
                  <a:pt x="599" y="1219"/>
                </a:cubicBezTo>
                <a:cubicBezTo>
                  <a:pt x="592" y="1219"/>
                  <a:pt x="541" y="1171"/>
                  <a:pt x="485" y="1114"/>
                </a:cubicBezTo>
                <a:lnTo>
                  <a:pt x="383" y="1008"/>
                </a:lnTo>
                <a:lnTo>
                  <a:pt x="448" y="945"/>
                </a:lnTo>
                <a:cubicBezTo>
                  <a:pt x="505" y="888"/>
                  <a:pt x="514" y="883"/>
                  <a:pt x="531" y="900"/>
                </a:cubicBezTo>
                <a:cubicBezTo>
                  <a:pt x="548" y="917"/>
                  <a:pt x="555" y="913"/>
                  <a:pt x="599" y="869"/>
                </a:cubicBezTo>
                <a:cubicBezTo>
                  <a:pt x="643" y="823"/>
                  <a:pt x="646" y="817"/>
                  <a:pt x="626" y="803"/>
                </a:cubicBezTo>
                <a:cubicBezTo>
                  <a:pt x="607" y="789"/>
                  <a:pt x="612" y="780"/>
                  <a:pt x="684" y="708"/>
                </a:cubicBezTo>
                <a:cubicBezTo>
                  <a:pt x="755" y="638"/>
                  <a:pt x="766" y="631"/>
                  <a:pt x="783" y="648"/>
                </a:cubicBezTo>
                <a:cubicBezTo>
                  <a:pt x="799" y="665"/>
                  <a:pt x="808" y="660"/>
                  <a:pt x="863" y="604"/>
                </a:cubicBezTo>
                <a:cubicBezTo>
                  <a:pt x="955" y="508"/>
                  <a:pt x="1031" y="485"/>
                  <a:pt x="1124" y="524"/>
                </a:cubicBezTo>
                <a:cubicBezTo>
                  <a:pt x="1166" y="542"/>
                  <a:pt x="1293" y="650"/>
                  <a:pt x="1293" y="669"/>
                </a:cubicBezTo>
                <a:cubicBezTo>
                  <a:pt x="1293" y="674"/>
                  <a:pt x="1270" y="672"/>
                  <a:pt x="1243" y="664"/>
                </a:cubicBezTo>
                <a:cubicBezTo>
                  <a:pt x="1155" y="641"/>
                  <a:pt x="1088" y="668"/>
                  <a:pt x="993" y="765"/>
                </a:cubicBezTo>
                <a:cubicBezTo>
                  <a:pt x="948" y="811"/>
                  <a:pt x="922" y="841"/>
                  <a:pt x="934" y="831"/>
                </a:cubicBezTo>
                <a:cubicBezTo>
                  <a:pt x="954" y="816"/>
                  <a:pt x="971" y="829"/>
                  <a:pt x="1109" y="967"/>
                </a:cubicBezTo>
                <a:cubicBezTo>
                  <a:pt x="1193" y="1050"/>
                  <a:pt x="1267" y="1119"/>
                  <a:pt x="1273" y="1119"/>
                </a:cubicBezTo>
                <a:cubicBezTo>
                  <a:pt x="1280" y="1119"/>
                  <a:pt x="1331" y="1071"/>
                  <a:pt x="1387" y="1012"/>
                </a:cubicBezTo>
                <a:cubicBezTo>
                  <a:pt x="1484" y="911"/>
                  <a:pt x="1489" y="902"/>
                  <a:pt x="1491" y="848"/>
                </a:cubicBezTo>
                <a:cubicBezTo>
                  <a:pt x="1491" y="817"/>
                  <a:pt x="1495" y="779"/>
                  <a:pt x="1500" y="764"/>
                </a:cubicBezTo>
                <a:cubicBezTo>
                  <a:pt x="1514" y="717"/>
                  <a:pt x="1570" y="654"/>
                  <a:pt x="1613" y="636"/>
                </a:cubicBezTo>
                <a:cubicBezTo>
                  <a:pt x="1651" y="620"/>
                  <a:pt x="1768" y="611"/>
                  <a:pt x="1768" y="624"/>
                </a:cubicBezTo>
                <a:cubicBezTo>
                  <a:pt x="1768" y="628"/>
                  <a:pt x="1734" y="665"/>
                  <a:pt x="1693" y="707"/>
                </a:cubicBezTo>
                <a:cubicBezTo>
                  <a:pt x="1651" y="750"/>
                  <a:pt x="1618" y="791"/>
                  <a:pt x="1618" y="799"/>
                </a:cubicBezTo>
                <a:cubicBezTo>
                  <a:pt x="1618" y="814"/>
                  <a:pt x="1756" y="956"/>
                  <a:pt x="1770" y="956"/>
                </a:cubicBezTo>
                <a:cubicBezTo>
                  <a:pt x="1774" y="956"/>
                  <a:pt x="1813" y="923"/>
                  <a:pt x="1857" y="882"/>
                </a:cubicBezTo>
                <a:cubicBezTo>
                  <a:pt x="1945" y="801"/>
                  <a:pt x="1964" y="803"/>
                  <a:pt x="1949" y="894"/>
                </a:cubicBezTo>
                <a:cubicBezTo>
                  <a:pt x="1930" y="1004"/>
                  <a:pt x="1837" y="1081"/>
                  <a:pt x="1721" y="1081"/>
                </a:cubicBezTo>
                <a:cubicBezTo>
                  <a:pt x="1655" y="1081"/>
                  <a:pt x="1654" y="1082"/>
                  <a:pt x="1555" y="1180"/>
                </a:cubicBezTo>
                <a:cubicBezTo>
                  <a:pt x="1500" y="1234"/>
                  <a:pt x="1455" y="1283"/>
                  <a:pt x="1455" y="1290"/>
                </a:cubicBezTo>
                <a:cubicBezTo>
                  <a:pt x="1455" y="1296"/>
                  <a:pt x="1543" y="1385"/>
                  <a:pt x="1651" y="1488"/>
                </a:cubicBezTo>
                <a:cubicBezTo>
                  <a:pt x="1908" y="1733"/>
                  <a:pt x="1930" y="1754"/>
                  <a:pt x="1930" y="1762"/>
                </a:cubicBezTo>
                <a:cubicBezTo>
                  <a:pt x="1930" y="1766"/>
                  <a:pt x="1887" y="1812"/>
                  <a:pt x="1835" y="1865"/>
                </a:cubicBezTo>
                <a:lnTo>
                  <a:pt x="1740" y="1961"/>
                </a:lnTo>
                <a:lnTo>
                  <a:pt x="1670" y="1887"/>
                </a:lnTo>
                <a:cubicBezTo>
                  <a:pt x="1632" y="1846"/>
                  <a:pt x="1525" y="1735"/>
                  <a:pt x="1432" y="1640"/>
                </a:cubicBezTo>
                <a:lnTo>
                  <a:pt x="1263" y="1469"/>
                </a:lnTo>
                <a:lnTo>
                  <a:pt x="1166" y="1565"/>
                </a:lnTo>
                <a:cubicBezTo>
                  <a:pt x="1069" y="1662"/>
                  <a:pt x="1068" y="1663"/>
                  <a:pt x="1068" y="1729"/>
                </a:cubicBezTo>
                <a:cubicBezTo>
                  <a:pt x="1067" y="1837"/>
                  <a:pt x="1015" y="1917"/>
                  <a:pt x="922" y="1951"/>
                </a:cubicBezTo>
                <a:cubicBezTo>
                  <a:pt x="872" y="1968"/>
                  <a:pt x="852" y="1970"/>
                  <a:pt x="813" y="196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21" name="Freeform 17"/>
          <p:cNvSpPr>
            <a:spLocks noChangeAspect="1" noEditPoints="1"/>
          </p:cNvSpPr>
          <p:nvPr/>
        </p:nvSpPr>
        <p:spPr bwMode="auto">
          <a:xfrm>
            <a:off x="10887592" y="5603660"/>
            <a:ext cx="407571" cy="415143"/>
          </a:xfrm>
          <a:custGeom>
            <a:avLst/>
            <a:gdLst>
              <a:gd name="T0" fmla="*/ 3851 w 6145"/>
              <a:gd name="T1" fmla="*/ 4792 h 6265"/>
              <a:gd name="T2" fmla="*/ 2244 w 6145"/>
              <a:gd name="T3" fmla="*/ 3798 h 6265"/>
              <a:gd name="T4" fmla="*/ 841 w 6145"/>
              <a:gd name="T5" fmla="*/ 5662 h 6265"/>
              <a:gd name="T6" fmla="*/ 1048 w 6145"/>
              <a:gd name="T7" fmla="*/ 4142 h 6265"/>
              <a:gd name="T8" fmla="*/ 1995 w 6145"/>
              <a:gd name="T9" fmla="*/ 3341 h 6265"/>
              <a:gd name="T10" fmla="*/ 1881 w 6145"/>
              <a:gd name="T11" fmla="*/ 1913 h 6265"/>
              <a:gd name="T12" fmla="*/ 226 w 6145"/>
              <a:gd name="T13" fmla="*/ 887 h 6265"/>
              <a:gd name="T14" fmla="*/ 1621 w 6145"/>
              <a:gd name="T15" fmla="*/ 1342 h 6265"/>
              <a:gd name="T16" fmla="*/ 2798 w 6145"/>
              <a:gd name="T17" fmla="*/ 1930 h 6265"/>
              <a:gd name="T18" fmla="*/ 3947 w 6145"/>
              <a:gd name="T19" fmla="*/ 1682 h 6265"/>
              <a:gd name="T20" fmla="*/ 4466 w 6145"/>
              <a:gd name="T21" fmla="*/ 30 h 6265"/>
              <a:gd name="T22" fmla="*/ 4241 w 6145"/>
              <a:gd name="T23" fmla="*/ 1476 h 6265"/>
              <a:gd name="T24" fmla="*/ 4220 w 6145"/>
              <a:gd name="T25" fmla="*/ 3095 h 6265"/>
              <a:gd name="T26" fmla="*/ 5329 w 6145"/>
              <a:gd name="T27" fmla="*/ 2553 h 6265"/>
              <a:gd name="T28" fmla="*/ 4594 w 6145"/>
              <a:gd name="T29" fmla="*/ 3379 h 6265"/>
              <a:gd name="T30" fmla="*/ 4034 w 6145"/>
              <a:gd name="T31" fmla="*/ 3634 h 6265"/>
              <a:gd name="T32" fmla="*/ 3965 w 6145"/>
              <a:gd name="T33" fmla="*/ 4748 h 6265"/>
              <a:gd name="T34" fmla="*/ 4429 w 6145"/>
              <a:gd name="T35" fmla="*/ 6230 h 6265"/>
              <a:gd name="T36" fmla="*/ 3762 w 6145"/>
              <a:gd name="T37" fmla="*/ 5016 h 6265"/>
              <a:gd name="T38" fmla="*/ 4451 w 6145"/>
              <a:gd name="T39" fmla="*/ 5593 h 6265"/>
              <a:gd name="T40" fmla="*/ 3892 w 6145"/>
              <a:gd name="T41" fmla="*/ 5878 h 6265"/>
              <a:gd name="T42" fmla="*/ 4119 w 6145"/>
              <a:gd name="T43" fmla="*/ 5367 h 6265"/>
              <a:gd name="T44" fmla="*/ 968 w 6145"/>
              <a:gd name="T45" fmla="*/ 5537 h 6265"/>
              <a:gd name="T46" fmla="*/ 1175 w 6145"/>
              <a:gd name="T47" fmla="*/ 5312 h 6265"/>
              <a:gd name="T48" fmla="*/ 632 w 6145"/>
              <a:gd name="T49" fmla="*/ 4572 h 6265"/>
              <a:gd name="T50" fmla="*/ 3323 w 6145"/>
              <a:gd name="T51" fmla="*/ 3970 h 6265"/>
              <a:gd name="T52" fmla="*/ 3079 w 6145"/>
              <a:gd name="T53" fmla="*/ 2058 h 6265"/>
              <a:gd name="T54" fmla="*/ 2466 w 6145"/>
              <a:gd name="T55" fmla="*/ 3169 h 6265"/>
              <a:gd name="T56" fmla="*/ 3004 w 6145"/>
              <a:gd name="T57" fmla="*/ 3612 h 6265"/>
              <a:gd name="T58" fmla="*/ 2955 w 6145"/>
              <a:gd name="T59" fmla="*/ 3050 h 6265"/>
              <a:gd name="T60" fmla="*/ 2872 w 6145"/>
              <a:gd name="T61" fmla="*/ 3235 h 6265"/>
              <a:gd name="T62" fmla="*/ 2616 w 6145"/>
              <a:gd name="T63" fmla="*/ 2781 h 6265"/>
              <a:gd name="T64" fmla="*/ 2698 w 6145"/>
              <a:gd name="T65" fmla="*/ 2875 h 6265"/>
              <a:gd name="T66" fmla="*/ 3741 w 6145"/>
              <a:gd name="T67" fmla="*/ 3019 h 6265"/>
              <a:gd name="T68" fmla="*/ 3466 w 6145"/>
              <a:gd name="T69" fmla="*/ 3419 h 6265"/>
              <a:gd name="T70" fmla="*/ 3316 w 6145"/>
              <a:gd name="T71" fmla="*/ 3512 h 6265"/>
              <a:gd name="T72" fmla="*/ 3254 w 6145"/>
              <a:gd name="T73" fmla="*/ 3050 h 6265"/>
              <a:gd name="T74" fmla="*/ 3179 w 6145"/>
              <a:gd name="T75" fmla="*/ 3237 h 6265"/>
              <a:gd name="T76" fmla="*/ 3604 w 6145"/>
              <a:gd name="T77" fmla="*/ 3050 h 6265"/>
              <a:gd name="T78" fmla="*/ 3679 w 6145"/>
              <a:gd name="T79" fmla="*/ 3237 h 6265"/>
              <a:gd name="T80" fmla="*/ 3529 w 6145"/>
              <a:gd name="T81" fmla="*/ 2775 h 6265"/>
              <a:gd name="T82" fmla="*/ 3679 w 6145"/>
              <a:gd name="T83" fmla="*/ 2869 h 6265"/>
              <a:gd name="T84" fmla="*/ 3104 w 6145"/>
              <a:gd name="T85" fmla="*/ 2600 h 6265"/>
              <a:gd name="T86" fmla="*/ 5541 w 6145"/>
              <a:gd name="T87" fmla="*/ 3954 h 6265"/>
              <a:gd name="T88" fmla="*/ 5013 w 6145"/>
              <a:gd name="T89" fmla="*/ 3874 h 6265"/>
              <a:gd name="T90" fmla="*/ 5697 w 6145"/>
              <a:gd name="T91" fmla="*/ 3703 h 6265"/>
              <a:gd name="T92" fmla="*/ 5271 w 6145"/>
              <a:gd name="T93" fmla="*/ 3207 h 6265"/>
              <a:gd name="T94" fmla="*/ 5271 w 6145"/>
              <a:gd name="T95" fmla="*/ 3207 h 6265"/>
              <a:gd name="T96" fmla="*/ 642 w 6145"/>
              <a:gd name="T97" fmla="*/ 1423 h 6265"/>
              <a:gd name="T98" fmla="*/ 1267 w 6145"/>
              <a:gd name="T99" fmla="*/ 1039 h 6265"/>
              <a:gd name="T100" fmla="*/ 673 w 6145"/>
              <a:gd name="T101" fmla="*/ 1253 h 6265"/>
              <a:gd name="T102" fmla="*/ 894 w 6145"/>
              <a:gd name="T103" fmla="*/ 754 h 6265"/>
              <a:gd name="T104" fmla="*/ 4003 w 6145"/>
              <a:gd name="T105" fmla="*/ 886 h 6265"/>
              <a:gd name="T106" fmla="*/ 4587 w 6145"/>
              <a:gd name="T107" fmla="*/ 777 h 6265"/>
              <a:gd name="T108" fmla="*/ 4316 w 6145"/>
              <a:gd name="T109" fmla="*/ 1206 h 6265"/>
              <a:gd name="T110" fmla="*/ 4661 w 6145"/>
              <a:gd name="T111" fmla="*/ 685 h 6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145" h="6265">
                <a:moveTo>
                  <a:pt x="4081" y="6249"/>
                </a:moveTo>
                <a:cubicBezTo>
                  <a:pt x="3861" y="6210"/>
                  <a:pt x="3634" y="6047"/>
                  <a:pt x="3533" y="5856"/>
                </a:cubicBezTo>
                <a:cubicBezTo>
                  <a:pt x="3465" y="5727"/>
                  <a:pt x="3438" y="5603"/>
                  <a:pt x="3444" y="5450"/>
                </a:cubicBezTo>
                <a:cubicBezTo>
                  <a:pt x="3456" y="5188"/>
                  <a:pt x="3583" y="4962"/>
                  <a:pt x="3796" y="4828"/>
                </a:cubicBezTo>
                <a:lnTo>
                  <a:pt x="3851" y="4792"/>
                </a:lnTo>
                <a:lnTo>
                  <a:pt x="3683" y="4437"/>
                </a:lnTo>
                <a:cubicBezTo>
                  <a:pt x="3591" y="4242"/>
                  <a:pt x="3514" y="4081"/>
                  <a:pt x="3512" y="4079"/>
                </a:cubicBezTo>
                <a:cubicBezTo>
                  <a:pt x="3510" y="4077"/>
                  <a:pt x="3467" y="4089"/>
                  <a:pt x="3415" y="4106"/>
                </a:cubicBezTo>
                <a:cubicBezTo>
                  <a:pt x="3041" y="4225"/>
                  <a:pt x="2632" y="4133"/>
                  <a:pt x="2314" y="3859"/>
                </a:cubicBezTo>
                <a:lnTo>
                  <a:pt x="2244" y="3798"/>
                </a:lnTo>
                <a:lnTo>
                  <a:pt x="1883" y="4095"/>
                </a:lnTo>
                <a:cubicBezTo>
                  <a:pt x="1685" y="4257"/>
                  <a:pt x="1513" y="4400"/>
                  <a:pt x="1500" y="4412"/>
                </a:cubicBezTo>
                <a:cubicBezTo>
                  <a:pt x="1479" y="4432"/>
                  <a:pt x="1480" y="4437"/>
                  <a:pt x="1528" y="4531"/>
                </a:cubicBezTo>
                <a:cubicBezTo>
                  <a:pt x="1725" y="4917"/>
                  <a:pt x="1577" y="5391"/>
                  <a:pt x="1200" y="5580"/>
                </a:cubicBezTo>
                <a:cubicBezTo>
                  <a:pt x="1078" y="5641"/>
                  <a:pt x="984" y="5662"/>
                  <a:pt x="841" y="5662"/>
                </a:cubicBezTo>
                <a:cubicBezTo>
                  <a:pt x="700" y="5662"/>
                  <a:pt x="605" y="5641"/>
                  <a:pt x="484" y="5581"/>
                </a:cubicBezTo>
                <a:cubicBezTo>
                  <a:pt x="165" y="5421"/>
                  <a:pt x="0" y="5050"/>
                  <a:pt x="91" y="4695"/>
                </a:cubicBezTo>
                <a:cubicBezTo>
                  <a:pt x="127" y="4554"/>
                  <a:pt x="183" y="4458"/>
                  <a:pt x="291" y="4349"/>
                </a:cubicBezTo>
                <a:cubicBezTo>
                  <a:pt x="392" y="4248"/>
                  <a:pt x="502" y="4182"/>
                  <a:pt x="635" y="4142"/>
                </a:cubicBezTo>
                <a:cubicBezTo>
                  <a:pt x="738" y="4112"/>
                  <a:pt x="945" y="4112"/>
                  <a:pt x="1048" y="4142"/>
                </a:cubicBezTo>
                <a:cubicBezTo>
                  <a:pt x="1144" y="4171"/>
                  <a:pt x="1275" y="4240"/>
                  <a:pt x="1341" y="4296"/>
                </a:cubicBezTo>
                <a:cubicBezTo>
                  <a:pt x="1387" y="4336"/>
                  <a:pt x="1395" y="4338"/>
                  <a:pt x="1414" y="4322"/>
                </a:cubicBezTo>
                <a:cubicBezTo>
                  <a:pt x="1433" y="4306"/>
                  <a:pt x="2152" y="3714"/>
                  <a:pt x="2165" y="3704"/>
                </a:cubicBezTo>
                <a:cubicBezTo>
                  <a:pt x="2168" y="3702"/>
                  <a:pt x="2156" y="3679"/>
                  <a:pt x="2138" y="3652"/>
                </a:cubicBezTo>
                <a:cubicBezTo>
                  <a:pt x="2082" y="3568"/>
                  <a:pt x="2030" y="3454"/>
                  <a:pt x="1995" y="3341"/>
                </a:cubicBezTo>
                <a:cubicBezTo>
                  <a:pt x="1965" y="3242"/>
                  <a:pt x="1962" y="3212"/>
                  <a:pt x="1961" y="3031"/>
                </a:cubicBezTo>
                <a:cubicBezTo>
                  <a:pt x="1960" y="2859"/>
                  <a:pt x="1964" y="2817"/>
                  <a:pt x="1989" y="2731"/>
                </a:cubicBezTo>
                <a:cubicBezTo>
                  <a:pt x="2023" y="2610"/>
                  <a:pt x="2112" y="2429"/>
                  <a:pt x="2177" y="2344"/>
                </a:cubicBezTo>
                <a:lnTo>
                  <a:pt x="2225" y="2282"/>
                </a:lnTo>
                <a:lnTo>
                  <a:pt x="1881" y="1913"/>
                </a:lnTo>
                <a:cubicBezTo>
                  <a:pt x="1693" y="1710"/>
                  <a:pt x="1526" y="1531"/>
                  <a:pt x="1510" y="1515"/>
                </a:cubicBezTo>
                <a:lnTo>
                  <a:pt x="1483" y="1486"/>
                </a:lnTo>
                <a:lnTo>
                  <a:pt x="1426" y="1524"/>
                </a:lnTo>
                <a:cubicBezTo>
                  <a:pt x="1304" y="1606"/>
                  <a:pt x="1156" y="1650"/>
                  <a:pt x="998" y="1650"/>
                </a:cubicBezTo>
                <a:cubicBezTo>
                  <a:pt x="569" y="1650"/>
                  <a:pt x="230" y="1315"/>
                  <a:pt x="226" y="887"/>
                </a:cubicBezTo>
                <a:cubicBezTo>
                  <a:pt x="224" y="742"/>
                  <a:pt x="242" y="661"/>
                  <a:pt x="304" y="531"/>
                </a:cubicBezTo>
                <a:cubicBezTo>
                  <a:pt x="425" y="277"/>
                  <a:pt x="670" y="117"/>
                  <a:pt x="960" y="103"/>
                </a:cubicBezTo>
                <a:cubicBezTo>
                  <a:pt x="1194" y="92"/>
                  <a:pt x="1379" y="162"/>
                  <a:pt x="1541" y="323"/>
                </a:cubicBezTo>
                <a:cubicBezTo>
                  <a:pt x="1702" y="484"/>
                  <a:pt x="1771" y="649"/>
                  <a:pt x="1771" y="875"/>
                </a:cubicBezTo>
                <a:cubicBezTo>
                  <a:pt x="1772" y="1058"/>
                  <a:pt x="1729" y="1189"/>
                  <a:pt x="1621" y="1342"/>
                </a:cubicBezTo>
                <a:lnTo>
                  <a:pt x="1577" y="1402"/>
                </a:lnTo>
                <a:lnTo>
                  <a:pt x="1631" y="1460"/>
                </a:lnTo>
                <a:cubicBezTo>
                  <a:pt x="1859" y="1707"/>
                  <a:pt x="2309" y="2187"/>
                  <a:pt x="2311" y="2187"/>
                </a:cubicBezTo>
                <a:cubicBezTo>
                  <a:pt x="2313" y="2187"/>
                  <a:pt x="2353" y="2158"/>
                  <a:pt x="2400" y="2123"/>
                </a:cubicBezTo>
                <a:cubicBezTo>
                  <a:pt x="2500" y="2047"/>
                  <a:pt x="2674" y="1963"/>
                  <a:pt x="2798" y="1930"/>
                </a:cubicBezTo>
                <a:cubicBezTo>
                  <a:pt x="2866" y="1911"/>
                  <a:pt x="2929" y="1906"/>
                  <a:pt x="3085" y="1906"/>
                </a:cubicBezTo>
                <a:cubicBezTo>
                  <a:pt x="3314" y="1906"/>
                  <a:pt x="3409" y="1927"/>
                  <a:pt x="3582" y="2012"/>
                </a:cubicBezTo>
                <a:lnTo>
                  <a:pt x="3680" y="2060"/>
                </a:lnTo>
                <a:lnTo>
                  <a:pt x="3709" y="2020"/>
                </a:lnTo>
                <a:cubicBezTo>
                  <a:pt x="3725" y="1999"/>
                  <a:pt x="3832" y="1847"/>
                  <a:pt x="3947" y="1682"/>
                </a:cubicBezTo>
                <a:lnTo>
                  <a:pt x="4156" y="1383"/>
                </a:lnTo>
                <a:lnTo>
                  <a:pt x="4120" y="1351"/>
                </a:lnTo>
                <a:cubicBezTo>
                  <a:pt x="4023" y="1267"/>
                  <a:pt x="3936" y="1118"/>
                  <a:pt x="3898" y="969"/>
                </a:cubicBezTo>
                <a:cubicBezTo>
                  <a:pt x="3874" y="874"/>
                  <a:pt x="3873" y="689"/>
                  <a:pt x="3898" y="593"/>
                </a:cubicBezTo>
                <a:cubicBezTo>
                  <a:pt x="3968" y="318"/>
                  <a:pt x="4188" y="100"/>
                  <a:pt x="4466" y="30"/>
                </a:cubicBezTo>
                <a:cubicBezTo>
                  <a:pt x="4586" y="0"/>
                  <a:pt x="4795" y="10"/>
                  <a:pt x="4912" y="52"/>
                </a:cubicBezTo>
                <a:cubicBezTo>
                  <a:pt x="5382" y="220"/>
                  <a:pt x="5572" y="781"/>
                  <a:pt x="5303" y="1206"/>
                </a:cubicBezTo>
                <a:cubicBezTo>
                  <a:pt x="5172" y="1414"/>
                  <a:pt x="4905" y="1561"/>
                  <a:pt x="4658" y="1562"/>
                </a:cubicBezTo>
                <a:cubicBezTo>
                  <a:pt x="4564" y="1563"/>
                  <a:pt x="4422" y="1532"/>
                  <a:pt x="4331" y="1493"/>
                </a:cubicBezTo>
                <a:cubicBezTo>
                  <a:pt x="4264" y="1464"/>
                  <a:pt x="4249" y="1461"/>
                  <a:pt x="4241" y="1476"/>
                </a:cubicBezTo>
                <a:cubicBezTo>
                  <a:pt x="4235" y="1486"/>
                  <a:pt x="4130" y="1637"/>
                  <a:pt x="4007" y="1812"/>
                </a:cubicBezTo>
                <a:lnTo>
                  <a:pt x="3783" y="2130"/>
                </a:lnTo>
                <a:lnTo>
                  <a:pt x="3872" y="2218"/>
                </a:lnTo>
                <a:cubicBezTo>
                  <a:pt x="4078" y="2422"/>
                  <a:pt x="4189" y="2672"/>
                  <a:pt x="4212" y="2982"/>
                </a:cubicBezTo>
                <a:lnTo>
                  <a:pt x="4220" y="3095"/>
                </a:lnTo>
                <a:lnTo>
                  <a:pt x="4378" y="3118"/>
                </a:lnTo>
                <a:cubicBezTo>
                  <a:pt x="4464" y="3130"/>
                  <a:pt x="4553" y="3143"/>
                  <a:pt x="4574" y="3146"/>
                </a:cubicBezTo>
                <a:cubicBezTo>
                  <a:pt x="4611" y="3152"/>
                  <a:pt x="4614" y="3150"/>
                  <a:pt x="4622" y="3108"/>
                </a:cubicBezTo>
                <a:cubicBezTo>
                  <a:pt x="4638" y="3021"/>
                  <a:pt x="4727" y="2866"/>
                  <a:pt x="4808" y="2784"/>
                </a:cubicBezTo>
                <a:cubicBezTo>
                  <a:pt x="4958" y="2632"/>
                  <a:pt x="5115" y="2563"/>
                  <a:pt x="5329" y="2553"/>
                </a:cubicBezTo>
                <a:cubicBezTo>
                  <a:pt x="5658" y="2539"/>
                  <a:pt x="5922" y="2693"/>
                  <a:pt x="6066" y="2984"/>
                </a:cubicBezTo>
                <a:cubicBezTo>
                  <a:pt x="6125" y="3103"/>
                  <a:pt x="6145" y="3209"/>
                  <a:pt x="6138" y="3362"/>
                </a:cubicBezTo>
                <a:cubicBezTo>
                  <a:pt x="6129" y="3566"/>
                  <a:pt x="6057" y="3732"/>
                  <a:pt x="5915" y="3873"/>
                </a:cubicBezTo>
                <a:cubicBezTo>
                  <a:pt x="5620" y="4168"/>
                  <a:pt x="5139" y="4174"/>
                  <a:pt x="4835" y="3886"/>
                </a:cubicBezTo>
                <a:cubicBezTo>
                  <a:pt x="4688" y="3746"/>
                  <a:pt x="4611" y="3584"/>
                  <a:pt x="4594" y="3379"/>
                </a:cubicBezTo>
                <a:lnTo>
                  <a:pt x="4585" y="3269"/>
                </a:lnTo>
                <a:lnTo>
                  <a:pt x="4398" y="3241"/>
                </a:lnTo>
                <a:cubicBezTo>
                  <a:pt x="4295" y="3226"/>
                  <a:pt x="4207" y="3218"/>
                  <a:pt x="4203" y="3222"/>
                </a:cubicBezTo>
                <a:cubicBezTo>
                  <a:pt x="4198" y="3227"/>
                  <a:pt x="4188" y="3259"/>
                  <a:pt x="4180" y="3294"/>
                </a:cubicBezTo>
                <a:cubicBezTo>
                  <a:pt x="4154" y="3400"/>
                  <a:pt x="4097" y="3533"/>
                  <a:pt x="4034" y="3634"/>
                </a:cubicBezTo>
                <a:cubicBezTo>
                  <a:pt x="3961" y="3752"/>
                  <a:pt x="3813" y="3903"/>
                  <a:pt x="3707" y="3968"/>
                </a:cubicBezTo>
                <a:cubicBezTo>
                  <a:pt x="3664" y="3994"/>
                  <a:pt x="3629" y="4021"/>
                  <a:pt x="3629" y="4026"/>
                </a:cubicBezTo>
                <a:cubicBezTo>
                  <a:pt x="3629" y="4032"/>
                  <a:pt x="3680" y="4145"/>
                  <a:pt x="3743" y="4278"/>
                </a:cubicBezTo>
                <a:cubicBezTo>
                  <a:pt x="3806" y="4410"/>
                  <a:pt x="3881" y="4570"/>
                  <a:pt x="3911" y="4633"/>
                </a:cubicBezTo>
                <a:lnTo>
                  <a:pt x="3965" y="4748"/>
                </a:lnTo>
                <a:lnTo>
                  <a:pt x="4025" y="4729"/>
                </a:lnTo>
                <a:cubicBezTo>
                  <a:pt x="4119" y="4700"/>
                  <a:pt x="4327" y="4704"/>
                  <a:pt x="4435" y="4737"/>
                </a:cubicBezTo>
                <a:cubicBezTo>
                  <a:pt x="4787" y="4847"/>
                  <a:pt x="5011" y="5168"/>
                  <a:pt x="4988" y="5530"/>
                </a:cubicBezTo>
                <a:cubicBezTo>
                  <a:pt x="4975" y="5735"/>
                  <a:pt x="4906" y="5888"/>
                  <a:pt x="4761" y="6032"/>
                </a:cubicBezTo>
                <a:cubicBezTo>
                  <a:pt x="4667" y="6125"/>
                  <a:pt x="4552" y="6194"/>
                  <a:pt x="4429" y="6230"/>
                </a:cubicBezTo>
                <a:cubicBezTo>
                  <a:pt x="4343" y="6256"/>
                  <a:pt x="4169" y="6265"/>
                  <a:pt x="4081" y="6249"/>
                </a:cubicBezTo>
                <a:close/>
                <a:moveTo>
                  <a:pt x="4370" y="6119"/>
                </a:moveTo>
                <a:cubicBezTo>
                  <a:pt x="4710" y="6030"/>
                  <a:pt x="4930" y="5692"/>
                  <a:pt x="4861" y="5362"/>
                </a:cubicBezTo>
                <a:cubicBezTo>
                  <a:pt x="4833" y="5225"/>
                  <a:pt x="4777" y="5122"/>
                  <a:pt x="4679" y="5024"/>
                </a:cubicBezTo>
                <a:cubicBezTo>
                  <a:pt x="4420" y="4765"/>
                  <a:pt x="4019" y="4762"/>
                  <a:pt x="3762" y="5016"/>
                </a:cubicBezTo>
                <a:cubicBezTo>
                  <a:pt x="3624" y="5152"/>
                  <a:pt x="3562" y="5300"/>
                  <a:pt x="3562" y="5487"/>
                </a:cubicBezTo>
                <a:cubicBezTo>
                  <a:pt x="3563" y="5904"/>
                  <a:pt x="3971" y="6223"/>
                  <a:pt x="4370" y="6119"/>
                </a:cubicBezTo>
                <a:close/>
                <a:moveTo>
                  <a:pt x="3892" y="5878"/>
                </a:moveTo>
                <a:cubicBezTo>
                  <a:pt x="3892" y="5793"/>
                  <a:pt x="3953" y="5633"/>
                  <a:pt x="4010" y="5565"/>
                </a:cubicBezTo>
                <a:cubicBezTo>
                  <a:pt x="4126" y="5428"/>
                  <a:pt x="4349" y="5442"/>
                  <a:pt x="4451" y="5593"/>
                </a:cubicBezTo>
                <a:cubicBezTo>
                  <a:pt x="4490" y="5651"/>
                  <a:pt x="4531" y="5767"/>
                  <a:pt x="4547" y="5866"/>
                </a:cubicBezTo>
                <a:lnTo>
                  <a:pt x="4555" y="5912"/>
                </a:lnTo>
                <a:lnTo>
                  <a:pt x="4223" y="5912"/>
                </a:lnTo>
                <a:lnTo>
                  <a:pt x="3891" y="5912"/>
                </a:lnTo>
                <a:lnTo>
                  <a:pt x="3892" y="5878"/>
                </a:lnTo>
                <a:close/>
                <a:moveTo>
                  <a:pt x="4119" y="5367"/>
                </a:moveTo>
                <a:cubicBezTo>
                  <a:pt x="3981" y="5297"/>
                  <a:pt x="3964" y="5097"/>
                  <a:pt x="4088" y="5003"/>
                </a:cubicBezTo>
                <a:cubicBezTo>
                  <a:pt x="4144" y="4960"/>
                  <a:pt x="4244" y="4950"/>
                  <a:pt x="4309" y="4982"/>
                </a:cubicBezTo>
                <a:cubicBezTo>
                  <a:pt x="4451" y="5049"/>
                  <a:pt x="4471" y="5251"/>
                  <a:pt x="4345" y="5347"/>
                </a:cubicBezTo>
                <a:cubicBezTo>
                  <a:pt x="4289" y="5389"/>
                  <a:pt x="4181" y="5399"/>
                  <a:pt x="4119" y="5367"/>
                </a:cubicBezTo>
                <a:close/>
                <a:moveTo>
                  <a:pt x="968" y="5537"/>
                </a:moveTo>
                <a:cubicBezTo>
                  <a:pt x="1060" y="5520"/>
                  <a:pt x="1201" y="5449"/>
                  <a:pt x="1277" y="5380"/>
                </a:cubicBezTo>
                <a:cubicBezTo>
                  <a:pt x="1668" y="5029"/>
                  <a:pt x="1509" y="4388"/>
                  <a:pt x="998" y="4257"/>
                </a:cubicBezTo>
                <a:cubicBezTo>
                  <a:pt x="592" y="4152"/>
                  <a:pt x="187" y="4471"/>
                  <a:pt x="187" y="4894"/>
                </a:cubicBezTo>
                <a:cubicBezTo>
                  <a:pt x="187" y="5303"/>
                  <a:pt x="563" y="5613"/>
                  <a:pt x="968" y="5537"/>
                </a:cubicBezTo>
                <a:close/>
                <a:moveTo>
                  <a:pt x="516" y="5277"/>
                </a:moveTo>
                <a:cubicBezTo>
                  <a:pt x="516" y="5230"/>
                  <a:pt x="550" y="5119"/>
                  <a:pt x="586" y="5049"/>
                </a:cubicBezTo>
                <a:cubicBezTo>
                  <a:pt x="664" y="4894"/>
                  <a:pt x="832" y="4835"/>
                  <a:pt x="978" y="4911"/>
                </a:cubicBezTo>
                <a:cubicBezTo>
                  <a:pt x="1064" y="4955"/>
                  <a:pt x="1140" y="5091"/>
                  <a:pt x="1164" y="5244"/>
                </a:cubicBezTo>
                <a:lnTo>
                  <a:pt x="1175" y="5312"/>
                </a:lnTo>
                <a:lnTo>
                  <a:pt x="846" y="5312"/>
                </a:lnTo>
                <a:lnTo>
                  <a:pt x="516" y="5312"/>
                </a:lnTo>
                <a:lnTo>
                  <a:pt x="516" y="5277"/>
                </a:lnTo>
                <a:close/>
                <a:moveTo>
                  <a:pt x="741" y="4772"/>
                </a:moveTo>
                <a:cubicBezTo>
                  <a:pt x="661" y="4729"/>
                  <a:pt x="627" y="4665"/>
                  <a:pt x="632" y="4572"/>
                </a:cubicBezTo>
                <a:cubicBezTo>
                  <a:pt x="640" y="4449"/>
                  <a:pt x="719" y="4375"/>
                  <a:pt x="841" y="4375"/>
                </a:cubicBezTo>
                <a:cubicBezTo>
                  <a:pt x="961" y="4375"/>
                  <a:pt x="1041" y="4448"/>
                  <a:pt x="1051" y="4566"/>
                </a:cubicBezTo>
                <a:cubicBezTo>
                  <a:pt x="1061" y="4691"/>
                  <a:pt x="986" y="4781"/>
                  <a:pt x="858" y="4795"/>
                </a:cubicBezTo>
                <a:cubicBezTo>
                  <a:pt x="810" y="4801"/>
                  <a:pt x="787" y="4796"/>
                  <a:pt x="741" y="4772"/>
                </a:cubicBezTo>
                <a:close/>
                <a:moveTo>
                  <a:pt x="3323" y="3970"/>
                </a:moveTo>
                <a:cubicBezTo>
                  <a:pt x="3431" y="3941"/>
                  <a:pt x="3611" y="3849"/>
                  <a:pt x="3696" y="3777"/>
                </a:cubicBezTo>
                <a:cubicBezTo>
                  <a:pt x="3845" y="3654"/>
                  <a:pt x="3957" y="3483"/>
                  <a:pt x="4018" y="3287"/>
                </a:cubicBezTo>
                <a:cubicBezTo>
                  <a:pt x="4061" y="3152"/>
                  <a:pt x="4061" y="2899"/>
                  <a:pt x="4018" y="2762"/>
                </a:cubicBezTo>
                <a:cubicBezTo>
                  <a:pt x="3971" y="2611"/>
                  <a:pt x="3898" y="2484"/>
                  <a:pt x="3793" y="2373"/>
                </a:cubicBezTo>
                <a:cubicBezTo>
                  <a:pt x="3588" y="2154"/>
                  <a:pt x="3369" y="2057"/>
                  <a:pt x="3079" y="2058"/>
                </a:cubicBezTo>
                <a:cubicBezTo>
                  <a:pt x="2926" y="2058"/>
                  <a:pt x="2836" y="2076"/>
                  <a:pt x="2698" y="2134"/>
                </a:cubicBezTo>
                <a:cubicBezTo>
                  <a:pt x="2312" y="2296"/>
                  <a:pt x="2059" y="2735"/>
                  <a:pt x="2115" y="3142"/>
                </a:cubicBezTo>
                <a:cubicBezTo>
                  <a:pt x="2177" y="3581"/>
                  <a:pt x="2510" y="3922"/>
                  <a:pt x="2948" y="3992"/>
                </a:cubicBezTo>
                <a:cubicBezTo>
                  <a:pt x="3018" y="4003"/>
                  <a:pt x="3247" y="3989"/>
                  <a:pt x="3323" y="3970"/>
                </a:cubicBezTo>
                <a:close/>
                <a:moveTo>
                  <a:pt x="2466" y="3169"/>
                </a:moveTo>
                <a:lnTo>
                  <a:pt x="2466" y="2725"/>
                </a:lnTo>
                <a:lnTo>
                  <a:pt x="2735" y="2725"/>
                </a:lnTo>
                <a:lnTo>
                  <a:pt x="3004" y="2725"/>
                </a:lnTo>
                <a:lnTo>
                  <a:pt x="3004" y="3169"/>
                </a:lnTo>
                <a:lnTo>
                  <a:pt x="3004" y="3612"/>
                </a:lnTo>
                <a:lnTo>
                  <a:pt x="2735" y="3612"/>
                </a:lnTo>
                <a:lnTo>
                  <a:pt x="2466" y="3612"/>
                </a:lnTo>
                <a:lnTo>
                  <a:pt x="2466" y="3169"/>
                </a:lnTo>
                <a:close/>
                <a:moveTo>
                  <a:pt x="2951" y="3141"/>
                </a:moveTo>
                <a:lnTo>
                  <a:pt x="2955" y="3050"/>
                </a:lnTo>
                <a:lnTo>
                  <a:pt x="2867" y="3050"/>
                </a:lnTo>
                <a:lnTo>
                  <a:pt x="2779" y="3050"/>
                </a:lnTo>
                <a:lnTo>
                  <a:pt x="2779" y="3135"/>
                </a:lnTo>
                <a:cubicBezTo>
                  <a:pt x="2779" y="3182"/>
                  <a:pt x="2783" y="3225"/>
                  <a:pt x="2788" y="3230"/>
                </a:cubicBezTo>
                <a:cubicBezTo>
                  <a:pt x="2793" y="3235"/>
                  <a:pt x="2831" y="3237"/>
                  <a:pt x="2872" y="3235"/>
                </a:cubicBezTo>
                <a:lnTo>
                  <a:pt x="2948" y="3231"/>
                </a:lnTo>
                <a:lnTo>
                  <a:pt x="2951" y="3141"/>
                </a:lnTo>
                <a:close/>
                <a:moveTo>
                  <a:pt x="2698" y="2875"/>
                </a:moveTo>
                <a:lnTo>
                  <a:pt x="2698" y="2781"/>
                </a:lnTo>
                <a:lnTo>
                  <a:pt x="2616" y="2781"/>
                </a:lnTo>
                <a:lnTo>
                  <a:pt x="2535" y="2781"/>
                </a:lnTo>
                <a:lnTo>
                  <a:pt x="2531" y="2861"/>
                </a:lnTo>
                <a:cubicBezTo>
                  <a:pt x="2526" y="2975"/>
                  <a:pt x="2527" y="2977"/>
                  <a:pt x="2619" y="2972"/>
                </a:cubicBezTo>
                <a:lnTo>
                  <a:pt x="2698" y="2969"/>
                </a:lnTo>
                <a:lnTo>
                  <a:pt x="2698" y="2875"/>
                </a:lnTo>
                <a:close/>
                <a:moveTo>
                  <a:pt x="3041" y="3019"/>
                </a:moveTo>
                <a:lnTo>
                  <a:pt x="3041" y="2425"/>
                </a:lnTo>
                <a:lnTo>
                  <a:pt x="3391" y="2425"/>
                </a:lnTo>
                <a:lnTo>
                  <a:pt x="3741" y="2425"/>
                </a:lnTo>
                <a:lnTo>
                  <a:pt x="3741" y="3019"/>
                </a:lnTo>
                <a:lnTo>
                  <a:pt x="3741" y="3612"/>
                </a:lnTo>
                <a:lnTo>
                  <a:pt x="3391" y="3612"/>
                </a:lnTo>
                <a:lnTo>
                  <a:pt x="3041" y="3612"/>
                </a:lnTo>
                <a:lnTo>
                  <a:pt x="3041" y="3019"/>
                </a:lnTo>
                <a:close/>
                <a:moveTo>
                  <a:pt x="3466" y="3419"/>
                </a:moveTo>
                <a:lnTo>
                  <a:pt x="3466" y="3325"/>
                </a:lnTo>
                <a:lnTo>
                  <a:pt x="3391" y="3325"/>
                </a:lnTo>
                <a:lnTo>
                  <a:pt x="3316" y="3325"/>
                </a:lnTo>
                <a:lnTo>
                  <a:pt x="3316" y="3419"/>
                </a:lnTo>
                <a:lnTo>
                  <a:pt x="3316" y="3512"/>
                </a:lnTo>
                <a:lnTo>
                  <a:pt x="3391" y="3512"/>
                </a:lnTo>
                <a:lnTo>
                  <a:pt x="3466" y="3512"/>
                </a:lnTo>
                <a:lnTo>
                  <a:pt x="3466" y="3419"/>
                </a:lnTo>
                <a:close/>
                <a:moveTo>
                  <a:pt x="3254" y="3144"/>
                </a:moveTo>
                <a:lnTo>
                  <a:pt x="3254" y="3050"/>
                </a:lnTo>
                <a:lnTo>
                  <a:pt x="3179" y="3050"/>
                </a:lnTo>
                <a:lnTo>
                  <a:pt x="3104" y="3050"/>
                </a:lnTo>
                <a:lnTo>
                  <a:pt x="3104" y="3144"/>
                </a:lnTo>
                <a:lnTo>
                  <a:pt x="3104" y="3237"/>
                </a:lnTo>
                <a:lnTo>
                  <a:pt x="3179" y="3237"/>
                </a:lnTo>
                <a:lnTo>
                  <a:pt x="3254" y="3237"/>
                </a:lnTo>
                <a:lnTo>
                  <a:pt x="3254" y="3144"/>
                </a:lnTo>
                <a:close/>
                <a:moveTo>
                  <a:pt x="3679" y="3144"/>
                </a:moveTo>
                <a:lnTo>
                  <a:pt x="3679" y="3050"/>
                </a:lnTo>
                <a:lnTo>
                  <a:pt x="3604" y="3050"/>
                </a:lnTo>
                <a:lnTo>
                  <a:pt x="3529" y="3050"/>
                </a:lnTo>
                <a:lnTo>
                  <a:pt x="3529" y="3144"/>
                </a:lnTo>
                <a:lnTo>
                  <a:pt x="3529" y="3237"/>
                </a:lnTo>
                <a:lnTo>
                  <a:pt x="3604" y="3237"/>
                </a:lnTo>
                <a:lnTo>
                  <a:pt x="3679" y="3237"/>
                </a:lnTo>
                <a:lnTo>
                  <a:pt x="3679" y="3144"/>
                </a:lnTo>
                <a:close/>
                <a:moveTo>
                  <a:pt x="3679" y="2869"/>
                </a:moveTo>
                <a:lnTo>
                  <a:pt x="3679" y="2775"/>
                </a:lnTo>
                <a:lnTo>
                  <a:pt x="3604" y="2775"/>
                </a:lnTo>
                <a:lnTo>
                  <a:pt x="3529" y="2775"/>
                </a:lnTo>
                <a:lnTo>
                  <a:pt x="3529" y="2869"/>
                </a:lnTo>
                <a:lnTo>
                  <a:pt x="3529" y="2962"/>
                </a:lnTo>
                <a:lnTo>
                  <a:pt x="3604" y="2962"/>
                </a:lnTo>
                <a:lnTo>
                  <a:pt x="3679" y="2962"/>
                </a:lnTo>
                <a:lnTo>
                  <a:pt x="3679" y="2869"/>
                </a:lnTo>
                <a:close/>
                <a:moveTo>
                  <a:pt x="3248" y="2600"/>
                </a:moveTo>
                <a:lnTo>
                  <a:pt x="3248" y="2506"/>
                </a:lnTo>
                <a:lnTo>
                  <a:pt x="3176" y="2502"/>
                </a:lnTo>
                <a:lnTo>
                  <a:pt x="3104" y="2499"/>
                </a:lnTo>
                <a:lnTo>
                  <a:pt x="3104" y="2600"/>
                </a:lnTo>
                <a:lnTo>
                  <a:pt x="3104" y="2701"/>
                </a:lnTo>
                <a:lnTo>
                  <a:pt x="3176" y="2697"/>
                </a:lnTo>
                <a:lnTo>
                  <a:pt x="3248" y="2694"/>
                </a:lnTo>
                <a:lnTo>
                  <a:pt x="3248" y="2600"/>
                </a:lnTo>
                <a:close/>
                <a:moveTo>
                  <a:pt x="5541" y="3954"/>
                </a:moveTo>
                <a:cubicBezTo>
                  <a:pt x="5789" y="3886"/>
                  <a:pt x="5982" y="3665"/>
                  <a:pt x="6019" y="3406"/>
                </a:cubicBezTo>
                <a:cubicBezTo>
                  <a:pt x="6047" y="3210"/>
                  <a:pt x="5977" y="3012"/>
                  <a:pt x="5828" y="2863"/>
                </a:cubicBezTo>
                <a:cubicBezTo>
                  <a:pt x="5562" y="2596"/>
                  <a:pt x="5154" y="2602"/>
                  <a:pt x="4891" y="2877"/>
                </a:cubicBezTo>
                <a:cubicBezTo>
                  <a:pt x="4703" y="3073"/>
                  <a:pt x="4660" y="3378"/>
                  <a:pt x="4786" y="3626"/>
                </a:cubicBezTo>
                <a:cubicBezTo>
                  <a:pt x="4823" y="3700"/>
                  <a:pt x="4937" y="3824"/>
                  <a:pt x="5013" y="3874"/>
                </a:cubicBezTo>
                <a:cubicBezTo>
                  <a:pt x="5165" y="3975"/>
                  <a:pt x="5358" y="4004"/>
                  <a:pt x="5541" y="3954"/>
                </a:cubicBezTo>
                <a:close/>
                <a:moveTo>
                  <a:pt x="5047" y="3686"/>
                </a:moveTo>
                <a:cubicBezTo>
                  <a:pt x="5058" y="3602"/>
                  <a:pt x="5097" y="3501"/>
                  <a:pt x="5145" y="3429"/>
                </a:cubicBezTo>
                <a:cubicBezTo>
                  <a:pt x="5199" y="3349"/>
                  <a:pt x="5271" y="3312"/>
                  <a:pt x="5373" y="3312"/>
                </a:cubicBezTo>
                <a:cubicBezTo>
                  <a:pt x="5547" y="3312"/>
                  <a:pt x="5654" y="3442"/>
                  <a:pt x="5697" y="3703"/>
                </a:cubicBezTo>
                <a:lnTo>
                  <a:pt x="5705" y="3750"/>
                </a:lnTo>
                <a:lnTo>
                  <a:pt x="5372" y="3750"/>
                </a:lnTo>
                <a:lnTo>
                  <a:pt x="5038" y="3750"/>
                </a:lnTo>
                <a:lnTo>
                  <a:pt x="5047" y="3686"/>
                </a:lnTo>
                <a:close/>
                <a:moveTo>
                  <a:pt x="5271" y="3207"/>
                </a:moveTo>
                <a:cubicBezTo>
                  <a:pt x="5176" y="3166"/>
                  <a:pt x="5131" y="3039"/>
                  <a:pt x="5172" y="2930"/>
                </a:cubicBezTo>
                <a:cubicBezTo>
                  <a:pt x="5228" y="2784"/>
                  <a:pt x="5442" y="2757"/>
                  <a:pt x="5539" y="2884"/>
                </a:cubicBezTo>
                <a:cubicBezTo>
                  <a:pt x="5568" y="2923"/>
                  <a:pt x="5573" y="2941"/>
                  <a:pt x="5573" y="3014"/>
                </a:cubicBezTo>
                <a:cubicBezTo>
                  <a:pt x="5573" y="3108"/>
                  <a:pt x="5553" y="3147"/>
                  <a:pt x="5479" y="3197"/>
                </a:cubicBezTo>
                <a:cubicBezTo>
                  <a:pt x="5431" y="3230"/>
                  <a:pt x="5334" y="3234"/>
                  <a:pt x="5271" y="3207"/>
                </a:cubicBezTo>
                <a:close/>
                <a:moveTo>
                  <a:pt x="1198" y="1499"/>
                </a:moveTo>
                <a:cubicBezTo>
                  <a:pt x="1300" y="1468"/>
                  <a:pt x="1409" y="1395"/>
                  <a:pt x="1487" y="1308"/>
                </a:cubicBezTo>
                <a:cubicBezTo>
                  <a:pt x="1714" y="1053"/>
                  <a:pt x="1709" y="674"/>
                  <a:pt x="1474" y="427"/>
                </a:cubicBezTo>
                <a:cubicBezTo>
                  <a:pt x="1159" y="92"/>
                  <a:pt x="614" y="177"/>
                  <a:pt x="410" y="592"/>
                </a:cubicBezTo>
                <a:cubicBezTo>
                  <a:pt x="265" y="888"/>
                  <a:pt x="362" y="1236"/>
                  <a:pt x="642" y="1423"/>
                </a:cubicBezTo>
                <a:cubicBezTo>
                  <a:pt x="806" y="1533"/>
                  <a:pt x="1002" y="1560"/>
                  <a:pt x="1198" y="1499"/>
                </a:cubicBezTo>
                <a:close/>
                <a:moveTo>
                  <a:pt x="673" y="1253"/>
                </a:moveTo>
                <a:cubicBezTo>
                  <a:pt x="685" y="1184"/>
                  <a:pt x="716" y="1089"/>
                  <a:pt x="748" y="1025"/>
                </a:cubicBezTo>
                <a:cubicBezTo>
                  <a:pt x="803" y="917"/>
                  <a:pt x="890" y="862"/>
                  <a:pt x="1007" y="863"/>
                </a:cubicBezTo>
                <a:cubicBezTo>
                  <a:pt x="1123" y="863"/>
                  <a:pt x="1206" y="920"/>
                  <a:pt x="1267" y="1039"/>
                </a:cubicBezTo>
                <a:cubicBezTo>
                  <a:pt x="1293" y="1089"/>
                  <a:pt x="1328" y="1224"/>
                  <a:pt x="1329" y="1272"/>
                </a:cubicBezTo>
                <a:lnTo>
                  <a:pt x="1329" y="1300"/>
                </a:lnTo>
                <a:lnTo>
                  <a:pt x="997" y="1300"/>
                </a:lnTo>
                <a:lnTo>
                  <a:pt x="665" y="1300"/>
                </a:lnTo>
                <a:lnTo>
                  <a:pt x="673" y="1253"/>
                </a:lnTo>
                <a:close/>
                <a:moveTo>
                  <a:pt x="894" y="754"/>
                </a:moveTo>
                <a:cubicBezTo>
                  <a:pt x="768" y="692"/>
                  <a:pt x="749" y="490"/>
                  <a:pt x="861" y="402"/>
                </a:cubicBezTo>
                <a:cubicBezTo>
                  <a:pt x="977" y="310"/>
                  <a:pt x="1135" y="350"/>
                  <a:pt x="1195" y="485"/>
                </a:cubicBezTo>
                <a:cubicBezTo>
                  <a:pt x="1238" y="584"/>
                  <a:pt x="1196" y="706"/>
                  <a:pt x="1104" y="753"/>
                </a:cubicBezTo>
                <a:cubicBezTo>
                  <a:pt x="1049" y="780"/>
                  <a:pt x="948" y="781"/>
                  <a:pt x="894" y="754"/>
                </a:cubicBezTo>
                <a:close/>
                <a:moveTo>
                  <a:pt x="4815" y="1419"/>
                </a:moveTo>
                <a:cubicBezTo>
                  <a:pt x="5024" y="1364"/>
                  <a:pt x="5200" y="1200"/>
                  <a:pt x="5273" y="993"/>
                </a:cubicBezTo>
                <a:cubicBezTo>
                  <a:pt x="5310" y="887"/>
                  <a:pt x="5315" y="718"/>
                  <a:pt x="5284" y="612"/>
                </a:cubicBezTo>
                <a:cubicBezTo>
                  <a:pt x="5204" y="339"/>
                  <a:pt x="4972" y="150"/>
                  <a:pt x="4691" y="129"/>
                </a:cubicBezTo>
                <a:cubicBezTo>
                  <a:pt x="4285" y="99"/>
                  <a:pt x="3935" y="484"/>
                  <a:pt x="4003" y="886"/>
                </a:cubicBezTo>
                <a:cubicBezTo>
                  <a:pt x="4045" y="1131"/>
                  <a:pt x="4246" y="1355"/>
                  <a:pt x="4480" y="1418"/>
                </a:cubicBezTo>
                <a:cubicBezTo>
                  <a:pt x="4568" y="1441"/>
                  <a:pt x="4730" y="1442"/>
                  <a:pt x="4815" y="1419"/>
                </a:cubicBezTo>
                <a:close/>
                <a:moveTo>
                  <a:pt x="4316" y="1206"/>
                </a:moveTo>
                <a:cubicBezTo>
                  <a:pt x="4316" y="1202"/>
                  <a:pt x="4326" y="1158"/>
                  <a:pt x="4337" y="1109"/>
                </a:cubicBezTo>
                <a:cubicBezTo>
                  <a:pt x="4379" y="924"/>
                  <a:pt x="4470" y="802"/>
                  <a:pt x="4587" y="777"/>
                </a:cubicBezTo>
                <a:cubicBezTo>
                  <a:pt x="4662" y="761"/>
                  <a:pt x="4749" y="776"/>
                  <a:pt x="4807" y="814"/>
                </a:cubicBezTo>
                <a:cubicBezTo>
                  <a:pt x="4890" y="868"/>
                  <a:pt x="4958" y="1002"/>
                  <a:pt x="4975" y="1146"/>
                </a:cubicBezTo>
                <a:lnTo>
                  <a:pt x="4982" y="1212"/>
                </a:lnTo>
                <a:lnTo>
                  <a:pt x="4649" y="1212"/>
                </a:lnTo>
                <a:cubicBezTo>
                  <a:pt x="4466" y="1212"/>
                  <a:pt x="4316" y="1209"/>
                  <a:pt x="4316" y="1206"/>
                </a:cubicBezTo>
                <a:close/>
                <a:moveTo>
                  <a:pt x="4542" y="660"/>
                </a:moveTo>
                <a:cubicBezTo>
                  <a:pt x="4472" y="613"/>
                  <a:pt x="4441" y="557"/>
                  <a:pt x="4441" y="479"/>
                </a:cubicBezTo>
                <a:cubicBezTo>
                  <a:pt x="4441" y="356"/>
                  <a:pt x="4515" y="275"/>
                  <a:pt x="4633" y="266"/>
                </a:cubicBezTo>
                <a:cubicBezTo>
                  <a:pt x="4803" y="253"/>
                  <a:pt x="4913" y="414"/>
                  <a:pt x="4843" y="570"/>
                </a:cubicBezTo>
                <a:cubicBezTo>
                  <a:pt x="4809" y="644"/>
                  <a:pt x="4753" y="679"/>
                  <a:pt x="4661" y="685"/>
                </a:cubicBezTo>
                <a:cubicBezTo>
                  <a:pt x="4597" y="689"/>
                  <a:pt x="4578" y="685"/>
                  <a:pt x="4542" y="66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22" name="Freeform 25"/>
          <p:cNvSpPr>
            <a:spLocks noChangeAspect="1" noEditPoints="1"/>
          </p:cNvSpPr>
          <p:nvPr/>
        </p:nvSpPr>
        <p:spPr bwMode="auto">
          <a:xfrm>
            <a:off x="4938893" y="5587385"/>
            <a:ext cx="430520" cy="415144"/>
          </a:xfrm>
          <a:custGeom>
            <a:avLst/>
            <a:gdLst>
              <a:gd name="T0" fmla="*/ 931 w 2069"/>
              <a:gd name="T1" fmla="*/ 1983 h 1995"/>
              <a:gd name="T2" fmla="*/ 244 w 2069"/>
              <a:gd name="T3" fmla="*/ 1583 h 1995"/>
              <a:gd name="T4" fmla="*/ 211 w 2069"/>
              <a:gd name="T5" fmla="*/ 1538 h 1995"/>
              <a:gd name="T6" fmla="*/ 287 w 2069"/>
              <a:gd name="T7" fmla="*/ 1423 h 1995"/>
              <a:gd name="T8" fmla="*/ 364 w 2069"/>
              <a:gd name="T9" fmla="*/ 1308 h 1995"/>
              <a:gd name="T10" fmla="*/ 482 w 2069"/>
              <a:gd name="T11" fmla="*/ 1308 h 1995"/>
              <a:gd name="T12" fmla="*/ 600 w 2069"/>
              <a:gd name="T13" fmla="*/ 1308 h 1995"/>
              <a:gd name="T14" fmla="*/ 673 w 2069"/>
              <a:gd name="T15" fmla="*/ 1376 h 1995"/>
              <a:gd name="T16" fmla="*/ 1415 w 2069"/>
              <a:gd name="T17" fmla="*/ 1382 h 1995"/>
              <a:gd name="T18" fmla="*/ 1483 w 2069"/>
              <a:gd name="T19" fmla="*/ 1320 h 1995"/>
              <a:gd name="T20" fmla="*/ 1542 w 2069"/>
              <a:gd name="T21" fmla="*/ 1426 h 1995"/>
              <a:gd name="T22" fmla="*/ 1775 w 2069"/>
              <a:gd name="T23" fmla="*/ 1546 h 1995"/>
              <a:gd name="T24" fmla="*/ 1860 w 2069"/>
              <a:gd name="T25" fmla="*/ 1570 h 1995"/>
              <a:gd name="T26" fmla="*/ 1630 w 2069"/>
              <a:gd name="T27" fmla="*/ 1801 h 1995"/>
              <a:gd name="T28" fmla="*/ 1154 w 2069"/>
              <a:gd name="T29" fmla="*/ 1983 h 1995"/>
              <a:gd name="T30" fmla="*/ 1029 w 2069"/>
              <a:gd name="T31" fmla="*/ 1994 h 1995"/>
              <a:gd name="T32" fmla="*/ 931 w 2069"/>
              <a:gd name="T33" fmla="*/ 1983 h 1995"/>
              <a:gd name="T34" fmla="*/ 1729 w 2069"/>
              <a:gd name="T35" fmla="*/ 1436 h 1995"/>
              <a:gd name="T36" fmla="*/ 1666 w 2069"/>
              <a:gd name="T37" fmla="*/ 1432 h 1995"/>
              <a:gd name="T38" fmla="*/ 1602 w 2069"/>
              <a:gd name="T39" fmla="*/ 1319 h 1995"/>
              <a:gd name="T40" fmla="*/ 1556 w 2069"/>
              <a:gd name="T41" fmla="*/ 1161 h 1995"/>
              <a:gd name="T42" fmla="*/ 1581 w 2069"/>
              <a:gd name="T43" fmla="*/ 1035 h 1995"/>
              <a:gd name="T44" fmla="*/ 1198 w 2069"/>
              <a:gd name="T45" fmla="*/ 483 h 1995"/>
              <a:gd name="T46" fmla="*/ 1126 w 2069"/>
              <a:gd name="T47" fmla="*/ 464 h 1995"/>
              <a:gd name="T48" fmla="*/ 1174 w 2069"/>
              <a:gd name="T49" fmla="*/ 350 h 1995"/>
              <a:gd name="T50" fmla="*/ 1237 w 2069"/>
              <a:gd name="T51" fmla="*/ 240 h 1995"/>
              <a:gd name="T52" fmla="*/ 1183 w 2069"/>
              <a:gd name="T53" fmla="*/ 134 h 1995"/>
              <a:gd name="T54" fmla="*/ 1125 w 2069"/>
              <a:gd name="T55" fmla="*/ 18 h 1995"/>
              <a:gd name="T56" fmla="*/ 1303 w 2069"/>
              <a:gd name="T57" fmla="*/ 34 h 1995"/>
              <a:gd name="T58" fmla="*/ 1947 w 2069"/>
              <a:gd name="T59" fmla="*/ 572 h 1995"/>
              <a:gd name="T60" fmla="*/ 1961 w 2069"/>
              <a:gd name="T61" fmla="*/ 1390 h 1995"/>
              <a:gd name="T62" fmla="*/ 1936 w 2069"/>
              <a:gd name="T63" fmla="*/ 1446 h 1995"/>
              <a:gd name="T64" fmla="*/ 1864 w 2069"/>
              <a:gd name="T65" fmla="*/ 1443 h 1995"/>
              <a:gd name="T66" fmla="*/ 1729 w 2069"/>
              <a:gd name="T67" fmla="*/ 1436 h 1995"/>
              <a:gd name="T68" fmla="*/ 125 w 2069"/>
              <a:gd name="T69" fmla="*/ 1369 h 1995"/>
              <a:gd name="T70" fmla="*/ 241 w 2069"/>
              <a:gd name="T71" fmla="*/ 414 h 1995"/>
              <a:gd name="T72" fmla="*/ 915 w 2069"/>
              <a:gd name="T73" fmla="*/ 10 h 1995"/>
              <a:gd name="T74" fmla="*/ 994 w 2069"/>
              <a:gd name="T75" fmla="*/ 1 h 1995"/>
              <a:gd name="T76" fmla="*/ 1052 w 2069"/>
              <a:gd name="T77" fmla="*/ 114 h 1995"/>
              <a:gd name="T78" fmla="*/ 1110 w 2069"/>
              <a:gd name="T79" fmla="*/ 238 h 1995"/>
              <a:gd name="T80" fmla="*/ 991 w 2069"/>
              <a:gd name="T81" fmla="*/ 455 h 1995"/>
              <a:gd name="T82" fmla="*/ 916 w 2069"/>
              <a:gd name="T83" fmla="*/ 478 h 1995"/>
              <a:gd name="T84" fmla="*/ 660 w 2069"/>
              <a:gd name="T85" fmla="*/ 630 h 1995"/>
              <a:gd name="T86" fmla="*/ 542 w 2069"/>
              <a:gd name="T87" fmla="*/ 1180 h 1995"/>
              <a:gd name="T88" fmla="*/ 426 w 2069"/>
              <a:gd name="T89" fmla="*/ 1208 h 1995"/>
              <a:gd name="T90" fmla="*/ 301 w 2069"/>
              <a:gd name="T91" fmla="*/ 1208 h 1995"/>
              <a:gd name="T92" fmla="*/ 226 w 2069"/>
              <a:gd name="T93" fmla="*/ 1322 h 1995"/>
              <a:gd name="T94" fmla="*/ 150 w 2069"/>
              <a:gd name="T95" fmla="*/ 1436 h 1995"/>
              <a:gd name="T96" fmla="*/ 125 w 2069"/>
              <a:gd name="T97" fmla="*/ 1369 h 19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069" h="1995">
                <a:moveTo>
                  <a:pt x="931" y="1983"/>
                </a:moveTo>
                <a:cubicBezTo>
                  <a:pt x="661" y="1951"/>
                  <a:pt x="406" y="1803"/>
                  <a:pt x="244" y="1583"/>
                </a:cubicBezTo>
                <a:lnTo>
                  <a:pt x="211" y="1538"/>
                </a:lnTo>
                <a:lnTo>
                  <a:pt x="287" y="1423"/>
                </a:lnTo>
                <a:lnTo>
                  <a:pt x="364" y="1308"/>
                </a:lnTo>
                <a:lnTo>
                  <a:pt x="482" y="1308"/>
                </a:lnTo>
                <a:lnTo>
                  <a:pt x="600" y="1308"/>
                </a:lnTo>
                <a:lnTo>
                  <a:pt x="673" y="1376"/>
                </a:lnTo>
                <a:cubicBezTo>
                  <a:pt x="894" y="1580"/>
                  <a:pt x="1196" y="1583"/>
                  <a:pt x="1415" y="1382"/>
                </a:cubicBezTo>
                <a:lnTo>
                  <a:pt x="1483" y="1320"/>
                </a:lnTo>
                <a:lnTo>
                  <a:pt x="1542" y="1426"/>
                </a:lnTo>
                <a:cubicBezTo>
                  <a:pt x="1609" y="1545"/>
                  <a:pt x="1610" y="1546"/>
                  <a:pt x="1775" y="1546"/>
                </a:cubicBezTo>
                <a:cubicBezTo>
                  <a:pt x="1869" y="1546"/>
                  <a:pt x="1873" y="1547"/>
                  <a:pt x="1860" y="1570"/>
                </a:cubicBezTo>
                <a:cubicBezTo>
                  <a:pt x="1835" y="1618"/>
                  <a:pt x="1705" y="1748"/>
                  <a:pt x="1630" y="1801"/>
                </a:cubicBezTo>
                <a:cubicBezTo>
                  <a:pt x="1481" y="1907"/>
                  <a:pt x="1335" y="1963"/>
                  <a:pt x="1154" y="1983"/>
                </a:cubicBezTo>
                <a:cubicBezTo>
                  <a:pt x="1092" y="1990"/>
                  <a:pt x="1036" y="1995"/>
                  <a:pt x="1029" y="1994"/>
                </a:cubicBezTo>
                <a:cubicBezTo>
                  <a:pt x="1022" y="1993"/>
                  <a:pt x="978" y="1988"/>
                  <a:pt x="931" y="1983"/>
                </a:cubicBezTo>
                <a:close/>
                <a:moveTo>
                  <a:pt x="1729" y="1436"/>
                </a:moveTo>
                <a:lnTo>
                  <a:pt x="1666" y="1432"/>
                </a:lnTo>
                <a:lnTo>
                  <a:pt x="1602" y="1319"/>
                </a:lnTo>
                <a:cubicBezTo>
                  <a:pt x="1538" y="1207"/>
                  <a:pt x="1538" y="1205"/>
                  <a:pt x="1556" y="1161"/>
                </a:cubicBezTo>
                <a:cubicBezTo>
                  <a:pt x="1566" y="1137"/>
                  <a:pt x="1577" y="1080"/>
                  <a:pt x="1581" y="1035"/>
                </a:cubicBezTo>
                <a:cubicBezTo>
                  <a:pt x="1602" y="789"/>
                  <a:pt x="1433" y="546"/>
                  <a:pt x="1198" y="483"/>
                </a:cubicBezTo>
                <a:cubicBezTo>
                  <a:pt x="1167" y="475"/>
                  <a:pt x="1134" y="466"/>
                  <a:pt x="1126" y="464"/>
                </a:cubicBezTo>
                <a:cubicBezTo>
                  <a:pt x="1116" y="461"/>
                  <a:pt x="1133" y="420"/>
                  <a:pt x="1174" y="350"/>
                </a:cubicBezTo>
                <a:lnTo>
                  <a:pt x="1237" y="240"/>
                </a:lnTo>
                <a:lnTo>
                  <a:pt x="1183" y="134"/>
                </a:lnTo>
                <a:cubicBezTo>
                  <a:pt x="1153" y="76"/>
                  <a:pt x="1127" y="23"/>
                  <a:pt x="1125" y="18"/>
                </a:cubicBezTo>
                <a:cubicBezTo>
                  <a:pt x="1117" y="0"/>
                  <a:pt x="1204" y="8"/>
                  <a:pt x="1303" y="34"/>
                </a:cubicBezTo>
                <a:cubicBezTo>
                  <a:pt x="1581" y="107"/>
                  <a:pt x="1825" y="310"/>
                  <a:pt x="1947" y="572"/>
                </a:cubicBezTo>
                <a:cubicBezTo>
                  <a:pt x="2063" y="821"/>
                  <a:pt x="2069" y="1146"/>
                  <a:pt x="1961" y="1390"/>
                </a:cubicBezTo>
                <a:lnTo>
                  <a:pt x="1936" y="1446"/>
                </a:lnTo>
                <a:lnTo>
                  <a:pt x="1864" y="1443"/>
                </a:lnTo>
                <a:cubicBezTo>
                  <a:pt x="1824" y="1442"/>
                  <a:pt x="1763" y="1439"/>
                  <a:pt x="1729" y="1436"/>
                </a:cubicBezTo>
                <a:close/>
                <a:moveTo>
                  <a:pt x="125" y="1369"/>
                </a:moveTo>
                <a:cubicBezTo>
                  <a:pt x="0" y="1033"/>
                  <a:pt x="41" y="697"/>
                  <a:pt x="241" y="414"/>
                </a:cubicBezTo>
                <a:cubicBezTo>
                  <a:pt x="398" y="194"/>
                  <a:pt x="652" y="42"/>
                  <a:pt x="915" y="10"/>
                </a:cubicBezTo>
                <a:lnTo>
                  <a:pt x="994" y="1"/>
                </a:lnTo>
                <a:lnTo>
                  <a:pt x="1052" y="114"/>
                </a:lnTo>
                <a:cubicBezTo>
                  <a:pt x="1084" y="176"/>
                  <a:pt x="1110" y="232"/>
                  <a:pt x="1110" y="238"/>
                </a:cubicBezTo>
                <a:cubicBezTo>
                  <a:pt x="1110" y="247"/>
                  <a:pt x="1022" y="408"/>
                  <a:pt x="991" y="455"/>
                </a:cubicBezTo>
                <a:cubicBezTo>
                  <a:pt x="990" y="457"/>
                  <a:pt x="956" y="467"/>
                  <a:pt x="916" y="478"/>
                </a:cubicBezTo>
                <a:cubicBezTo>
                  <a:pt x="812" y="505"/>
                  <a:pt x="729" y="554"/>
                  <a:pt x="660" y="630"/>
                </a:cubicBezTo>
                <a:cubicBezTo>
                  <a:pt x="519" y="783"/>
                  <a:pt x="479" y="970"/>
                  <a:pt x="542" y="1180"/>
                </a:cubicBezTo>
                <a:cubicBezTo>
                  <a:pt x="550" y="1208"/>
                  <a:pt x="549" y="1208"/>
                  <a:pt x="426" y="1208"/>
                </a:cubicBezTo>
                <a:lnTo>
                  <a:pt x="301" y="1208"/>
                </a:lnTo>
                <a:lnTo>
                  <a:pt x="226" y="1322"/>
                </a:lnTo>
                <a:lnTo>
                  <a:pt x="150" y="1436"/>
                </a:lnTo>
                <a:lnTo>
                  <a:pt x="125" y="136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23" name="Freeform 26"/>
          <p:cNvSpPr>
            <a:spLocks noChangeAspect="1" noEditPoints="1"/>
          </p:cNvSpPr>
          <p:nvPr/>
        </p:nvSpPr>
        <p:spPr bwMode="auto">
          <a:xfrm>
            <a:off x="6528609" y="5628016"/>
            <a:ext cx="470581" cy="415143"/>
          </a:xfrm>
          <a:custGeom>
            <a:avLst/>
            <a:gdLst>
              <a:gd name="T0" fmla="*/ 218 w 2457"/>
              <a:gd name="T1" fmla="*/ 2104 h 2162"/>
              <a:gd name="T2" fmla="*/ 84 w 2457"/>
              <a:gd name="T3" fmla="*/ 1987 h 2162"/>
              <a:gd name="T4" fmla="*/ 48 w 2457"/>
              <a:gd name="T5" fmla="*/ 1775 h 2162"/>
              <a:gd name="T6" fmla="*/ 55 w 2457"/>
              <a:gd name="T7" fmla="*/ 1637 h 2162"/>
              <a:gd name="T8" fmla="*/ 144 w 2457"/>
              <a:gd name="T9" fmla="*/ 1454 h 2162"/>
              <a:gd name="T10" fmla="*/ 285 w 2457"/>
              <a:gd name="T11" fmla="*/ 1287 h 2162"/>
              <a:gd name="T12" fmla="*/ 450 w 2457"/>
              <a:gd name="T13" fmla="*/ 1262 h 2162"/>
              <a:gd name="T14" fmla="*/ 612 w 2457"/>
              <a:gd name="T15" fmla="*/ 1289 h 2162"/>
              <a:gd name="T16" fmla="*/ 692 w 2457"/>
              <a:gd name="T17" fmla="*/ 1474 h 2162"/>
              <a:gd name="T18" fmla="*/ 874 w 2457"/>
              <a:gd name="T19" fmla="*/ 1548 h 2162"/>
              <a:gd name="T20" fmla="*/ 900 w 2457"/>
              <a:gd name="T21" fmla="*/ 1650 h 2162"/>
              <a:gd name="T22" fmla="*/ 848 w 2457"/>
              <a:gd name="T23" fmla="*/ 1874 h 2162"/>
              <a:gd name="T24" fmla="*/ 724 w 2457"/>
              <a:gd name="T25" fmla="*/ 2073 h 2162"/>
              <a:gd name="T26" fmla="*/ 512 w 2457"/>
              <a:gd name="T27" fmla="*/ 2162 h 2162"/>
              <a:gd name="T28" fmla="*/ 500 w 2457"/>
              <a:gd name="T29" fmla="*/ 1818 h 2162"/>
              <a:gd name="T30" fmla="*/ 500 w 2457"/>
              <a:gd name="T31" fmla="*/ 1818 h 2162"/>
              <a:gd name="T32" fmla="*/ 1429 w 2457"/>
              <a:gd name="T33" fmla="*/ 2014 h 2162"/>
              <a:gd name="T34" fmla="*/ 1286 w 2457"/>
              <a:gd name="T35" fmla="*/ 1839 h 2162"/>
              <a:gd name="T36" fmla="*/ 1108 w 2457"/>
              <a:gd name="T37" fmla="*/ 1857 h 2162"/>
              <a:gd name="T38" fmla="*/ 1104 w 2457"/>
              <a:gd name="T39" fmla="*/ 1685 h 2162"/>
              <a:gd name="T40" fmla="*/ 931 w 2457"/>
              <a:gd name="T41" fmla="*/ 1642 h 2162"/>
              <a:gd name="T42" fmla="*/ 846 w 2457"/>
              <a:gd name="T43" fmla="*/ 1428 h 2162"/>
              <a:gd name="T44" fmla="*/ 937 w 2457"/>
              <a:gd name="T45" fmla="*/ 1176 h 2162"/>
              <a:gd name="T46" fmla="*/ 846 w 2457"/>
              <a:gd name="T47" fmla="*/ 1037 h 2162"/>
              <a:gd name="T48" fmla="*/ 949 w 2457"/>
              <a:gd name="T49" fmla="*/ 912 h 2162"/>
              <a:gd name="T50" fmla="*/ 1016 w 2457"/>
              <a:gd name="T51" fmla="*/ 792 h 2162"/>
              <a:gd name="T52" fmla="*/ 1099 w 2457"/>
              <a:gd name="T53" fmla="*/ 695 h 2162"/>
              <a:gd name="T54" fmla="*/ 1239 w 2457"/>
              <a:gd name="T55" fmla="*/ 650 h 2162"/>
              <a:gd name="T56" fmla="*/ 1371 w 2457"/>
              <a:gd name="T57" fmla="*/ 458 h 2162"/>
              <a:gd name="T58" fmla="*/ 1575 w 2457"/>
              <a:gd name="T59" fmla="*/ 412 h 2162"/>
              <a:gd name="T60" fmla="*/ 1750 w 2457"/>
              <a:gd name="T61" fmla="*/ 539 h 2162"/>
              <a:gd name="T62" fmla="*/ 1906 w 2457"/>
              <a:gd name="T63" fmla="*/ 458 h 2162"/>
              <a:gd name="T64" fmla="*/ 2038 w 2457"/>
              <a:gd name="T65" fmla="*/ 649 h 2162"/>
              <a:gd name="T66" fmla="*/ 2217 w 2457"/>
              <a:gd name="T67" fmla="*/ 647 h 2162"/>
              <a:gd name="T68" fmla="*/ 2213 w 2457"/>
              <a:gd name="T69" fmla="*/ 824 h 2162"/>
              <a:gd name="T70" fmla="*/ 2365 w 2457"/>
              <a:gd name="T71" fmla="*/ 893 h 2162"/>
              <a:gd name="T72" fmla="*/ 2377 w 2457"/>
              <a:gd name="T73" fmla="*/ 1032 h 2162"/>
              <a:gd name="T74" fmla="*/ 2402 w 2457"/>
              <a:gd name="T75" fmla="*/ 1168 h 2162"/>
              <a:gd name="T76" fmla="*/ 2446 w 2457"/>
              <a:gd name="T77" fmla="*/ 1375 h 2162"/>
              <a:gd name="T78" fmla="*/ 2302 w 2457"/>
              <a:gd name="T79" fmla="*/ 1471 h 2162"/>
              <a:gd name="T80" fmla="*/ 2269 w 2457"/>
              <a:gd name="T81" fmla="*/ 1675 h 2162"/>
              <a:gd name="T82" fmla="*/ 2212 w 2457"/>
              <a:gd name="T83" fmla="*/ 1817 h 2162"/>
              <a:gd name="T84" fmla="*/ 2036 w 2457"/>
              <a:gd name="T85" fmla="*/ 1814 h 2162"/>
              <a:gd name="T86" fmla="*/ 1945 w 2457"/>
              <a:gd name="T87" fmla="*/ 1992 h 2162"/>
              <a:gd name="T88" fmla="*/ 1712 w 2457"/>
              <a:gd name="T89" fmla="*/ 2050 h 2162"/>
              <a:gd name="T90" fmla="*/ 1711 w 2457"/>
              <a:gd name="T91" fmla="*/ 1369 h 2162"/>
              <a:gd name="T92" fmla="*/ 1561 w 2457"/>
              <a:gd name="T93" fmla="*/ 1359 h 2162"/>
              <a:gd name="T94" fmla="*/ 460 w 2457"/>
              <a:gd name="T95" fmla="*/ 876 h 2162"/>
              <a:gd name="T96" fmla="*/ 238 w 2457"/>
              <a:gd name="T97" fmla="*/ 673 h 2162"/>
              <a:gd name="T98" fmla="*/ 236 w 2457"/>
              <a:gd name="T99" fmla="*/ 512 h 2162"/>
              <a:gd name="T100" fmla="*/ 242 w 2457"/>
              <a:gd name="T101" fmla="*/ 375 h 2162"/>
              <a:gd name="T102" fmla="*/ 277 w 2457"/>
              <a:gd name="T103" fmla="*/ 161 h 2162"/>
              <a:gd name="T104" fmla="*/ 412 w 2457"/>
              <a:gd name="T105" fmla="*/ 58 h 2162"/>
              <a:gd name="T106" fmla="*/ 576 w 2457"/>
              <a:gd name="T107" fmla="*/ 0 h 2162"/>
              <a:gd name="T108" fmla="*/ 755 w 2457"/>
              <a:gd name="T109" fmla="*/ 107 h 2162"/>
              <a:gd name="T110" fmla="*/ 888 w 2457"/>
              <a:gd name="T111" fmla="*/ 158 h 2162"/>
              <a:gd name="T112" fmla="*/ 1050 w 2457"/>
              <a:gd name="T113" fmla="*/ 285 h 2162"/>
              <a:gd name="T114" fmla="*/ 1087 w 2457"/>
              <a:gd name="T115" fmla="*/ 387 h 2162"/>
              <a:gd name="T116" fmla="*/ 998 w 2457"/>
              <a:gd name="T117" fmla="*/ 588 h 2162"/>
              <a:gd name="T118" fmla="*/ 892 w 2457"/>
              <a:gd name="T119" fmla="*/ 715 h 2162"/>
              <a:gd name="T120" fmla="*/ 782 w 2457"/>
              <a:gd name="T121" fmla="*/ 857 h 2162"/>
              <a:gd name="T122" fmla="*/ 632 w 2457"/>
              <a:gd name="T123" fmla="*/ 900 h 2162"/>
              <a:gd name="T124" fmla="*/ 630 w 2457"/>
              <a:gd name="T125" fmla="*/ 337 h 2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457" h="2162">
                <a:moveTo>
                  <a:pt x="372" y="2115"/>
                </a:moveTo>
                <a:cubicBezTo>
                  <a:pt x="367" y="2053"/>
                  <a:pt x="328" y="2044"/>
                  <a:pt x="296" y="2098"/>
                </a:cubicBezTo>
                <a:lnTo>
                  <a:pt x="274" y="2135"/>
                </a:lnTo>
                <a:lnTo>
                  <a:pt x="218" y="2104"/>
                </a:lnTo>
                <a:cubicBezTo>
                  <a:pt x="188" y="2087"/>
                  <a:pt x="162" y="2070"/>
                  <a:pt x="162" y="2068"/>
                </a:cubicBezTo>
                <a:cubicBezTo>
                  <a:pt x="162" y="2065"/>
                  <a:pt x="172" y="2043"/>
                  <a:pt x="183" y="2019"/>
                </a:cubicBezTo>
                <a:cubicBezTo>
                  <a:pt x="213" y="1957"/>
                  <a:pt x="192" y="1936"/>
                  <a:pt x="132" y="1969"/>
                </a:cubicBezTo>
                <a:cubicBezTo>
                  <a:pt x="108" y="1982"/>
                  <a:pt x="86" y="1990"/>
                  <a:pt x="84" y="1987"/>
                </a:cubicBezTo>
                <a:cubicBezTo>
                  <a:pt x="66" y="1965"/>
                  <a:pt x="25" y="1888"/>
                  <a:pt x="25" y="1878"/>
                </a:cubicBezTo>
                <a:cubicBezTo>
                  <a:pt x="25" y="1871"/>
                  <a:pt x="42" y="1858"/>
                  <a:pt x="63" y="1850"/>
                </a:cubicBezTo>
                <a:cubicBezTo>
                  <a:pt x="107" y="1831"/>
                  <a:pt x="115" y="1821"/>
                  <a:pt x="105" y="1795"/>
                </a:cubicBezTo>
                <a:cubicBezTo>
                  <a:pt x="100" y="1781"/>
                  <a:pt x="81" y="1775"/>
                  <a:pt x="48" y="1775"/>
                </a:cubicBezTo>
                <a:lnTo>
                  <a:pt x="0" y="1775"/>
                </a:lnTo>
                <a:lnTo>
                  <a:pt x="0" y="1706"/>
                </a:lnTo>
                <a:lnTo>
                  <a:pt x="0" y="1637"/>
                </a:lnTo>
                <a:lnTo>
                  <a:pt x="55" y="1637"/>
                </a:lnTo>
                <a:cubicBezTo>
                  <a:pt x="123" y="1637"/>
                  <a:pt x="141" y="1609"/>
                  <a:pt x="90" y="1582"/>
                </a:cubicBezTo>
                <a:cubicBezTo>
                  <a:pt x="19" y="1543"/>
                  <a:pt x="19" y="1545"/>
                  <a:pt x="56" y="1482"/>
                </a:cubicBezTo>
                <a:lnTo>
                  <a:pt x="90" y="1424"/>
                </a:lnTo>
                <a:lnTo>
                  <a:pt x="144" y="1454"/>
                </a:lnTo>
                <a:cubicBezTo>
                  <a:pt x="217" y="1495"/>
                  <a:pt x="236" y="1477"/>
                  <a:pt x="194" y="1405"/>
                </a:cubicBezTo>
                <a:lnTo>
                  <a:pt x="163" y="1353"/>
                </a:lnTo>
                <a:lnTo>
                  <a:pt x="224" y="1320"/>
                </a:lnTo>
                <a:lnTo>
                  <a:pt x="285" y="1287"/>
                </a:lnTo>
                <a:lnTo>
                  <a:pt x="314" y="1337"/>
                </a:lnTo>
                <a:cubicBezTo>
                  <a:pt x="353" y="1407"/>
                  <a:pt x="381" y="1400"/>
                  <a:pt x="381" y="1321"/>
                </a:cubicBezTo>
                <a:lnTo>
                  <a:pt x="381" y="1262"/>
                </a:lnTo>
                <a:lnTo>
                  <a:pt x="450" y="1262"/>
                </a:lnTo>
                <a:lnTo>
                  <a:pt x="519" y="1262"/>
                </a:lnTo>
                <a:lnTo>
                  <a:pt x="519" y="1321"/>
                </a:lnTo>
                <a:cubicBezTo>
                  <a:pt x="519" y="1401"/>
                  <a:pt x="550" y="1409"/>
                  <a:pt x="586" y="1339"/>
                </a:cubicBezTo>
                <a:lnTo>
                  <a:pt x="612" y="1289"/>
                </a:lnTo>
                <a:lnTo>
                  <a:pt x="668" y="1320"/>
                </a:lnTo>
                <a:cubicBezTo>
                  <a:pt x="699" y="1338"/>
                  <a:pt x="725" y="1358"/>
                  <a:pt x="725" y="1365"/>
                </a:cubicBezTo>
                <a:cubicBezTo>
                  <a:pt x="725" y="1372"/>
                  <a:pt x="714" y="1396"/>
                  <a:pt x="700" y="1419"/>
                </a:cubicBezTo>
                <a:cubicBezTo>
                  <a:pt x="679" y="1453"/>
                  <a:pt x="677" y="1461"/>
                  <a:pt x="692" y="1474"/>
                </a:cubicBezTo>
                <a:cubicBezTo>
                  <a:pt x="706" y="1485"/>
                  <a:pt x="720" y="1482"/>
                  <a:pt x="755" y="1461"/>
                </a:cubicBezTo>
                <a:cubicBezTo>
                  <a:pt x="780" y="1446"/>
                  <a:pt x="803" y="1436"/>
                  <a:pt x="805" y="1439"/>
                </a:cubicBezTo>
                <a:cubicBezTo>
                  <a:pt x="807" y="1441"/>
                  <a:pt x="824" y="1467"/>
                  <a:pt x="841" y="1496"/>
                </a:cubicBezTo>
                <a:lnTo>
                  <a:pt x="874" y="1548"/>
                </a:lnTo>
                <a:lnTo>
                  <a:pt x="831" y="1575"/>
                </a:lnTo>
                <a:cubicBezTo>
                  <a:pt x="806" y="1590"/>
                  <a:pt x="787" y="1612"/>
                  <a:pt x="787" y="1626"/>
                </a:cubicBezTo>
                <a:cubicBezTo>
                  <a:pt x="787" y="1646"/>
                  <a:pt x="796" y="1650"/>
                  <a:pt x="844" y="1650"/>
                </a:cubicBezTo>
                <a:lnTo>
                  <a:pt x="900" y="1650"/>
                </a:lnTo>
                <a:lnTo>
                  <a:pt x="900" y="1718"/>
                </a:lnTo>
                <a:lnTo>
                  <a:pt x="900" y="1787"/>
                </a:lnTo>
                <a:lnTo>
                  <a:pt x="849" y="1787"/>
                </a:lnTo>
                <a:cubicBezTo>
                  <a:pt x="768" y="1787"/>
                  <a:pt x="768" y="1827"/>
                  <a:pt x="848" y="1874"/>
                </a:cubicBezTo>
                <a:cubicBezTo>
                  <a:pt x="862" y="1882"/>
                  <a:pt x="861" y="1891"/>
                  <a:pt x="843" y="1926"/>
                </a:cubicBezTo>
                <a:cubicBezTo>
                  <a:pt x="806" y="1998"/>
                  <a:pt x="803" y="2001"/>
                  <a:pt x="755" y="1978"/>
                </a:cubicBezTo>
                <a:cubicBezTo>
                  <a:pt x="695" y="1949"/>
                  <a:pt x="674" y="1970"/>
                  <a:pt x="703" y="2030"/>
                </a:cubicBezTo>
                <a:lnTo>
                  <a:pt x="724" y="2073"/>
                </a:lnTo>
                <a:lnTo>
                  <a:pt x="666" y="2107"/>
                </a:lnTo>
                <a:cubicBezTo>
                  <a:pt x="620" y="2134"/>
                  <a:pt x="607" y="2137"/>
                  <a:pt x="599" y="2123"/>
                </a:cubicBezTo>
                <a:cubicBezTo>
                  <a:pt x="556" y="2048"/>
                  <a:pt x="512" y="2047"/>
                  <a:pt x="512" y="2120"/>
                </a:cubicBezTo>
                <a:lnTo>
                  <a:pt x="512" y="2162"/>
                </a:lnTo>
                <a:lnTo>
                  <a:pt x="444" y="2162"/>
                </a:lnTo>
                <a:lnTo>
                  <a:pt x="376" y="2162"/>
                </a:lnTo>
                <a:lnTo>
                  <a:pt x="372" y="2115"/>
                </a:lnTo>
                <a:close/>
                <a:moveTo>
                  <a:pt x="500" y="1818"/>
                </a:moveTo>
                <a:cubicBezTo>
                  <a:pt x="593" y="1770"/>
                  <a:pt x="581" y="1633"/>
                  <a:pt x="482" y="1600"/>
                </a:cubicBezTo>
                <a:cubicBezTo>
                  <a:pt x="431" y="1583"/>
                  <a:pt x="388" y="1598"/>
                  <a:pt x="351" y="1644"/>
                </a:cubicBezTo>
                <a:cubicBezTo>
                  <a:pt x="307" y="1701"/>
                  <a:pt x="322" y="1777"/>
                  <a:pt x="385" y="1816"/>
                </a:cubicBezTo>
                <a:cubicBezTo>
                  <a:pt x="427" y="1842"/>
                  <a:pt x="454" y="1842"/>
                  <a:pt x="500" y="1818"/>
                </a:cubicBezTo>
                <a:close/>
                <a:moveTo>
                  <a:pt x="1575" y="1993"/>
                </a:moveTo>
                <a:cubicBezTo>
                  <a:pt x="1575" y="1934"/>
                  <a:pt x="1573" y="1932"/>
                  <a:pt x="1504" y="1920"/>
                </a:cubicBezTo>
                <a:cubicBezTo>
                  <a:pt x="1467" y="1914"/>
                  <a:pt x="1463" y="1916"/>
                  <a:pt x="1449" y="1960"/>
                </a:cubicBezTo>
                <a:cubicBezTo>
                  <a:pt x="1441" y="1985"/>
                  <a:pt x="1432" y="2010"/>
                  <a:pt x="1429" y="2014"/>
                </a:cubicBezTo>
                <a:cubicBezTo>
                  <a:pt x="1423" y="2025"/>
                  <a:pt x="1300" y="1985"/>
                  <a:pt x="1300" y="1972"/>
                </a:cubicBezTo>
                <a:cubicBezTo>
                  <a:pt x="1300" y="1966"/>
                  <a:pt x="1308" y="1941"/>
                  <a:pt x="1319" y="1916"/>
                </a:cubicBezTo>
                <a:cubicBezTo>
                  <a:pt x="1329" y="1891"/>
                  <a:pt x="1336" y="1870"/>
                  <a:pt x="1334" y="1869"/>
                </a:cubicBezTo>
                <a:cubicBezTo>
                  <a:pt x="1333" y="1868"/>
                  <a:pt x="1311" y="1854"/>
                  <a:pt x="1286" y="1839"/>
                </a:cubicBezTo>
                <a:lnTo>
                  <a:pt x="1240" y="1812"/>
                </a:lnTo>
                <a:lnTo>
                  <a:pt x="1207" y="1856"/>
                </a:lnTo>
                <a:cubicBezTo>
                  <a:pt x="1189" y="1880"/>
                  <a:pt x="1170" y="1899"/>
                  <a:pt x="1165" y="1899"/>
                </a:cubicBezTo>
                <a:cubicBezTo>
                  <a:pt x="1160" y="1899"/>
                  <a:pt x="1135" y="1880"/>
                  <a:pt x="1108" y="1857"/>
                </a:cubicBezTo>
                <a:lnTo>
                  <a:pt x="1061" y="1815"/>
                </a:lnTo>
                <a:lnTo>
                  <a:pt x="1101" y="1769"/>
                </a:lnTo>
                <a:lnTo>
                  <a:pt x="1141" y="1723"/>
                </a:lnTo>
                <a:lnTo>
                  <a:pt x="1104" y="1685"/>
                </a:lnTo>
                <a:lnTo>
                  <a:pt x="1066" y="1647"/>
                </a:lnTo>
                <a:lnTo>
                  <a:pt x="1015" y="1673"/>
                </a:lnTo>
                <a:lnTo>
                  <a:pt x="964" y="1699"/>
                </a:lnTo>
                <a:lnTo>
                  <a:pt x="931" y="1642"/>
                </a:lnTo>
                <a:cubicBezTo>
                  <a:pt x="894" y="1580"/>
                  <a:pt x="894" y="1582"/>
                  <a:pt x="965" y="1543"/>
                </a:cubicBezTo>
                <a:cubicBezTo>
                  <a:pt x="997" y="1525"/>
                  <a:pt x="998" y="1523"/>
                  <a:pt x="982" y="1478"/>
                </a:cubicBezTo>
                <a:cubicBezTo>
                  <a:pt x="966" y="1432"/>
                  <a:pt x="964" y="1431"/>
                  <a:pt x="909" y="1435"/>
                </a:cubicBezTo>
                <a:cubicBezTo>
                  <a:pt x="877" y="1437"/>
                  <a:pt x="849" y="1434"/>
                  <a:pt x="846" y="1428"/>
                </a:cubicBezTo>
                <a:cubicBezTo>
                  <a:pt x="843" y="1423"/>
                  <a:pt x="837" y="1392"/>
                  <a:pt x="832" y="1359"/>
                </a:cubicBezTo>
                <a:cubicBezTo>
                  <a:pt x="824" y="1303"/>
                  <a:pt x="825" y="1300"/>
                  <a:pt x="852" y="1300"/>
                </a:cubicBezTo>
                <a:cubicBezTo>
                  <a:pt x="923" y="1299"/>
                  <a:pt x="937" y="1287"/>
                  <a:pt x="937" y="1230"/>
                </a:cubicBezTo>
                <a:lnTo>
                  <a:pt x="937" y="1176"/>
                </a:lnTo>
                <a:lnTo>
                  <a:pt x="880" y="1168"/>
                </a:lnTo>
                <a:lnTo>
                  <a:pt x="824" y="1159"/>
                </a:lnTo>
                <a:lnTo>
                  <a:pt x="832" y="1101"/>
                </a:lnTo>
                <a:cubicBezTo>
                  <a:pt x="837" y="1069"/>
                  <a:pt x="843" y="1041"/>
                  <a:pt x="846" y="1037"/>
                </a:cubicBezTo>
                <a:cubicBezTo>
                  <a:pt x="849" y="1034"/>
                  <a:pt x="878" y="1031"/>
                  <a:pt x="909" y="1031"/>
                </a:cubicBezTo>
                <a:cubicBezTo>
                  <a:pt x="963" y="1031"/>
                  <a:pt x="966" y="1029"/>
                  <a:pt x="982" y="984"/>
                </a:cubicBezTo>
                <a:lnTo>
                  <a:pt x="999" y="937"/>
                </a:lnTo>
                <a:lnTo>
                  <a:pt x="949" y="912"/>
                </a:lnTo>
                <a:cubicBezTo>
                  <a:pt x="922" y="898"/>
                  <a:pt x="900" y="885"/>
                  <a:pt x="900" y="882"/>
                </a:cubicBezTo>
                <a:cubicBezTo>
                  <a:pt x="900" y="880"/>
                  <a:pt x="914" y="852"/>
                  <a:pt x="932" y="820"/>
                </a:cubicBezTo>
                <a:lnTo>
                  <a:pt x="964" y="762"/>
                </a:lnTo>
                <a:lnTo>
                  <a:pt x="1016" y="792"/>
                </a:lnTo>
                <a:lnTo>
                  <a:pt x="1069" y="822"/>
                </a:lnTo>
                <a:lnTo>
                  <a:pt x="1103" y="780"/>
                </a:lnTo>
                <a:lnTo>
                  <a:pt x="1138" y="739"/>
                </a:lnTo>
                <a:lnTo>
                  <a:pt x="1099" y="695"/>
                </a:lnTo>
                <a:lnTo>
                  <a:pt x="1060" y="650"/>
                </a:lnTo>
                <a:lnTo>
                  <a:pt x="1100" y="615"/>
                </a:lnTo>
                <a:cubicBezTo>
                  <a:pt x="1166" y="559"/>
                  <a:pt x="1169" y="559"/>
                  <a:pt x="1206" y="606"/>
                </a:cubicBezTo>
                <a:lnTo>
                  <a:pt x="1239" y="650"/>
                </a:lnTo>
                <a:lnTo>
                  <a:pt x="1287" y="623"/>
                </a:lnTo>
                <a:lnTo>
                  <a:pt x="1335" y="596"/>
                </a:lnTo>
                <a:lnTo>
                  <a:pt x="1317" y="546"/>
                </a:lnTo>
                <a:cubicBezTo>
                  <a:pt x="1297" y="489"/>
                  <a:pt x="1299" y="486"/>
                  <a:pt x="1371" y="458"/>
                </a:cubicBezTo>
                <a:cubicBezTo>
                  <a:pt x="1429" y="436"/>
                  <a:pt x="1427" y="435"/>
                  <a:pt x="1449" y="503"/>
                </a:cubicBezTo>
                <a:cubicBezTo>
                  <a:pt x="1464" y="549"/>
                  <a:pt x="1466" y="550"/>
                  <a:pt x="1510" y="542"/>
                </a:cubicBezTo>
                <a:cubicBezTo>
                  <a:pt x="1574" y="531"/>
                  <a:pt x="1575" y="530"/>
                  <a:pt x="1575" y="468"/>
                </a:cubicBezTo>
                <a:lnTo>
                  <a:pt x="1575" y="412"/>
                </a:lnTo>
                <a:lnTo>
                  <a:pt x="1644" y="412"/>
                </a:lnTo>
                <a:lnTo>
                  <a:pt x="1712" y="412"/>
                </a:lnTo>
                <a:lnTo>
                  <a:pt x="1712" y="475"/>
                </a:lnTo>
                <a:cubicBezTo>
                  <a:pt x="1712" y="535"/>
                  <a:pt x="1713" y="537"/>
                  <a:pt x="1750" y="539"/>
                </a:cubicBezTo>
                <a:cubicBezTo>
                  <a:pt x="1770" y="540"/>
                  <a:pt x="1794" y="542"/>
                  <a:pt x="1803" y="542"/>
                </a:cubicBezTo>
                <a:cubicBezTo>
                  <a:pt x="1811" y="543"/>
                  <a:pt x="1826" y="520"/>
                  <a:pt x="1837" y="492"/>
                </a:cubicBezTo>
                <a:lnTo>
                  <a:pt x="1856" y="441"/>
                </a:lnTo>
                <a:lnTo>
                  <a:pt x="1906" y="458"/>
                </a:lnTo>
                <a:cubicBezTo>
                  <a:pt x="1934" y="467"/>
                  <a:pt x="1963" y="478"/>
                  <a:pt x="1972" y="481"/>
                </a:cubicBezTo>
                <a:cubicBezTo>
                  <a:pt x="1985" y="485"/>
                  <a:pt x="1984" y="496"/>
                  <a:pt x="1969" y="532"/>
                </a:cubicBezTo>
                <a:cubicBezTo>
                  <a:pt x="1943" y="593"/>
                  <a:pt x="1943" y="593"/>
                  <a:pt x="1994" y="623"/>
                </a:cubicBezTo>
                <a:lnTo>
                  <a:pt x="2038" y="649"/>
                </a:lnTo>
                <a:lnTo>
                  <a:pt x="2078" y="606"/>
                </a:lnTo>
                <a:lnTo>
                  <a:pt x="2119" y="563"/>
                </a:lnTo>
                <a:lnTo>
                  <a:pt x="2168" y="605"/>
                </a:lnTo>
                <a:lnTo>
                  <a:pt x="2217" y="647"/>
                </a:lnTo>
                <a:lnTo>
                  <a:pt x="2182" y="693"/>
                </a:lnTo>
                <a:lnTo>
                  <a:pt x="2148" y="738"/>
                </a:lnTo>
                <a:lnTo>
                  <a:pt x="2180" y="781"/>
                </a:lnTo>
                <a:lnTo>
                  <a:pt x="2213" y="824"/>
                </a:lnTo>
                <a:lnTo>
                  <a:pt x="2263" y="793"/>
                </a:lnTo>
                <a:lnTo>
                  <a:pt x="2312" y="762"/>
                </a:lnTo>
                <a:lnTo>
                  <a:pt x="2331" y="793"/>
                </a:lnTo>
                <a:cubicBezTo>
                  <a:pt x="2391" y="893"/>
                  <a:pt x="2389" y="885"/>
                  <a:pt x="2365" y="893"/>
                </a:cubicBezTo>
                <a:cubicBezTo>
                  <a:pt x="2353" y="897"/>
                  <a:pt x="2330" y="910"/>
                  <a:pt x="2314" y="923"/>
                </a:cubicBezTo>
                <a:cubicBezTo>
                  <a:pt x="2286" y="945"/>
                  <a:pt x="2285" y="948"/>
                  <a:pt x="2301" y="993"/>
                </a:cubicBezTo>
                <a:lnTo>
                  <a:pt x="2318" y="1040"/>
                </a:lnTo>
                <a:lnTo>
                  <a:pt x="2377" y="1032"/>
                </a:lnTo>
                <a:lnTo>
                  <a:pt x="2435" y="1024"/>
                </a:lnTo>
                <a:lnTo>
                  <a:pt x="2446" y="1090"/>
                </a:lnTo>
                <a:lnTo>
                  <a:pt x="2457" y="1156"/>
                </a:lnTo>
                <a:lnTo>
                  <a:pt x="2402" y="1168"/>
                </a:lnTo>
                <a:cubicBezTo>
                  <a:pt x="2348" y="1181"/>
                  <a:pt x="2347" y="1182"/>
                  <a:pt x="2344" y="1233"/>
                </a:cubicBezTo>
                <a:cubicBezTo>
                  <a:pt x="2342" y="1286"/>
                  <a:pt x="2342" y="1286"/>
                  <a:pt x="2393" y="1294"/>
                </a:cubicBezTo>
                <a:cubicBezTo>
                  <a:pt x="2421" y="1299"/>
                  <a:pt x="2447" y="1305"/>
                  <a:pt x="2451" y="1307"/>
                </a:cubicBezTo>
                <a:cubicBezTo>
                  <a:pt x="2455" y="1310"/>
                  <a:pt x="2453" y="1340"/>
                  <a:pt x="2446" y="1375"/>
                </a:cubicBezTo>
                <a:lnTo>
                  <a:pt x="2434" y="1439"/>
                </a:lnTo>
                <a:lnTo>
                  <a:pt x="2375" y="1431"/>
                </a:lnTo>
                <a:lnTo>
                  <a:pt x="2317" y="1423"/>
                </a:lnTo>
                <a:lnTo>
                  <a:pt x="2302" y="1471"/>
                </a:lnTo>
                <a:cubicBezTo>
                  <a:pt x="2286" y="1521"/>
                  <a:pt x="2291" y="1531"/>
                  <a:pt x="2357" y="1570"/>
                </a:cubicBezTo>
                <a:cubicBezTo>
                  <a:pt x="2379" y="1583"/>
                  <a:pt x="2379" y="1586"/>
                  <a:pt x="2349" y="1641"/>
                </a:cubicBezTo>
                <a:cubicBezTo>
                  <a:pt x="2332" y="1674"/>
                  <a:pt x="2316" y="1700"/>
                  <a:pt x="2312" y="1700"/>
                </a:cubicBezTo>
                <a:cubicBezTo>
                  <a:pt x="2309" y="1700"/>
                  <a:pt x="2289" y="1688"/>
                  <a:pt x="2269" y="1675"/>
                </a:cubicBezTo>
                <a:cubicBezTo>
                  <a:pt x="2219" y="1642"/>
                  <a:pt x="2209" y="1643"/>
                  <a:pt x="2176" y="1688"/>
                </a:cubicBezTo>
                <a:lnTo>
                  <a:pt x="2148" y="1726"/>
                </a:lnTo>
                <a:lnTo>
                  <a:pt x="2180" y="1768"/>
                </a:lnTo>
                <a:cubicBezTo>
                  <a:pt x="2198" y="1792"/>
                  <a:pt x="2212" y="1813"/>
                  <a:pt x="2212" y="1817"/>
                </a:cubicBezTo>
                <a:cubicBezTo>
                  <a:pt x="2212" y="1820"/>
                  <a:pt x="2190" y="1840"/>
                  <a:pt x="2163" y="1862"/>
                </a:cubicBezTo>
                <a:lnTo>
                  <a:pt x="2113" y="1901"/>
                </a:lnTo>
                <a:lnTo>
                  <a:pt x="2074" y="1858"/>
                </a:lnTo>
                <a:lnTo>
                  <a:pt x="2036" y="1814"/>
                </a:lnTo>
                <a:lnTo>
                  <a:pt x="1993" y="1839"/>
                </a:lnTo>
                <a:cubicBezTo>
                  <a:pt x="1944" y="1868"/>
                  <a:pt x="1943" y="1872"/>
                  <a:pt x="1968" y="1931"/>
                </a:cubicBezTo>
                <a:lnTo>
                  <a:pt x="1986" y="1975"/>
                </a:lnTo>
                <a:lnTo>
                  <a:pt x="1945" y="1992"/>
                </a:lnTo>
                <a:cubicBezTo>
                  <a:pt x="1857" y="2029"/>
                  <a:pt x="1856" y="2029"/>
                  <a:pt x="1836" y="1972"/>
                </a:cubicBezTo>
                <a:cubicBezTo>
                  <a:pt x="1817" y="1922"/>
                  <a:pt x="1814" y="1919"/>
                  <a:pt x="1774" y="1923"/>
                </a:cubicBezTo>
                <a:cubicBezTo>
                  <a:pt x="1715" y="1929"/>
                  <a:pt x="1712" y="1932"/>
                  <a:pt x="1712" y="1994"/>
                </a:cubicBezTo>
                <a:lnTo>
                  <a:pt x="1712" y="2050"/>
                </a:lnTo>
                <a:lnTo>
                  <a:pt x="1644" y="2050"/>
                </a:lnTo>
                <a:lnTo>
                  <a:pt x="1575" y="2050"/>
                </a:lnTo>
                <a:lnTo>
                  <a:pt x="1575" y="1993"/>
                </a:lnTo>
                <a:close/>
                <a:moveTo>
                  <a:pt x="1711" y="1369"/>
                </a:moveTo>
                <a:cubicBezTo>
                  <a:pt x="1785" y="1331"/>
                  <a:pt x="1812" y="1249"/>
                  <a:pt x="1777" y="1170"/>
                </a:cubicBezTo>
                <a:cubicBezTo>
                  <a:pt x="1753" y="1117"/>
                  <a:pt x="1694" y="1075"/>
                  <a:pt x="1644" y="1075"/>
                </a:cubicBezTo>
                <a:cubicBezTo>
                  <a:pt x="1601" y="1075"/>
                  <a:pt x="1537" y="1113"/>
                  <a:pt x="1513" y="1152"/>
                </a:cubicBezTo>
                <a:cubicBezTo>
                  <a:pt x="1467" y="1228"/>
                  <a:pt x="1485" y="1308"/>
                  <a:pt x="1561" y="1359"/>
                </a:cubicBezTo>
                <a:cubicBezTo>
                  <a:pt x="1610" y="1391"/>
                  <a:pt x="1661" y="1395"/>
                  <a:pt x="1711" y="1369"/>
                </a:cubicBezTo>
                <a:close/>
                <a:moveTo>
                  <a:pt x="560" y="853"/>
                </a:moveTo>
                <a:cubicBezTo>
                  <a:pt x="555" y="790"/>
                  <a:pt x="516" y="782"/>
                  <a:pt x="483" y="837"/>
                </a:cubicBezTo>
                <a:lnTo>
                  <a:pt x="460" y="876"/>
                </a:lnTo>
                <a:lnTo>
                  <a:pt x="414" y="848"/>
                </a:lnTo>
                <a:cubicBezTo>
                  <a:pt x="347" y="808"/>
                  <a:pt x="346" y="806"/>
                  <a:pt x="367" y="764"/>
                </a:cubicBezTo>
                <a:cubicBezTo>
                  <a:pt x="400" y="701"/>
                  <a:pt x="371" y="667"/>
                  <a:pt x="319" y="706"/>
                </a:cubicBezTo>
                <a:cubicBezTo>
                  <a:pt x="282" y="734"/>
                  <a:pt x="269" y="729"/>
                  <a:pt x="238" y="673"/>
                </a:cubicBezTo>
                <a:lnTo>
                  <a:pt x="208" y="621"/>
                </a:lnTo>
                <a:lnTo>
                  <a:pt x="234" y="601"/>
                </a:lnTo>
                <a:cubicBezTo>
                  <a:pt x="248" y="590"/>
                  <a:pt x="269" y="575"/>
                  <a:pt x="280" y="568"/>
                </a:cubicBezTo>
                <a:cubicBezTo>
                  <a:pt x="318" y="546"/>
                  <a:pt x="291" y="512"/>
                  <a:pt x="236" y="512"/>
                </a:cubicBezTo>
                <a:lnTo>
                  <a:pt x="187" y="512"/>
                </a:lnTo>
                <a:lnTo>
                  <a:pt x="187" y="443"/>
                </a:lnTo>
                <a:lnTo>
                  <a:pt x="187" y="375"/>
                </a:lnTo>
                <a:lnTo>
                  <a:pt x="242" y="375"/>
                </a:lnTo>
                <a:cubicBezTo>
                  <a:pt x="319" y="375"/>
                  <a:pt x="328" y="346"/>
                  <a:pt x="262" y="312"/>
                </a:cubicBezTo>
                <a:cubicBezTo>
                  <a:pt x="235" y="298"/>
                  <a:pt x="212" y="285"/>
                  <a:pt x="212" y="282"/>
                </a:cubicBezTo>
                <a:cubicBezTo>
                  <a:pt x="212" y="280"/>
                  <a:pt x="227" y="252"/>
                  <a:pt x="245" y="220"/>
                </a:cubicBezTo>
                <a:lnTo>
                  <a:pt x="277" y="161"/>
                </a:lnTo>
                <a:lnTo>
                  <a:pt x="330" y="192"/>
                </a:lnTo>
                <a:cubicBezTo>
                  <a:pt x="403" y="235"/>
                  <a:pt x="423" y="216"/>
                  <a:pt x="381" y="144"/>
                </a:cubicBezTo>
                <a:lnTo>
                  <a:pt x="351" y="93"/>
                </a:lnTo>
                <a:lnTo>
                  <a:pt x="412" y="58"/>
                </a:lnTo>
                <a:lnTo>
                  <a:pt x="474" y="24"/>
                </a:lnTo>
                <a:lnTo>
                  <a:pt x="500" y="75"/>
                </a:lnTo>
                <a:cubicBezTo>
                  <a:pt x="536" y="146"/>
                  <a:pt x="567" y="139"/>
                  <a:pt x="572" y="59"/>
                </a:cubicBezTo>
                <a:lnTo>
                  <a:pt x="576" y="0"/>
                </a:lnTo>
                <a:lnTo>
                  <a:pt x="638" y="0"/>
                </a:lnTo>
                <a:lnTo>
                  <a:pt x="700" y="0"/>
                </a:lnTo>
                <a:lnTo>
                  <a:pt x="700" y="56"/>
                </a:lnTo>
                <a:cubicBezTo>
                  <a:pt x="700" y="120"/>
                  <a:pt x="731" y="148"/>
                  <a:pt x="755" y="107"/>
                </a:cubicBezTo>
                <a:cubicBezTo>
                  <a:pt x="763" y="94"/>
                  <a:pt x="777" y="73"/>
                  <a:pt x="788" y="59"/>
                </a:cubicBezTo>
                <a:lnTo>
                  <a:pt x="808" y="33"/>
                </a:lnTo>
                <a:lnTo>
                  <a:pt x="860" y="63"/>
                </a:lnTo>
                <a:cubicBezTo>
                  <a:pt x="919" y="96"/>
                  <a:pt x="922" y="103"/>
                  <a:pt x="888" y="158"/>
                </a:cubicBezTo>
                <a:cubicBezTo>
                  <a:pt x="868" y="191"/>
                  <a:pt x="867" y="200"/>
                  <a:pt x="881" y="212"/>
                </a:cubicBezTo>
                <a:cubicBezTo>
                  <a:pt x="893" y="222"/>
                  <a:pt x="908" y="220"/>
                  <a:pt x="939" y="200"/>
                </a:cubicBezTo>
                <a:cubicBezTo>
                  <a:pt x="962" y="186"/>
                  <a:pt x="984" y="175"/>
                  <a:pt x="988" y="175"/>
                </a:cubicBezTo>
                <a:cubicBezTo>
                  <a:pt x="998" y="175"/>
                  <a:pt x="1050" y="268"/>
                  <a:pt x="1050" y="285"/>
                </a:cubicBezTo>
                <a:cubicBezTo>
                  <a:pt x="1050" y="293"/>
                  <a:pt x="1033" y="308"/>
                  <a:pt x="1012" y="318"/>
                </a:cubicBezTo>
                <a:cubicBezTo>
                  <a:pt x="990" y="330"/>
                  <a:pt x="975" y="348"/>
                  <a:pt x="975" y="363"/>
                </a:cubicBezTo>
                <a:cubicBezTo>
                  <a:pt x="975" y="383"/>
                  <a:pt x="983" y="387"/>
                  <a:pt x="1031" y="387"/>
                </a:cubicBezTo>
                <a:lnTo>
                  <a:pt x="1087" y="387"/>
                </a:lnTo>
                <a:lnTo>
                  <a:pt x="1087" y="456"/>
                </a:lnTo>
                <a:lnTo>
                  <a:pt x="1087" y="525"/>
                </a:lnTo>
                <a:lnTo>
                  <a:pt x="1037" y="525"/>
                </a:lnTo>
                <a:cubicBezTo>
                  <a:pt x="975" y="525"/>
                  <a:pt x="957" y="555"/>
                  <a:pt x="998" y="588"/>
                </a:cubicBezTo>
                <a:cubicBezTo>
                  <a:pt x="1013" y="600"/>
                  <a:pt x="1031" y="612"/>
                  <a:pt x="1039" y="615"/>
                </a:cubicBezTo>
                <a:cubicBezTo>
                  <a:pt x="1054" y="620"/>
                  <a:pt x="1011" y="716"/>
                  <a:pt x="988" y="731"/>
                </a:cubicBezTo>
                <a:cubicBezTo>
                  <a:pt x="981" y="735"/>
                  <a:pt x="961" y="729"/>
                  <a:pt x="943" y="717"/>
                </a:cubicBezTo>
                <a:cubicBezTo>
                  <a:pt x="914" y="698"/>
                  <a:pt x="909" y="698"/>
                  <a:pt x="892" y="715"/>
                </a:cubicBezTo>
                <a:cubicBezTo>
                  <a:pt x="874" y="732"/>
                  <a:pt x="875" y="738"/>
                  <a:pt x="892" y="773"/>
                </a:cubicBezTo>
                <a:lnTo>
                  <a:pt x="912" y="811"/>
                </a:lnTo>
                <a:lnTo>
                  <a:pt x="854" y="845"/>
                </a:lnTo>
                <a:cubicBezTo>
                  <a:pt x="799" y="877"/>
                  <a:pt x="795" y="878"/>
                  <a:pt x="782" y="857"/>
                </a:cubicBezTo>
                <a:cubicBezTo>
                  <a:pt x="751" y="806"/>
                  <a:pt x="742" y="799"/>
                  <a:pt x="721" y="807"/>
                </a:cubicBezTo>
                <a:cubicBezTo>
                  <a:pt x="707" y="812"/>
                  <a:pt x="700" y="829"/>
                  <a:pt x="700" y="857"/>
                </a:cubicBezTo>
                <a:lnTo>
                  <a:pt x="700" y="900"/>
                </a:lnTo>
                <a:lnTo>
                  <a:pt x="632" y="900"/>
                </a:lnTo>
                <a:lnTo>
                  <a:pt x="564" y="900"/>
                </a:lnTo>
                <a:lnTo>
                  <a:pt x="560" y="853"/>
                </a:lnTo>
                <a:close/>
                <a:moveTo>
                  <a:pt x="722" y="531"/>
                </a:moveTo>
                <a:cubicBezTo>
                  <a:pt x="790" y="452"/>
                  <a:pt x="736" y="337"/>
                  <a:pt x="630" y="337"/>
                </a:cubicBezTo>
                <a:cubicBezTo>
                  <a:pt x="586" y="337"/>
                  <a:pt x="571" y="344"/>
                  <a:pt x="545" y="376"/>
                </a:cubicBezTo>
                <a:cubicBezTo>
                  <a:pt x="509" y="418"/>
                  <a:pt x="504" y="465"/>
                  <a:pt x="530" y="511"/>
                </a:cubicBezTo>
                <a:cubicBezTo>
                  <a:pt x="569" y="581"/>
                  <a:pt x="669" y="591"/>
                  <a:pt x="722" y="531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24" name="Freeform 27"/>
          <p:cNvSpPr>
            <a:spLocks noChangeAspect="1" noEditPoints="1"/>
          </p:cNvSpPr>
          <p:nvPr/>
        </p:nvSpPr>
        <p:spPr bwMode="auto">
          <a:xfrm>
            <a:off x="8402161" y="5628016"/>
            <a:ext cx="416450" cy="415143"/>
          </a:xfrm>
          <a:custGeom>
            <a:avLst/>
            <a:gdLst>
              <a:gd name="T0" fmla="*/ 2871 w 6415"/>
              <a:gd name="T1" fmla="*/ 6082 h 6394"/>
              <a:gd name="T2" fmla="*/ 2693 w 6415"/>
              <a:gd name="T3" fmla="*/ 5757 h 6394"/>
              <a:gd name="T4" fmla="*/ 1938 w 6415"/>
              <a:gd name="T5" fmla="*/ 5421 h 6394"/>
              <a:gd name="T6" fmla="*/ 1460 w 6415"/>
              <a:gd name="T7" fmla="*/ 5796 h 6394"/>
              <a:gd name="T8" fmla="*/ 865 w 6415"/>
              <a:gd name="T9" fmla="*/ 5193 h 6394"/>
              <a:gd name="T10" fmla="*/ 1223 w 6415"/>
              <a:gd name="T11" fmla="*/ 4723 h 6394"/>
              <a:gd name="T12" fmla="*/ 877 w 6415"/>
              <a:gd name="T13" fmla="*/ 3892 h 6394"/>
              <a:gd name="T14" fmla="*/ 311 w 6415"/>
              <a:gd name="T15" fmla="*/ 3749 h 6394"/>
              <a:gd name="T16" fmla="*/ 265 w 6415"/>
              <a:gd name="T17" fmla="*/ 3318 h 6394"/>
              <a:gd name="T18" fmla="*/ 293 w 6415"/>
              <a:gd name="T19" fmla="*/ 2889 h 6394"/>
              <a:gd name="T20" fmla="*/ 858 w 6415"/>
              <a:gd name="T21" fmla="*/ 2816 h 6394"/>
              <a:gd name="T22" fmla="*/ 1038 w 6415"/>
              <a:gd name="T23" fmla="*/ 2272 h 6394"/>
              <a:gd name="T24" fmla="*/ 1371 w 6415"/>
              <a:gd name="T25" fmla="*/ 2470 h 6394"/>
              <a:gd name="T26" fmla="*/ 1704 w 6415"/>
              <a:gd name="T27" fmla="*/ 2847 h 6394"/>
              <a:gd name="T28" fmla="*/ 3027 w 6415"/>
              <a:gd name="T29" fmla="*/ 4989 h 6394"/>
              <a:gd name="T30" fmla="*/ 5011 w 6415"/>
              <a:gd name="T31" fmla="*/ 3603 h 6394"/>
              <a:gd name="T32" fmla="*/ 3877 w 6415"/>
              <a:gd name="T33" fmla="*/ 1706 h 6394"/>
              <a:gd name="T34" fmla="*/ 2804 w 6415"/>
              <a:gd name="T35" fmla="*/ 1702 h 6394"/>
              <a:gd name="T36" fmla="*/ 2241 w 6415"/>
              <a:gd name="T37" fmla="*/ 1043 h 6394"/>
              <a:gd name="T38" fmla="*/ 2837 w 6415"/>
              <a:gd name="T39" fmla="*/ 841 h 6394"/>
              <a:gd name="T40" fmla="*/ 2879 w 6415"/>
              <a:gd name="T41" fmla="*/ 491 h 6394"/>
              <a:gd name="T42" fmla="*/ 3335 w 6415"/>
              <a:gd name="T43" fmla="*/ 244 h 6394"/>
              <a:gd name="T44" fmla="*/ 3768 w 6415"/>
              <a:gd name="T45" fmla="*/ 291 h 6394"/>
              <a:gd name="T46" fmla="*/ 3838 w 6415"/>
              <a:gd name="T47" fmla="*/ 835 h 6394"/>
              <a:gd name="T48" fmla="*/ 4655 w 6415"/>
              <a:gd name="T49" fmla="*/ 1167 h 6394"/>
              <a:gd name="T50" fmla="*/ 4970 w 6415"/>
              <a:gd name="T51" fmla="*/ 1029 h 6394"/>
              <a:gd name="T52" fmla="*/ 5504 w 6415"/>
              <a:gd name="T53" fmla="*/ 1140 h 6394"/>
              <a:gd name="T54" fmla="*/ 5620 w 6415"/>
              <a:gd name="T55" fmla="*/ 1689 h 6394"/>
              <a:gd name="T56" fmla="*/ 5502 w 6415"/>
              <a:gd name="T57" fmla="*/ 2024 h 6394"/>
              <a:gd name="T58" fmla="*/ 5814 w 6415"/>
              <a:gd name="T59" fmla="*/ 2810 h 6394"/>
              <a:gd name="T60" fmla="*/ 6386 w 6415"/>
              <a:gd name="T61" fmla="*/ 2889 h 6394"/>
              <a:gd name="T62" fmla="*/ 6415 w 6415"/>
              <a:gd name="T63" fmla="*/ 3318 h 6394"/>
              <a:gd name="T64" fmla="*/ 6368 w 6415"/>
              <a:gd name="T65" fmla="*/ 3749 h 6394"/>
              <a:gd name="T66" fmla="*/ 5791 w 6415"/>
              <a:gd name="T67" fmla="*/ 3898 h 6394"/>
              <a:gd name="T68" fmla="*/ 5448 w 6415"/>
              <a:gd name="T69" fmla="*/ 4714 h 6394"/>
              <a:gd name="T70" fmla="*/ 5812 w 6415"/>
              <a:gd name="T71" fmla="*/ 5191 h 6394"/>
              <a:gd name="T72" fmla="*/ 5208 w 6415"/>
              <a:gd name="T73" fmla="*/ 5794 h 6394"/>
              <a:gd name="T74" fmla="*/ 4839 w 6415"/>
              <a:gd name="T75" fmla="*/ 5504 h 6394"/>
              <a:gd name="T76" fmla="*/ 4639 w 6415"/>
              <a:gd name="T77" fmla="*/ 5479 h 6394"/>
              <a:gd name="T78" fmla="*/ 3842 w 6415"/>
              <a:gd name="T79" fmla="*/ 5799 h 6394"/>
              <a:gd name="T80" fmla="*/ 3775 w 6415"/>
              <a:gd name="T81" fmla="*/ 6285 h 6394"/>
              <a:gd name="T82" fmla="*/ 3337 w 6415"/>
              <a:gd name="T83" fmla="*/ 6394 h 6394"/>
              <a:gd name="T84" fmla="*/ 3365 w 6415"/>
              <a:gd name="T85" fmla="*/ 4506 h 6394"/>
              <a:gd name="T86" fmla="*/ 2522 w 6415"/>
              <a:gd name="T87" fmla="*/ 3168 h 6394"/>
              <a:gd name="T88" fmla="*/ 1331 w 6415"/>
              <a:gd name="T89" fmla="*/ 1891 h 6394"/>
              <a:gd name="T90" fmla="*/ 247 w 6415"/>
              <a:gd name="T91" fmla="*/ 194 h 6394"/>
              <a:gd name="T92" fmla="*/ 757 w 6415"/>
              <a:gd name="T93" fmla="*/ 32 h 6394"/>
              <a:gd name="T94" fmla="*/ 3165 w 6415"/>
              <a:gd name="T95" fmla="*/ 2515 h 6394"/>
              <a:gd name="T96" fmla="*/ 3690 w 6415"/>
              <a:gd name="T97" fmla="*/ 2481 h 6394"/>
              <a:gd name="T98" fmla="*/ 4428 w 6415"/>
              <a:gd name="T99" fmla="*/ 3910 h 6394"/>
              <a:gd name="T100" fmla="*/ 3874 w 6415"/>
              <a:gd name="T101" fmla="*/ 3172 h 6394"/>
              <a:gd name="T102" fmla="*/ 3104 w 6415"/>
              <a:gd name="T103" fmla="*/ 3480 h 6394"/>
              <a:gd name="T104" fmla="*/ 3345 w 6415"/>
              <a:gd name="T105" fmla="*/ 4139 h 6394"/>
              <a:gd name="T106" fmla="*/ 3365 w 6415"/>
              <a:gd name="T107" fmla="*/ 4506 h 6394"/>
              <a:gd name="T108" fmla="*/ 862 w 6415"/>
              <a:gd name="T109" fmla="*/ 581 h 6394"/>
              <a:gd name="T110" fmla="*/ 773 w 6415"/>
              <a:gd name="T111" fmla="*/ 378 h 6394"/>
              <a:gd name="T112" fmla="*/ 739 w 6415"/>
              <a:gd name="T113" fmla="*/ 769 h 6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415" h="6394">
                <a:moveTo>
                  <a:pt x="2909" y="6379"/>
                </a:moveTo>
                <a:cubicBezTo>
                  <a:pt x="2906" y="6370"/>
                  <a:pt x="2889" y="6237"/>
                  <a:pt x="2871" y="6082"/>
                </a:cubicBezTo>
                <a:cubicBezTo>
                  <a:pt x="2852" y="5927"/>
                  <a:pt x="2836" y="5799"/>
                  <a:pt x="2834" y="5797"/>
                </a:cubicBezTo>
                <a:cubicBezTo>
                  <a:pt x="2832" y="5795"/>
                  <a:pt x="2768" y="5777"/>
                  <a:pt x="2693" y="5757"/>
                </a:cubicBezTo>
                <a:cubicBezTo>
                  <a:pt x="2465" y="5697"/>
                  <a:pt x="2240" y="5603"/>
                  <a:pt x="2042" y="5483"/>
                </a:cubicBezTo>
                <a:lnTo>
                  <a:pt x="1938" y="5421"/>
                </a:lnTo>
                <a:lnTo>
                  <a:pt x="1699" y="5609"/>
                </a:lnTo>
                <a:lnTo>
                  <a:pt x="1460" y="5796"/>
                </a:lnTo>
                <a:lnTo>
                  <a:pt x="1162" y="5499"/>
                </a:lnTo>
                <a:cubicBezTo>
                  <a:pt x="999" y="5335"/>
                  <a:pt x="865" y="5197"/>
                  <a:pt x="865" y="5193"/>
                </a:cubicBezTo>
                <a:cubicBezTo>
                  <a:pt x="865" y="5188"/>
                  <a:pt x="944" y="5084"/>
                  <a:pt x="1040" y="4961"/>
                </a:cubicBezTo>
                <a:cubicBezTo>
                  <a:pt x="1137" y="4838"/>
                  <a:pt x="1219" y="4731"/>
                  <a:pt x="1223" y="4723"/>
                </a:cubicBezTo>
                <a:cubicBezTo>
                  <a:pt x="1226" y="4715"/>
                  <a:pt x="1200" y="4661"/>
                  <a:pt x="1165" y="4603"/>
                </a:cubicBezTo>
                <a:cubicBezTo>
                  <a:pt x="1044" y="4401"/>
                  <a:pt x="918" y="4090"/>
                  <a:pt x="877" y="3892"/>
                </a:cubicBezTo>
                <a:cubicBezTo>
                  <a:pt x="860" y="3808"/>
                  <a:pt x="891" y="3819"/>
                  <a:pt x="571" y="3782"/>
                </a:cubicBezTo>
                <a:cubicBezTo>
                  <a:pt x="454" y="3768"/>
                  <a:pt x="337" y="3754"/>
                  <a:pt x="311" y="3749"/>
                </a:cubicBezTo>
                <a:lnTo>
                  <a:pt x="265" y="3742"/>
                </a:lnTo>
                <a:lnTo>
                  <a:pt x="265" y="3318"/>
                </a:lnTo>
                <a:lnTo>
                  <a:pt x="265" y="2895"/>
                </a:lnTo>
                <a:lnTo>
                  <a:pt x="293" y="2889"/>
                </a:lnTo>
                <a:cubicBezTo>
                  <a:pt x="308" y="2885"/>
                  <a:pt x="441" y="2868"/>
                  <a:pt x="589" y="2851"/>
                </a:cubicBezTo>
                <a:cubicBezTo>
                  <a:pt x="736" y="2833"/>
                  <a:pt x="857" y="2818"/>
                  <a:pt x="858" y="2816"/>
                </a:cubicBezTo>
                <a:cubicBezTo>
                  <a:pt x="859" y="2814"/>
                  <a:pt x="875" y="2756"/>
                  <a:pt x="893" y="2687"/>
                </a:cubicBezTo>
                <a:cubicBezTo>
                  <a:pt x="925" y="2561"/>
                  <a:pt x="1000" y="2348"/>
                  <a:pt x="1038" y="2272"/>
                </a:cubicBezTo>
                <a:lnTo>
                  <a:pt x="1059" y="2231"/>
                </a:lnTo>
                <a:lnTo>
                  <a:pt x="1371" y="2470"/>
                </a:lnTo>
                <a:cubicBezTo>
                  <a:pt x="1543" y="2602"/>
                  <a:pt x="1694" y="2720"/>
                  <a:pt x="1707" y="2732"/>
                </a:cubicBezTo>
                <a:cubicBezTo>
                  <a:pt x="1731" y="2755"/>
                  <a:pt x="1731" y="2757"/>
                  <a:pt x="1704" y="2847"/>
                </a:cubicBezTo>
                <a:cubicBezTo>
                  <a:pt x="1661" y="2996"/>
                  <a:pt x="1640" y="3150"/>
                  <a:pt x="1640" y="3319"/>
                </a:cubicBezTo>
                <a:cubicBezTo>
                  <a:pt x="1640" y="4138"/>
                  <a:pt x="2216" y="4832"/>
                  <a:pt x="3027" y="4989"/>
                </a:cubicBezTo>
                <a:cubicBezTo>
                  <a:pt x="3186" y="5020"/>
                  <a:pt x="3489" y="5020"/>
                  <a:pt x="3643" y="4990"/>
                </a:cubicBezTo>
                <a:cubicBezTo>
                  <a:pt x="4348" y="4852"/>
                  <a:pt x="4883" y="4309"/>
                  <a:pt x="5011" y="3603"/>
                </a:cubicBezTo>
                <a:cubicBezTo>
                  <a:pt x="5052" y="3372"/>
                  <a:pt x="5034" y="3069"/>
                  <a:pt x="4963" y="2829"/>
                </a:cubicBezTo>
                <a:cubicBezTo>
                  <a:pt x="4812" y="2316"/>
                  <a:pt x="4385" y="1875"/>
                  <a:pt x="3877" y="1706"/>
                </a:cubicBezTo>
                <a:cubicBezTo>
                  <a:pt x="3570" y="1605"/>
                  <a:pt x="3214" y="1593"/>
                  <a:pt x="2909" y="1674"/>
                </a:cubicBezTo>
                <a:lnTo>
                  <a:pt x="2804" y="1702"/>
                </a:lnTo>
                <a:lnTo>
                  <a:pt x="2537" y="1410"/>
                </a:lnTo>
                <a:cubicBezTo>
                  <a:pt x="2217" y="1058"/>
                  <a:pt x="2217" y="1058"/>
                  <a:pt x="2241" y="1043"/>
                </a:cubicBezTo>
                <a:cubicBezTo>
                  <a:pt x="2286" y="1014"/>
                  <a:pt x="2585" y="906"/>
                  <a:pt x="2704" y="875"/>
                </a:cubicBezTo>
                <a:lnTo>
                  <a:pt x="2837" y="841"/>
                </a:lnTo>
                <a:lnTo>
                  <a:pt x="2843" y="790"/>
                </a:lnTo>
                <a:cubicBezTo>
                  <a:pt x="2847" y="761"/>
                  <a:pt x="2863" y="627"/>
                  <a:pt x="2879" y="491"/>
                </a:cubicBezTo>
                <a:lnTo>
                  <a:pt x="2908" y="244"/>
                </a:lnTo>
                <a:lnTo>
                  <a:pt x="3335" y="244"/>
                </a:lnTo>
                <a:lnTo>
                  <a:pt x="3761" y="244"/>
                </a:lnTo>
                <a:lnTo>
                  <a:pt x="3768" y="291"/>
                </a:lnTo>
                <a:cubicBezTo>
                  <a:pt x="3772" y="317"/>
                  <a:pt x="3788" y="448"/>
                  <a:pt x="3803" y="582"/>
                </a:cubicBezTo>
                <a:cubicBezTo>
                  <a:pt x="3818" y="716"/>
                  <a:pt x="3834" y="830"/>
                  <a:pt x="3838" y="835"/>
                </a:cubicBezTo>
                <a:cubicBezTo>
                  <a:pt x="3843" y="839"/>
                  <a:pt x="3902" y="858"/>
                  <a:pt x="3969" y="875"/>
                </a:cubicBezTo>
                <a:cubicBezTo>
                  <a:pt x="4196" y="934"/>
                  <a:pt x="4453" y="1044"/>
                  <a:pt x="4655" y="1167"/>
                </a:cubicBezTo>
                <a:lnTo>
                  <a:pt x="4733" y="1215"/>
                </a:lnTo>
                <a:lnTo>
                  <a:pt x="4970" y="1029"/>
                </a:lnTo>
                <a:lnTo>
                  <a:pt x="5206" y="843"/>
                </a:lnTo>
                <a:lnTo>
                  <a:pt x="5504" y="1140"/>
                </a:lnTo>
                <a:cubicBezTo>
                  <a:pt x="5668" y="1304"/>
                  <a:pt x="5802" y="1443"/>
                  <a:pt x="5802" y="1448"/>
                </a:cubicBezTo>
                <a:cubicBezTo>
                  <a:pt x="5802" y="1454"/>
                  <a:pt x="5720" y="1562"/>
                  <a:pt x="5620" y="1689"/>
                </a:cubicBezTo>
                <a:lnTo>
                  <a:pt x="5439" y="1919"/>
                </a:lnTo>
                <a:lnTo>
                  <a:pt x="5502" y="2024"/>
                </a:lnTo>
                <a:cubicBezTo>
                  <a:pt x="5622" y="2223"/>
                  <a:pt x="5732" y="2491"/>
                  <a:pt x="5783" y="2707"/>
                </a:cubicBezTo>
                <a:cubicBezTo>
                  <a:pt x="5795" y="2758"/>
                  <a:pt x="5809" y="2805"/>
                  <a:pt x="5814" y="2810"/>
                </a:cubicBezTo>
                <a:cubicBezTo>
                  <a:pt x="5819" y="2816"/>
                  <a:pt x="5943" y="2834"/>
                  <a:pt x="6091" y="2852"/>
                </a:cubicBezTo>
                <a:cubicBezTo>
                  <a:pt x="6238" y="2869"/>
                  <a:pt x="6371" y="2886"/>
                  <a:pt x="6386" y="2889"/>
                </a:cubicBezTo>
                <a:lnTo>
                  <a:pt x="6415" y="2895"/>
                </a:lnTo>
                <a:lnTo>
                  <a:pt x="6415" y="3318"/>
                </a:lnTo>
                <a:lnTo>
                  <a:pt x="6415" y="3742"/>
                </a:lnTo>
                <a:lnTo>
                  <a:pt x="6368" y="3749"/>
                </a:lnTo>
                <a:cubicBezTo>
                  <a:pt x="6342" y="3753"/>
                  <a:pt x="6222" y="3768"/>
                  <a:pt x="6102" y="3782"/>
                </a:cubicBezTo>
                <a:cubicBezTo>
                  <a:pt x="5775" y="3819"/>
                  <a:pt x="5810" y="3806"/>
                  <a:pt x="5791" y="3898"/>
                </a:cubicBezTo>
                <a:cubicBezTo>
                  <a:pt x="5752" y="4091"/>
                  <a:pt x="5627" y="4403"/>
                  <a:pt x="5508" y="4601"/>
                </a:cubicBezTo>
                <a:cubicBezTo>
                  <a:pt x="5476" y="4656"/>
                  <a:pt x="5448" y="4706"/>
                  <a:pt x="5448" y="4714"/>
                </a:cubicBezTo>
                <a:cubicBezTo>
                  <a:pt x="5448" y="4721"/>
                  <a:pt x="5530" y="4831"/>
                  <a:pt x="5630" y="4959"/>
                </a:cubicBezTo>
                <a:lnTo>
                  <a:pt x="5812" y="5191"/>
                </a:lnTo>
                <a:lnTo>
                  <a:pt x="5510" y="5492"/>
                </a:lnTo>
                <a:lnTo>
                  <a:pt x="5208" y="5794"/>
                </a:lnTo>
                <a:lnTo>
                  <a:pt x="5077" y="5691"/>
                </a:lnTo>
                <a:cubicBezTo>
                  <a:pt x="5005" y="5634"/>
                  <a:pt x="4898" y="5550"/>
                  <a:pt x="4839" y="5504"/>
                </a:cubicBezTo>
                <a:lnTo>
                  <a:pt x="4732" y="5421"/>
                </a:lnTo>
                <a:lnTo>
                  <a:pt x="4639" y="5479"/>
                </a:lnTo>
                <a:cubicBezTo>
                  <a:pt x="4447" y="5597"/>
                  <a:pt x="4066" y="5751"/>
                  <a:pt x="3905" y="5777"/>
                </a:cubicBezTo>
                <a:cubicBezTo>
                  <a:pt x="3876" y="5781"/>
                  <a:pt x="3848" y="5791"/>
                  <a:pt x="3842" y="5799"/>
                </a:cubicBezTo>
                <a:cubicBezTo>
                  <a:pt x="3836" y="5807"/>
                  <a:pt x="3821" y="5895"/>
                  <a:pt x="3810" y="5994"/>
                </a:cubicBezTo>
                <a:cubicBezTo>
                  <a:pt x="3798" y="6094"/>
                  <a:pt x="3783" y="6225"/>
                  <a:pt x="3775" y="6285"/>
                </a:cubicBezTo>
                <a:lnTo>
                  <a:pt x="3761" y="6394"/>
                </a:lnTo>
                <a:lnTo>
                  <a:pt x="3337" y="6394"/>
                </a:lnTo>
                <a:cubicBezTo>
                  <a:pt x="3010" y="6394"/>
                  <a:pt x="2913" y="6391"/>
                  <a:pt x="2909" y="6379"/>
                </a:cubicBezTo>
                <a:close/>
                <a:moveTo>
                  <a:pt x="3365" y="4506"/>
                </a:moveTo>
                <a:cubicBezTo>
                  <a:pt x="3035" y="4463"/>
                  <a:pt x="2741" y="4260"/>
                  <a:pt x="2591" y="3969"/>
                </a:cubicBezTo>
                <a:cubicBezTo>
                  <a:pt x="2456" y="3709"/>
                  <a:pt x="2433" y="3449"/>
                  <a:pt x="2522" y="3168"/>
                </a:cubicBezTo>
                <a:cubicBezTo>
                  <a:pt x="2547" y="3090"/>
                  <a:pt x="2550" y="3064"/>
                  <a:pt x="2539" y="3050"/>
                </a:cubicBezTo>
                <a:cubicBezTo>
                  <a:pt x="2531" y="3040"/>
                  <a:pt x="1988" y="2519"/>
                  <a:pt x="1331" y="1891"/>
                </a:cubicBezTo>
                <a:cubicBezTo>
                  <a:pt x="0" y="619"/>
                  <a:pt x="71" y="695"/>
                  <a:pt x="72" y="526"/>
                </a:cubicBezTo>
                <a:cubicBezTo>
                  <a:pt x="72" y="400"/>
                  <a:pt x="102" y="344"/>
                  <a:pt x="247" y="194"/>
                </a:cubicBezTo>
                <a:cubicBezTo>
                  <a:pt x="401" y="36"/>
                  <a:pt x="466" y="0"/>
                  <a:pt x="602" y="1"/>
                </a:cubicBezTo>
                <a:cubicBezTo>
                  <a:pt x="675" y="1"/>
                  <a:pt x="709" y="8"/>
                  <a:pt x="757" y="32"/>
                </a:cubicBezTo>
                <a:cubicBezTo>
                  <a:pt x="808" y="56"/>
                  <a:pt x="1034" y="286"/>
                  <a:pt x="1992" y="1288"/>
                </a:cubicBezTo>
                <a:lnTo>
                  <a:pt x="3165" y="2515"/>
                </a:lnTo>
                <a:lnTo>
                  <a:pt x="3255" y="2491"/>
                </a:lnTo>
                <a:cubicBezTo>
                  <a:pt x="3363" y="2464"/>
                  <a:pt x="3569" y="2459"/>
                  <a:pt x="3690" y="2481"/>
                </a:cubicBezTo>
                <a:cubicBezTo>
                  <a:pt x="4208" y="2578"/>
                  <a:pt x="4573" y="3074"/>
                  <a:pt x="4514" y="3599"/>
                </a:cubicBezTo>
                <a:cubicBezTo>
                  <a:pt x="4502" y="3701"/>
                  <a:pt x="4451" y="3887"/>
                  <a:pt x="4428" y="3910"/>
                </a:cubicBezTo>
                <a:cubicBezTo>
                  <a:pt x="4423" y="3915"/>
                  <a:pt x="4303" y="3758"/>
                  <a:pt x="4161" y="3559"/>
                </a:cubicBezTo>
                <a:cubicBezTo>
                  <a:pt x="4019" y="3361"/>
                  <a:pt x="3890" y="3187"/>
                  <a:pt x="3874" y="3172"/>
                </a:cubicBezTo>
                <a:cubicBezTo>
                  <a:pt x="3807" y="3109"/>
                  <a:pt x="3682" y="3089"/>
                  <a:pt x="3593" y="3126"/>
                </a:cubicBezTo>
                <a:cubicBezTo>
                  <a:pt x="3529" y="3153"/>
                  <a:pt x="3131" y="3440"/>
                  <a:pt x="3104" y="3480"/>
                </a:cubicBezTo>
                <a:cubicBezTo>
                  <a:pt x="3052" y="3555"/>
                  <a:pt x="3038" y="3661"/>
                  <a:pt x="3069" y="3736"/>
                </a:cubicBezTo>
                <a:cubicBezTo>
                  <a:pt x="3079" y="3759"/>
                  <a:pt x="3203" y="3940"/>
                  <a:pt x="3345" y="4139"/>
                </a:cubicBezTo>
                <a:cubicBezTo>
                  <a:pt x="3588" y="4478"/>
                  <a:pt x="3602" y="4501"/>
                  <a:pt x="3575" y="4509"/>
                </a:cubicBezTo>
                <a:cubicBezTo>
                  <a:pt x="3536" y="4519"/>
                  <a:pt x="3464" y="4518"/>
                  <a:pt x="3365" y="4506"/>
                </a:cubicBezTo>
                <a:close/>
                <a:moveTo>
                  <a:pt x="739" y="769"/>
                </a:moveTo>
                <a:cubicBezTo>
                  <a:pt x="815" y="731"/>
                  <a:pt x="856" y="668"/>
                  <a:pt x="862" y="581"/>
                </a:cubicBezTo>
                <a:cubicBezTo>
                  <a:pt x="867" y="519"/>
                  <a:pt x="862" y="499"/>
                  <a:pt x="835" y="453"/>
                </a:cubicBezTo>
                <a:cubicBezTo>
                  <a:pt x="818" y="423"/>
                  <a:pt x="790" y="389"/>
                  <a:pt x="773" y="378"/>
                </a:cubicBezTo>
                <a:cubicBezTo>
                  <a:pt x="617" y="276"/>
                  <a:pt x="415" y="380"/>
                  <a:pt x="415" y="563"/>
                </a:cubicBezTo>
                <a:cubicBezTo>
                  <a:pt x="415" y="737"/>
                  <a:pt x="587" y="847"/>
                  <a:pt x="739" y="76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834">
              <a:defRPr/>
            </a:pPr>
            <a:endParaRPr lang="en-US" sz="3199">
              <a:solidFill>
                <a:srgbClr val="1F2A44"/>
              </a:solidFill>
              <a:latin typeface="Corbel"/>
            </a:endParaRPr>
          </a:p>
        </p:txBody>
      </p:sp>
      <p:sp>
        <p:nvSpPr>
          <p:cNvPr id="325" name="TextBox 324"/>
          <p:cNvSpPr txBox="1">
            <a:spLocks/>
          </p:cNvSpPr>
          <p:nvPr/>
        </p:nvSpPr>
        <p:spPr>
          <a:xfrm>
            <a:off x="7117254" y="3669511"/>
            <a:ext cx="953056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Software</a:t>
            </a:r>
          </a:p>
        </p:txBody>
      </p:sp>
      <p:sp>
        <p:nvSpPr>
          <p:cNvPr id="326" name="TextBox 325"/>
          <p:cNvSpPr txBox="1">
            <a:spLocks/>
          </p:cNvSpPr>
          <p:nvPr/>
        </p:nvSpPr>
        <p:spPr>
          <a:xfrm>
            <a:off x="4527900" y="3557776"/>
            <a:ext cx="1082900" cy="467778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lnSpc>
                <a:spcPct val="80000"/>
              </a:lnSpc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Servers &amp; </a:t>
            </a:r>
            <a:br>
              <a:rPr lang="en-US" sz="1400" b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Storage</a:t>
            </a:r>
          </a:p>
        </p:txBody>
      </p:sp>
      <p:sp>
        <p:nvSpPr>
          <p:cNvPr id="327" name="TextBox 326"/>
          <p:cNvSpPr txBox="1">
            <a:spLocks/>
          </p:cNvSpPr>
          <p:nvPr/>
        </p:nvSpPr>
        <p:spPr>
          <a:xfrm>
            <a:off x="9491888" y="3669511"/>
            <a:ext cx="1142211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/>
          <a:p>
            <a:pPr algn="ctr" defTabSz="1218706">
              <a:defRPr/>
            </a:pPr>
            <a:r>
              <a:rPr lang="en-US" sz="1400" kern="0">
                <a:solidFill>
                  <a:srgbClr val="FFFFFF"/>
                </a:solidFill>
                <a:latin typeface="Arial"/>
                <a:cs typeface="Arial"/>
              </a:rPr>
              <a:t>Networking</a:t>
            </a:r>
          </a:p>
        </p:txBody>
      </p:sp>
      <p:sp>
        <p:nvSpPr>
          <p:cNvPr id="328" name="TextBox 327"/>
          <p:cNvSpPr txBox="1">
            <a:spLocks/>
          </p:cNvSpPr>
          <p:nvPr/>
        </p:nvSpPr>
        <p:spPr>
          <a:xfrm>
            <a:off x="5652240" y="3669511"/>
            <a:ext cx="1371440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/>
          <a:p>
            <a:pPr algn="ctr" defTabSz="1218706">
              <a:defRPr/>
            </a:pPr>
            <a:r>
              <a:rPr lang="en-US" sz="1400" kern="0">
                <a:solidFill>
                  <a:srgbClr val="FFFFFF"/>
                </a:solidFill>
                <a:latin typeface="Arial"/>
                <a:cs typeface="Arial"/>
              </a:rPr>
              <a:t>Analytics / IoT</a:t>
            </a:r>
          </a:p>
        </p:txBody>
      </p:sp>
      <p:sp>
        <p:nvSpPr>
          <p:cNvPr id="329" name="TextBox 328"/>
          <p:cNvSpPr txBox="1">
            <a:spLocks/>
          </p:cNvSpPr>
          <p:nvPr/>
        </p:nvSpPr>
        <p:spPr>
          <a:xfrm>
            <a:off x="8230326" y="3669511"/>
            <a:ext cx="1281672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Hybrid Cloud</a:t>
            </a:r>
          </a:p>
        </p:txBody>
      </p:sp>
      <p:sp>
        <p:nvSpPr>
          <p:cNvPr id="330" name="TextBox 329"/>
          <p:cNvSpPr txBox="1">
            <a:spLocks/>
          </p:cNvSpPr>
          <p:nvPr/>
        </p:nvSpPr>
        <p:spPr>
          <a:xfrm>
            <a:off x="10771262" y="3669511"/>
            <a:ext cx="893746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Security</a:t>
            </a:r>
          </a:p>
        </p:txBody>
      </p:sp>
      <p:sp>
        <p:nvSpPr>
          <p:cNvPr id="331" name="TextBox 330"/>
          <p:cNvSpPr txBox="1">
            <a:spLocks/>
          </p:cNvSpPr>
          <p:nvPr/>
        </p:nvSpPr>
        <p:spPr>
          <a:xfrm>
            <a:off x="8801585" y="4832685"/>
            <a:ext cx="1571815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Professional A/V</a:t>
            </a:r>
          </a:p>
        </p:txBody>
      </p:sp>
      <p:sp>
        <p:nvSpPr>
          <p:cNvPr id="332" name="TextBox 331"/>
          <p:cNvSpPr txBox="1">
            <a:spLocks/>
          </p:cNvSpPr>
          <p:nvPr/>
        </p:nvSpPr>
        <p:spPr>
          <a:xfrm>
            <a:off x="7358770" y="4832685"/>
            <a:ext cx="626044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/>
          <a:p>
            <a:pPr algn="ctr" defTabSz="1218706">
              <a:defRPr/>
            </a:pPr>
            <a:r>
              <a:rPr lang="en-US" sz="1400" kern="0">
                <a:solidFill>
                  <a:srgbClr val="FFFFFF"/>
                </a:solidFill>
                <a:latin typeface="Arial"/>
                <a:cs typeface="Arial"/>
              </a:rPr>
              <a:t>CAD</a:t>
            </a:r>
          </a:p>
        </p:txBody>
      </p:sp>
      <p:sp>
        <p:nvSpPr>
          <p:cNvPr id="333" name="TextBox 332"/>
          <p:cNvSpPr txBox="1">
            <a:spLocks/>
          </p:cNvSpPr>
          <p:nvPr/>
        </p:nvSpPr>
        <p:spPr>
          <a:xfrm>
            <a:off x="5015808" y="4832685"/>
            <a:ext cx="1260834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/>
          <a:p>
            <a:pPr algn="ctr" defTabSz="1218706">
              <a:defRPr/>
            </a:pPr>
            <a:r>
              <a:rPr lang="en-US" sz="1400" kern="0">
                <a:solidFill>
                  <a:srgbClr val="FFFFFF"/>
                </a:solidFill>
                <a:latin typeface="Arial"/>
                <a:cs typeface="Arial"/>
              </a:rPr>
              <a:t>Components</a:t>
            </a:r>
          </a:p>
        </p:txBody>
      </p:sp>
      <p:sp>
        <p:nvSpPr>
          <p:cNvPr id="334" name="TextBox 333"/>
          <p:cNvSpPr txBox="1">
            <a:spLocks/>
          </p:cNvSpPr>
          <p:nvPr/>
        </p:nvSpPr>
        <p:spPr>
          <a:xfrm>
            <a:off x="4684237" y="6013379"/>
            <a:ext cx="943439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defRPr>
            </a:lvl1pPr>
          </a:lstStyle>
          <a:p>
            <a:pPr algn="ctr" defTabSz="1218834">
              <a:defRPr/>
            </a:pPr>
            <a:r>
              <a:rPr lang="en-US" sz="1400" b="0">
                <a:solidFill>
                  <a:srgbClr val="FFFFFF"/>
                </a:solidFill>
                <a:latin typeface="Arial"/>
                <a:cs typeface="Arial"/>
              </a:rPr>
              <a:t>Lifecycle</a:t>
            </a:r>
          </a:p>
        </p:txBody>
      </p:sp>
      <p:sp>
        <p:nvSpPr>
          <p:cNvPr id="335" name="TextBox 334"/>
          <p:cNvSpPr txBox="1">
            <a:spLocks/>
          </p:cNvSpPr>
          <p:nvPr/>
        </p:nvSpPr>
        <p:spPr>
          <a:xfrm>
            <a:off x="6063588" y="6026922"/>
            <a:ext cx="1469224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/>
          <a:p>
            <a:pPr algn="ctr" defTabSz="1218706">
              <a:defRPr/>
            </a:pPr>
            <a:r>
              <a:rPr lang="en-US" sz="1400" kern="0">
                <a:solidFill>
                  <a:srgbClr val="FFFFFF"/>
                </a:solidFill>
                <a:latin typeface="Arial"/>
                <a:cs typeface="Arial"/>
              </a:rPr>
              <a:t>Implementation</a:t>
            </a:r>
          </a:p>
        </p:txBody>
      </p:sp>
      <p:sp>
        <p:nvSpPr>
          <p:cNvPr id="336" name="TextBox 335"/>
          <p:cNvSpPr txBox="1">
            <a:spLocks/>
          </p:cNvSpPr>
          <p:nvPr/>
        </p:nvSpPr>
        <p:spPr>
          <a:xfrm>
            <a:off x="7976164" y="6026922"/>
            <a:ext cx="1270451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/>
          <a:p>
            <a:pPr algn="ctr" defTabSz="1218706">
              <a:defRPr/>
            </a:pPr>
            <a:r>
              <a:rPr lang="en-US" sz="1400" kern="0">
                <a:solidFill>
                  <a:srgbClr val="FFFFFF"/>
                </a:solidFill>
                <a:latin typeface="Arial"/>
                <a:cs typeface="Arial"/>
              </a:rPr>
              <a:t>Maintenance</a:t>
            </a:r>
          </a:p>
        </p:txBody>
      </p:sp>
      <p:sp>
        <p:nvSpPr>
          <p:cNvPr id="337" name="TextBox 336"/>
          <p:cNvSpPr txBox="1">
            <a:spLocks/>
          </p:cNvSpPr>
          <p:nvPr/>
        </p:nvSpPr>
        <p:spPr>
          <a:xfrm>
            <a:off x="9653194" y="6026922"/>
            <a:ext cx="773520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/>
          <a:p>
            <a:pPr algn="ctr" defTabSz="1218706">
              <a:defRPr/>
            </a:pPr>
            <a:r>
              <a:rPr lang="en-US" sz="1400" kern="0">
                <a:solidFill>
                  <a:srgbClr val="FFFFFF"/>
                </a:solidFill>
                <a:latin typeface="Arial"/>
                <a:cs typeface="Arial"/>
              </a:rPr>
              <a:t>Repair</a:t>
            </a:r>
          </a:p>
        </p:txBody>
      </p:sp>
      <p:sp>
        <p:nvSpPr>
          <p:cNvPr id="338" name="TextBox 337"/>
          <p:cNvSpPr txBox="1">
            <a:spLocks/>
          </p:cNvSpPr>
          <p:nvPr/>
        </p:nvSpPr>
        <p:spPr>
          <a:xfrm>
            <a:off x="10809669" y="6026922"/>
            <a:ext cx="626044" cy="338512"/>
          </a:xfrm>
          <a:prstGeom prst="rect">
            <a:avLst/>
          </a:prstGeom>
          <a:noFill/>
        </p:spPr>
        <p:txBody>
          <a:bodyPr wrap="none" lIns="121876" tIns="60939" rIns="121876" bIns="60939" rtlCol="0">
            <a:spAutoFit/>
          </a:bodyPr>
          <a:lstStyle/>
          <a:p>
            <a:pPr algn="ctr" defTabSz="1218706">
              <a:defRPr/>
            </a:pPr>
            <a:r>
              <a:rPr lang="en-US" sz="1400" kern="0">
                <a:solidFill>
                  <a:srgbClr val="FFFFFF"/>
                </a:solidFill>
                <a:latin typeface="Arial"/>
                <a:cs typeface="Arial"/>
              </a:rPr>
              <a:t>BPO</a:t>
            </a:r>
          </a:p>
        </p:txBody>
      </p:sp>
      <p:sp>
        <p:nvSpPr>
          <p:cNvPr id="339" name="Rectangle 338"/>
          <p:cNvSpPr/>
          <p:nvPr/>
        </p:nvSpPr>
        <p:spPr>
          <a:xfrm>
            <a:off x="2445375" y="1853576"/>
            <a:ext cx="1715477" cy="96427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 defTabSz="1218834">
              <a:defRPr/>
            </a:pPr>
            <a:r>
              <a:rPr lang="en-US" sz="3199" b="1">
                <a:solidFill>
                  <a:srgbClr val="00B1E2"/>
                </a:solidFill>
                <a:latin typeface="Arial"/>
                <a:cs typeface="Arial"/>
              </a:rPr>
              <a:t>45-50%</a:t>
            </a:r>
          </a:p>
          <a:p>
            <a:pPr algn="ctr" defTabSz="1218834">
              <a:defRPr/>
            </a:pPr>
            <a:r>
              <a:rPr lang="en-US" sz="2133">
                <a:solidFill>
                  <a:srgbClr val="00B1E2"/>
                </a:solidFill>
                <a:latin typeface="Arial"/>
                <a:cs typeface="Arial"/>
              </a:rPr>
              <a:t>of Sales</a:t>
            </a:r>
          </a:p>
        </p:txBody>
      </p:sp>
      <p:sp>
        <p:nvSpPr>
          <p:cNvPr id="340" name="Rectangle 339"/>
          <p:cNvSpPr/>
          <p:nvPr/>
        </p:nvSpPr>
        <p:spPr>
          <a:xfrm>
            <a:off x="2445375" y="3043564"/>
            <a:ext cx="1715477" cy="97510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 defTabSz="1218834">
              <a:defRPr/>
            </a:pPr>
            <a:r>
              <a:rPr lang="en-US" sz="3199" b="1">
                <a:solidFill>
                  <a:srgbClr val="00B1E2"/>
                </a:solidFill>
                <a:latin typeface="Arial"/>
                <a:cs typeface="Arial"/>
              </a:rPr>
              <a:t>45-50%</a:t>
            </a:r>
          </a:p>
          <a:p>
            <a:pPr algn="ctr" defTabSz="1218834">
              <a:defRPr/>
            </a:pPr>
            <a:r>
              <a:rPr lang="en-US" sz="2133">
                <a:solidFill>
                  <a:srgbClr val="00B1E2"/>
                </a:solidFill>
                <a:latin typeface="Arial"/>
                <a:cs typeface="Arial"/>
              </a:rPr>
              <a:t>of Sales</a:t>
            </a:r>
          </a:p>
        </p:txBody>
      </p:sp>
      <p:sp>
        <p:nvSpPr>
          <p:cNvPr id="341" name="Rectangle 340"/>
          <p:cNvSpPr/>
          <p:nvPr/>
        </p:nvSpPr>
        <p:spPr>
          <a:xfrm>
            <a:off x="2559554" y="4836480"/>
            <a:ext cx="1712119" cy="97510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 defTabSz="1218834">
              <a:defRPr/>
            </a:pPr>
            <a:r>
              <a:rPr lang="en-US" sz="3199" b="1">
                <a:solidFill>
                  <a:srgbClr val="00B1E2"/>
                </a:solidFill>
                <a:latin typeface="Arial"/>
                <a:cs typeface="Arial"/>
              </a:rPr>
              <a:t>3-6%</a:t>
            </a:r>
          </a:p>
          <a:p>
            <a:pPr algn="ctr" defTabSz="1218834">
              <a:defRPr/>
            </a:pPr>
            <a:r>
              <a:rPr lang="en-US" sz="2133">
                <a:solidFill>
                  <a:srgbClr val="00B1E2"/>
                </a:solidFill>
                <a:latin typeface="Arial"/>
                <a:cs typeface="Arial"/>
              </a:rPr>
              <a:t>of Sales</a:t>
            </a:r>
          </a:p>
        </p:txBody>
      </p:sp>
      <p:sp>
        <p:nvSpPr>
          <p:cNvPr id="343" name="TextBox 342"/>
          <p:cNvSpPr txBox="1">
            <a:spLocks/>
          </p:cNvSpPr>
          <p:nvPr/>
        </p:nvSpPr>
        <p:spPr>
          <a:xfrm>
            <a:off x="846771" y="1940499"/>
            <a:ext cx="1366996" cy="779530"/>
          </a:xfrm>
          <a:prstGeom prst="rect">
            <a:avLst/>
          </a:prstGeom>
          <a:noFill/>
        </p:spPr>
        <p:txBody>
          <a:bodyPr wrap="none" lIns="0" tIns="60939" rIns="121876" bIns="60939" rtlCol="0">
            <a:spAutoFit/>
          </a:bodyPr>
          <a:lstStyle/>
          <a:p>
            <a:pPr defTabSz="1218706">
              <a:defRPr/>
            </a:pPr>
            <a:r>
              <a:rPr lang="en-US" sz="2133" b="1" kern="0">
                <a:solidFill>
                  <a:prstClr val="white"/>
                </a:solidFill>
                <a:latin typeface="Arial"/>
                <a:cs typeface="Arial"/>
              </a:rPr>
              <a:t>Endpoint</a:t>
            </a:r>
            <a:br>
              <a:rPr lang="en-US" sz="2133" b="1" kern="0">
                <a:solidFill>
                  <a:prstClr val="white"/>
                </a:solidFill>
                <a:latin typeface="Arial"/>
                <a:cs typeface="Arial"/>
              </a:rPr>
            </a:br>
            <a:r>
              <a:rPr lang="en-US" sz="2133" b="1" kern="0">
                <a:solidFill>
                  <a:prstClr val="white"/>
                </a:solidFill>
                <a:latin typeface="Arial"/>
                <a:cs typeface="Arial"/>
              </a:rPr>
              <a:t>Solutions</a:t>
            </a:r>
          </a:p>
        </p:txBody>
      </p:sp>
      <p:sp>
        <p:nvSpPr>
          <p:cNvPr id="344" name="TextBox 343"/>
          <p:cNvSpPr txBox="1"/>
          <p:nvPr/>
        </p:nvSpPr>
        <p:spPr>
          <a:xfrm>
            <a:off x="846771" y="3104098"/>
            <a:ext cx="1429514" cy="779530"/>
          </a:xfrm>
          <a:prstGeom prst="rect">
            <a:avLst/>
          </a:prstGeom>
          <a:noFill/>
        </p:spPr>
        <p:txBody>
          <a:bodyPr wrap="none" lIns="0" tIns="60939" rIns="121876" bIns="60939" rtlCol="0">
            <a:spAutoFit/>
          </a:bodyPr>
          <a:lstStyle/>
          <a:p>
            <a:pPr defTabSz="1218706">
              <a:defRPr/>
            </a:pPr>
            <a:r>
              <a:rPr lang="en-US" sz="2133" b="1" kern="0">
                <a:solidFill>
                  <a:prstClr val="white"/>
                </a:solidFill>
                <a:latin typeface="Arial"/>
                <a:cs typeface="Arial"/>
              </a:rPr>
              <a:t>Advanced</a:t>
            </a:r>
            <a:br>
              <a:rPr lang="en-US" sz="2133" b="1" kern="0">
                <a:solidFill>
                  <a:prstClr val="white"/>
                </a:solidFill>
                <a:latin typeface="Arial"/>
                <a:cs typeface="Arial"/>
              </a:rPr>
            </a:br>
            <a:r>
              <a:rPr lang="en-US" sz="2133" b="1" kern="0">
                <a:solidFill>
                  <a:prstClr val="white"/>
                </a:solidFill>
                <a:latin typeface="Arial"/>
                <a:cs typeface="Arial"/>
              </a:rPr>
              <a:t>Solutions</a:t>
            </a:r>
          </a:p>
        </p:txBody>
      </p:sp>
      <p:sp>
        <p:nvSpPr>
          <p:cNvPr id="345" name="TextBox 344"/>
          <p:cNvSpPr txBox="1">
            <a:spLocks/>
          </p:cNvSpPr>
          <p:nvPr/>
        </p:nvSpPr>
        <p:spPr>
          <a:xfrm>
            <a:off x="846772" y="4814863"/>
            <a:ext cx="1685995" cy="1107761"/>
          </a:xfrm>
          <a:prstGeom prst="rect">
            <a:avLst/>
          </a:prstGeom>
          <a:noFill/>
        </p:spPr>
        <p:txBody>
          <a:bodyPr wrap="none" lIns="0" tIns="60939" rIns="121876" bIns="60939" rtlCol="0">
            <a:spAutoFit/>
          </a:bodyPr>
          <a:lstStyle/>
          <a:p>
            <a:pPr defTabSz="1218706">
              <a:defRPr/>
            </a:pPr>
            <a:r>
              <a:rPr lang="en-US" sz="2133" b="1" kern="0">
                <a:solidFill>
                  <a:prstClr val="white"/>
                </a:solidFill>
                <a:latin typeface="Arial"/>
                <a:cs typeface="Arial"/>
              </a:rPr>
              <a:t>Specialized </a:t>
            </a:r>
          </a:p>
          <a:p>
            <a:pPr defTabSz="1218706">
              <a:defRPr/>
            </a:pPr>
            <a:r>
              <a:rPr lang="en-US" sz="2133" b="1" kern="0">
                <a:solidFill>
                  <a:prstClr val="white"/>
                </a:solidFill>
                <a:latin typeface="Arial"/>
                <a:cs typeface="Arial"/>
              </a:rPr>
              <a:t>Solutions &amp;</a:t>
            </a:r>
          </a:p>
          <a:p>
            <a:pPr defTabSz="1218706">
              <a:defRPr/>
            </a:pPr>
            <a:r>
              <a:rPr lang="en-US" sz="2133" b="1" kern="0">
                <a:solidFill>
                  <a:prstClr val="white"/>
                </a:solidFill>
                <a:latin typeface="Arial"/>
                <a:cs typeface="Arial"/>
              </a:rPr>
              <a:t>Services</a:t>
            </a:r>
          </a:p>
        </p:txBody>
      </p:sp>
      <p:cxnSp>
        <p:nvCxnSpPr>
          <p:cNvPr id="60" name="Straight Connector 59"/>
          <p:cNvCxnSpPr/>
          <p:nvPr/>
        </p:nvCxnSpPr>
        <p:spPr>
          <a:xfrm flipV="1">
            <a:off x="8447105" y="4294754"/>
            <a:ext cx="0" cy="814685"/>
          </a:xfrm>
          <a:prstGeom prst="line">
            <a:avLst/>
          </a:prstGeom>
          <a:ln>
            <a:solidFill>
              <a:srgbClr val="FFFFF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itle 1"/>
          <p:cNvSpPr>
            <a:spLocks noGrp="1"/>
          </p:cNvSpPr>
          <p:nvPr>
            <p:ph type="title"/>
          </p:nvPr>
        </p:nvSpPr>
        <p:spPr>
          <a:xfrm>
            <a:off x="892474" y="526172"/>
            <a:ext cx="10969943" cy="861885"/>
          </a:xfrm>
        </p:spPr>
        <p:txBody>
          <a:bodyPr anchor="t"/>
          <a:lstStyle/>
          <a:p>
            <a:pPr>
              <a:lnSpc>
                <a:spcPct val="90000"/>
              </a:lnSpc>
            </a:pPr>
            <a:r>
              <a:rPr lang="en-US" sz="3732"/>
              <a:t>Our End-to-End Portfolio Of Products, Services and Solutions is a Major Competitive Strength</a:t>
            </a:r>
          </a:p>
        </p:txBody>
      </p:sp>
    </p:spTree>
    <p:extLst>
      <p:ext uri="{BB962C8B-B14F-4D97-AF65-F5344CB8AC3E}">
        <p14:creationId xmlns:p14="http://schemas.microsoft.com/office/powerpoint/2010/main" val="1919308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3020" y="1268846"/>
            <a:ext cx="11033585" cy="4519083"/>
          </a:xfrm>
        </p:spPr>
        <p:txBody>
          <a:bodyPr/>
          <a:lstStyle/>
          <a:p>
            <a:pPr marL="76181" indent="0">
              <a:buNone/>
            </a:pPr>
            <a:r>
              <a:rPr lang="en-US"/>
              <a:t>Next-generation technologies and delivery model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ocused Investment for the Future</a:t>
            </a:r>
          </a:p>
        </p:txBody>
      </p:sp>
      <p:sp>
        <p:nvSpPr>
          <p:cNvPr id="51" name="Arc 13"/>
          <p:cNvSpPr>
            <a:spLocks/>
          </p:cNvSpPr>
          <p:nvPr/>
        </p:nvSpPr>
        <p:spPr bwMode="gray">
          <a:xfrm>
            <a:off x="1294757" y="2694514"/>
            <a:ext cx="1855077" cy="2344228"/>
          </a:xfrm>
          <a:custGeom>
            <a:avLst/>
            <a:gdLst>
              <a:gd name="T0" fmla="*/ 93181 w 32894"/>
              <a:gd name="T1" fmla="*/ 174088 h 43200"/>
              <a:gd name="T2" fmla="*/ 0 w 32894"/>
              <a:gd name="T3" fmla="*/ 2846594 h 43200"/>
              <a:gd name="T4" fmla="*/ 803964 w 32894"/>
              <a:gd name="T5" fmla="*/ 1536700 h 432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32894" h="43200" fill="none" extrusionOk="0">
                <a:moveTo>
                  <a:pt x="1308" y="2446"/>
                </a:moveTo>
                <a:cubicBezTo>
                  <a:pt x="4391" y="839"/>
                  <a:pt x="7817" y="-1"/>
                  <a:pt x="11294" y="0"/>
                </a:cubicBezTo>
                <a:cubicBezTo>
                  <a:pt x="23223" y="0"/>
                  <a:pt x="32894" y="9670"/>
                  <a:pt x="32894" y="21600"/>
                </a:cubicBezTo>
                <a:cubicBezTo>
                  <a:pt x="32894" y="33529"/>
                  <a:pt x="23223" y="43200"/>
                  <a:pt x="11294" y="43200"/>
                </a:cubicBezTo>
                <a:cubicBezTo>
                  <a:pt x="7307" y="43200"/>
                  <a:pt x="3398" y="42096"/>
                  <a:pt x="-1" y="40012"/>
                </a:cubicBezTo>
              </a:path>
              <a:path w="32894" h="43200" stroke="0" extrusionOk="0">
                <a:moveTo>
                  <a:pt x="1308" y="2446"/>
                </a:moveTo>
                <a:cubicBezTo>
                  <a:pt x="4391" y="839"/>
                  <a:pt x="7817" y="-1"/>
                  <a:pt x="11294" y="0"/>
                </a:cubicBezTo>
                <a:cubicBezTo>
                  <a:pt x="23223" y="0"/>
                  <a:pt x="32894" y="9670"/>
                  <a:pt x="32894" y="21600"/>
                </a:cubicBezTo>
                <a:cubicBezTo>
                  <a:pt x="32894" y="33529"/>
                  <a:pt x="23223" y="43200"/>
                  <a:pt x="11294" y="43200"/>
                </a:cubicBezTo>
                <a:cubicBezTo>
                  <a:pt x="7307" y="43200"/>
                  <a:pt x="3398" y="42096"/>
                  <a:pt x="-1" y="40012"/>
                </a:cubicBezTo>
                <a:lnTo>
                  <a:pt x="11294" y="21600"/>
                </a:lnTo>
                <a:lnTo>
                  <a:pt x="1308" y="2446"/>
                </a:lnTo>
                <a:close/>
              </a:path>
            </a:pathLst>
          </a:custGeom>
          <a:noFill/>
          <a:ln w="38100">
            <a:solidFill>
              <a:schemeClr val="accent4"/>
            </a:solidFill>
            <a:round/>
            <a:headEnd/>
            <a:tailEnd type="triangle" w="med" len="med"/>
          </a:ln>
          <a:effectLst/>
          <a:extLst/>
        </p:spPr>
        <p:txBody>
          <a:bodyPr wrap="none" anchor="ctr"/>
          <a:lstStyle/>
          <a:p>
            <a:pPr defTabSz="406284">
              <a:defRPr/>
            </a:pPr>
            <a:endParaRPr lang="en-US" sz="1244">
              <a:solidFill>
                <a:srgbClr val="000000"/>
              </a:solidFill>
              <a:latin typeface="Work Sans Regular" charset="0"/>
              <a:ea typeface="Work Sans Regular" charset="0"/>
              <a:cs typeface="Work Sans Regular" charset="0"/>
            </a:endParaRPr>
          </a:p>
        </p:txBody>
      </p:sp>
      <p:sp>
        <p:nvSpPr>
          <p:cNvPr id="52" name="Oval 14"/>
          <p:cNvSpPr>
            <a:spLocks noChangeArrowheads="1"/>
          </p:cNvSpPr>
          <p:nvPr/>
        </p:nvSpPr>
        <p:spPr bwMode="gray">
          <a:xfrm>
            <a:off x="1068231" y="3150426"/>
            <a:ext cx="1302967" cy="1253911"/>
          </a:xfrm>
          <a:prstGeom prst="ellipse">
            <a:avLst/>
          </a:prstGeom>
          <a:solidFill>
            <a:srgbClr val="CCD814"/>
          </a:solidFill>
          <a:ln>
            <a:noFill/>
          </a:ln>
          <a:effectLst/>
        </p:spPr>
        <p:txBody>
          <a:bodyPr wrap="none" lIns="0" tIns="0" rIns="0" bIns="0" anchor="ctr"/>
          <a:lstStyle/>
          <a:p>
            <a:pPr algn="ctr" defTabSz="406284">
              <a:lnSpc>
                <a:spcPct val="90000"/>
              </a:lnSpc>
              <a:defRPr/>
            </a:pPr>
            <a:r>
              <a:rPr lang="en-US" sz="1777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Key</a:t>
            </a:r>
            <a:br>
              <a:rPr lang="en-US" sz="1777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</a:br>
            <a:r>
              <a:rPr lang="en-US" sz="1777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focus </a:t>
            </a:r>
            <a:br>
              <a:rPr lang="en-US" sz="1777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</a:br>
            <a:r>
              <a:rPr lang="en-US" sz="1777" dirty="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rPr>
              <a:t>area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899620" y="2157715"/>
            <a:ext cx="7428354" cy="3455402"/>
            <a:chOff x="3386512" y="1725744"/>
            <a:chExt cx="7428354" cy="3455402"/>
          </a:xfrm>
        </p:grpSpPr>
        <p:sp>
          <p:nvSpPr>
            <p:cNvPr id="53" name="Rectangle 30"/>
            <p:cNvSpPr>
              <a:spLocks noChangeArrowheads="1"/>
            </p:cNvSpPr>
            <p:nvPr/>
          </p:nvSpPr>
          <p:spPr bwMode="gray">
            <a:xfrm>
              <a:off x="3386512" y="3667893"/>
              <a:ext cx="1685241" cy="43504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31996" tIns="31996" rIns="31996" bIns="31996" anchor="ctr"/>
            <a:lstStyle/>
            <a:p>
              <a:pPr defTabSz="406284">
                <a:defRPr/>
              </a:pPr>
              <a:r>
                <a:rPr lang="en-US" sz="2000" dirty="0">
                  <a:solidFill>
                    <a:srgbClr val="FFFFFF"/>
                  </a:solidFill>
                  <a:latin typeface="Corbel" charset="0"/>
                  <a:ea typeface="Corbel" charset="0"/>
                  <a:cs typeface="Corbel" charset="0"/>
                </a:rPr>
                <a:t>Security</a:t>
              </a:r>
              <a:r>
                <a:rPr lang="en-US" dirty="0">
                  <a:solidFill>
                    <a:srgbClr val="FFFFFF"/>
                  </a:solidFill>
                  <a:latin typeface="Corbel" charset="0"/>
                  <a:ea typeface="Corbel" charset="0"/>
                  <a:cs typeface="Corbel" charset="0"/>
                </a:rPr>
                <a:t> </a:t>
              </a:r>
            </a:p>
          </p:txBody>
        </p:sp>
        <p:sp>
          <p:nvSpPr>
            <p:cNvPr id="54" name="Rectangle 31"/>
            <p:cNvSpPr>
              <a:spLocks noChangeArrowheads="1"/>
            </p:cNvSpPr>
            <p:nvPr/>
          </p:nvSpPr>
          <p:spPr bwMode="gray">
            <a:xfrm>
              <a:off x="5411509" y="3505180"/>
              <a:ext cx="5403357" cy="70264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20315" rIns="20315" anchor="ctr">
              <a:noAutofit/>
            </a:bodyPr>
            <a:lstStyle/>
            <a:p>
              <a:pPr defTabSz="406284">
                <a:defRPr/>
              </a:pPr>
              <a:r>
                <a:rPr lang="en-US" sz="160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Enhance our end-to-end security offering via continued </a:t>
              </a:r>
              <a:r>
                <a:rPr lang="nl-BE" sz="160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investment in specialized resources </a:t>
              </a:r>
              <a:br>
                <a:rPr lang="nl-BE" sz="160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</a:br>
              <a:r>
                <a:rPr lang="nl-BE" sz="160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and building out our specialized partner network</a:t>
              </a:r>
            </a:p>
          </p:txBody>
        </p:sp>
        <p:sp>
          <p:nvSpPr>
            <p:cNvPr id="58" name="Rectangle 30"/>
            <p:cNvSpPr>
              <a:spLocks noChangeArrowheads="1"/>
            </p:cNvSpPr>
            <p:nvPr/>
          </p:nvSpPr>
          <p:spPr bwMode="gray">
            <a:xfrm>
              <a:off x="3386514" y="1853039"/>
              <a:ext cx="1685240" cy="40950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/>
          </p:spPr>
          <p:txBody>
            <a:bodyPr lIns="31996" tIns="31996" rIns="31996" bIns="31996" anchor="ctr"/>
            <a:lstStyle/>
            <a:p>
              <a:pPr defTabSz="406284">
                <a:defRPr/>
              </a:pPr>
              <a:r>
                <a:rPr lang="en-US" sz="2000" dirty="0">
                  <a:solidFill>
                    <a:srgbClr val="FFFFFF"/>
                  </a:solidFill>
                  <a:latin typeface="Corbel" charset="0"/>
                  <a:ea typeface="Corbel" charset="0"/>
                  <a:cs typeface="Corbel" charset="0"/>
                </a:rPr>
                <a:t>Cloud</a:t>
              </a:r>
              <a:r>
                <a:rPr lang="en-US" dirty="0">
                  <a:solidFill>
                    <a:srgbClr val="FFFFFF"/>
                  </a:solidFill>
                  <a:latin typeface="Corbel" charset="0"/>
                  <a:ea typeface="Corbel" charset="0"/>
                  <a:cs typeface="Corbel" charset="0"/>
                </a:rPr>
                <a:t>  </a:t>
              </a:r>
            </a:p>
          </p:txBody>
        </p:sp>
        <p:sp>
          <p:nvSpPr>
            <p:cNvPr id="59" name="Rectangle 31"/>
            <p:cNvSpPr>
              <a:spLocks noChangeArrowheads="1"/>
            </p:cNvSpPr>
            <p:nvPr/>
          </p:nvSpPr>
          <p:spPr bwMode="gray">
            <a:xfrm>
              <a:off x="5411509" y="1725744"/>
              <a:ext cx="5403357" cy="664094"/>
            </a:xfrm>
            <a:prstGeom prst="rect">
              <a:avLst/>
            </a:prstGeom>
            <a:noFill/>
            <a:ln w="19050">
              <a:noFill/>
            </a:ln>
            <a:effectLst/>
            <a:extLst/>
          </p:spPr>
          <p:txBody>
            <a:bodyPr lIns="20315" rIns="20315" anchor="ctr"/>
            <a:lstStyle/>
            <a:p>
              <a:pPr defTabSz="406284">
                <a:defRPr/>
              </a:pPr>
              <a:r>
                <a:rPr lang="en-US" sz="1600" dirty="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Enhance our hybrid cloud solutions offering by delivering automated cloud technology-as-a-service</a:t>
              </a:r>
            </a:p>
          </p:txBody>
        </p:sp>
        <p:sp>
          <p:nvSpPr>
            <p:cNvPr id="62" name="Rectangle 61"/>
            <p:cNvSpPr>
              <a:spLocks noChangeArrowheads="1"/>
            </p:cNvSpPr>
            <p:nvPr/>
          </p:nvSpPr>
          <p:spPr bwMode="gray">
            <a:xfrm>
              <a:off x="3386514" y="2691591"/>
              <a:ext cx="2120190" cy="40696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/>
          </p:spPr>
          <p:txBody>
            <a:bodyPr lIns="31996" tIns="31996" rIns="31996" bIns="31996" anchor="ctr"/>
            <a:lstStyle/>
            <a:p>
              <a:pPr defTabSz="406284">
                <a:defRPr/>
              </a:pPr>
              <a:r>
                <a:rPr lang="en-US" sz="2000" dirty="0">
                  <a:solidFill>
                    <a:srgbClr val="00B4DE"/>
                  </a:solidFill>
                  <a:latin typeface="Corbel" charset="0"/>
                  <a:ea typeface="Corbel" charset="0"/>
                  <a:cs typeface="Corbel" charset="0"/>
                </a:rPr>
                <a:t>Analytics</a:t>
              </a:r>
              <a:r>
                <a:rPr lang="en-US" dirty="0">
                  <a:solidFill>
                    <a:srgbClr val="00B4DE"/>
                  </a:solidFill>
                  <a:latin typeface="Corbel" charset="0"/>
                  <a:ea typeface="Corbel" charset="0"/>
                  <a:cs typeface="Corbel" charset="0"/>
                </a:rPr>
                <a:t>/</a:t>
              </a:r>
              <a:r>
                <a:rPr lang="en-US" sz="2000" dirty="0" err="1">
                  <a:solidFill>
                    <a:srgbClr val="00B4DE"/>
                  </a:solidFill>
                  <a:latin typeface="Corbel" charset="0"/>
                  <a:ea typeface="Corbel" charset="0"/>
                  <a:cs typeface="Corbel" charset="0"/>
                </a:rPr>
                <a:t>IoT</a:t>
              </a:r>
              <a:endParaRPr lang="en-US" dirty="0">
                <a:solidFill>
                  <a:srgbClr val="00B4DE"/>
                </a:solidFill>
                <a:latin typeface="Corbel" charset="0"/>
                <a:ea typeface="Corbel" charset="0"/>
                <a:cs typeface="Corbel" charset="0"/>
              </a:endParaRPr>
            </a:p>
          </p:txBody>
        </p:sp>
        <p:sp>
          <p:nvSpPr>
            <p:cNvPr id="63" name="Rectangle 31"/>
            <p:cNvSpPr>
              <a:spLocks noChangeArrowheads="1"/>
            </p:cNvSpPr>
            <p:nvPr/>
          </p:nvSpPr>
          <p:spPr bwMode="gray">
            <a:xfrm>
              <a:off x="5411509" y="2563027"/>
              <a:ext cx="5138908" cy="664094"/>
            </a:xfrm>
            <a:prstGeom prst="rect">
              <a:avLst/>
            </a:prstGeom>
            <a:noFill/>
            <a:ln w="19050">
              <a:noFill/>
            </a:ln>
            <a:effectLst/>
            <a:extLst/>
          </p:spPr>
          <p:txBody>
            <a:bodyPr lIns="20315" rIns="20315" anchor="ctr">
              <a:noAutofit/>
            </a:bodyPr>
            <a:lstStyle/>
            <a:p>
              <a:pPr defTabSz="406284">
                <a:defRPr/>
              </a:pPr>
              <a:r>
                <a:rPr lang="nl-BE" sz="160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Lead the emerging analytics space via investments in specialized resources</a:t>
              </a:r>
            </a:p>
          </p:txBody>
        </p:sp>
        <p:sp>
          <p:nvSpPr>
            <p:cNvPr id="67" name="Rectangle 30"/>
            <p:cNvSpPr>
              <a:spLocks noChangeArrowheads="1"/>
            </p:cNvSpPr>
            <p:nvPr/>
          </p:nvSpPr>
          <p:spPr bwMode="gray">
            <a:xfrm>
              <a:off x="3386514" y="4531635"/>
              <a:ext cx="1685240" cy="408231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  <a:effectLst/>
            <a:extLst/>
          </p:spPr>
          <p:txBody>
            <a:bodyPr lIns="31996" tIns="31996" rIns="31996" bIns="31996" anchor="ctr"/>
            <a:lstStyle/>
            <a:p>
              <a:pPr defTabSz="406284">
                <a:defRPr/>
              </a:pPr>
              <a:r>
                <a:rPr lang="en-US" sz="2000">
                  <a:solidFill>
                    <a:srgbClr val="FFB81C"/>
                  </a:solidFill>
                  <a:latin typeface="Corbel" charset="0"/>
                  <a:ea typeface="Corbel" charset="0"/>
                  <a:cs typeface="Corbel" charset="0"/>
                </a:rPr>
                <a:t>Services</a:t>
              </a:r>
              <a:r>
                <a:rPr lang="en-US">
                  <a:solidFill>
                    <a:srgbClr val="FFB81C"/>
                  </a:solidFill>
                  <a:latin typeface="Corbel" charset="0"/>
                  <a:ea typeface="Corbel" charset="0"/>
                  <a:cs typeface="Corbel" charset="0"/>
                </a:rPr>
                <a:t>  </a:t>
              </a:r>
            </a:p>
          </p:txBody>
        </p:sp>
        <p:sp>
          <p:nvSpPr>
            <p:cNvPr id="68" name="Rectangle 31"/>
            <p:cNvSpPr>
              <a:spLocks noChangeArrowheads="1"/>
            </p:cNvSpPr>
            <p:nvPr/>
          </p:nvSpPr>
          <p:spPr bwMode="gray">
            <a:xfrm>
              <a:off x="5411509" y="4382043"/>
              <a:ext cx="5403357" cy="799103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20315" rIns="20315" anchor="ctr">
              <a:noAutofit/>
            </a:bodyPr>
            <a:lstStyle/>
            <a:p>
              <a:pPr defTabSz="406284">
                <a:defRPr/>
              </a:pPr>
              <a:r>
                <a:rPr lang="en-US" sz="160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Offer a range of adjacent services via investments </a:t>
              </a:r>
              <a:br>
                <a:rPr lang="en-US" sz="160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</a:br>
              <a:r>
                <a:rPr lang="en-US" sz="1600">
                  <a:solidFill>
                    <a:prstClr val="white"/>
                  </a:solidFill>
                  <a:latin typeface="Corbel" charset="0"/>
                  <a:ea typeface="Corbel" charset="0"/>
                  <a:cs typeface="Corbel" charset="0"/>
                </a:rPr>
                <a:t>in sales and marketing and enhancing our lifecycle, integration, CRM and supply chain services. </a:t>
              </a:r>
              <a:endParaRPr lang="nl-BE" sz="1600">
                <a:solidFill>
                  <a:prstClr val="white"/>
                </a:solidFill>
                <a:latin typeface="Corbel" charset="0"/>
                <a:ea typeface="Corbel" charset="0"/>
                <a:cs typeface="Corbel" charset="0"/>
              </a:endParaRPr>
            </a:p>
          </p:txBody>
        </p:sp>
        <p:cxnSp>
          <p:nvCxnSpPr>
            <p:cNvPr id="71" name="Straight Connector 70"/>
            <p:cNvCxnSpPr/>
            <p:nvPr/>
          </p:nvCxnSpPr>
          <p:spPr>
            <a:xfrm>
              <a:off x="3440911" y="2422877"/>
              <a:ext cx="737395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>
              <a:off x="3440911" y="3368780"/>
              <a:ext cx="737395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>
              <a:off x="3440911" y="4314683"/>
              <a:ext cx="7373955" cy="0"/>
            </a:xfrm>
            <a:prstGeom prst="line">
              <a:avLst/>
            </a:prstGeom>
            <a:ln w="635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/>
          <p:nvPr/>
        </p:nvGrpSpPr>
        <p:grpSpPr>
          <a:xfrm>
            <a:off x="1753854" y="2085549"/>
            <a:ext cx="791672" cy="761867"/>
            <a:chOff x="1295066" y="1676858"/>
            <a:chExt cx="791672" cy="761867"/>
          </a:xfrm>
        </p:grpSpPr>
        <p:sp>
          <p:nvSpPr>
            <p:cNvPr id="57" name="Oval 17"/>
            <p:cNvSpPr>
              <a:spLocks noChangeArrowheads="1"/>
            </p:cNvSpPr>
            <p:nvPr/>
          </p:nvSpPr>
          <p:spPr bwMode="gray">
            <a:xfrm>
              <a:off x="1295066" y="1676858"/>
              <a:ext cx="791672" cy="761867"/>
            </a:xfrm>
            <a:prstGeom prst="ellipse">
              <a:avLst/>
            </a:prstGeom>
            <a:solidFill>
              <a:schemeClr val="bg2"/>
            </a:solidFill>
            <a:ln w="1905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406284">
                <a:defRPr/>
              </a:pPr>
              <a:endParaRPr lang="en-US" sz="1244">
                <a:solidFill>
                  <a:srgbClr val="000000"/>
                </a:solidFill>
                <a:latin typeface="Work Sans Regular" charset="0"/>
                <a:ea typeface="Work Sans Regular" charset="0"/>
                <a:cs typeface="Work Sans Regular" charset="0"/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0941" y="1721287"/>
              <a:ext cx="639913" cy="641194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2501743" y="2923529"/>
            <a:ext cx="791672" cy="763135"/>
            <a:chOff x="2042955" y="2514838"/>
            <a:chExt cx="791672" cy="763135"/>
          </a:xfrm>
        </p:grpSpPr>
        <p:sp>
          <p:nvSpPr>
            <p:cNvPr id="61" name="Oval 19"/>
            <p:cNvSpPr>
              <a:spLocks noChangeArrowheads="1"/>
            </p:cNvSpPr>
            <p:nvPr/>
          </p:nvSpPr>
          <p:spPr bwMode="gray">
            <a:xfrm>
              <a:off x="2042955" y="2514838"/>
              <a:ext cx="791672" cy="763135"/>
            </a:xfrm>
            <a:prstGeom prst="ellipse">
              <a:avLst/>
            </a:prstGeom>
            <a:solidFill>
              <a:srgbClr val="00B4DE"/>
            </a:solidFill>
            <a:ln w="1905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406284">
                <a:defRPr/>
              </a:pPr>
              <a:endParaRPr lang="en-US" sz="1244">
                <a:solidFill>
                  <a:srgbClr val="000000"/>
                </a:solidFill>
                <a:latin typeface="Work Sans Regular" charset="0"/>
                <a:ea typeface="Work Sans Regular" charset="0"/>
                <a:cs typeface="Work Sans Regular" charset="0"/>
              </a:endParaRP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0981" y="2633471"/>
              <a:ext cx="548497" cy="550691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2508184" y="3912538"/>
            <a:ext cx="791672" cy="763136"/>
            <a:chOff x="2049396" y="3503848"/>
            <a:chExt cx="791672" cy="763136"/>
          </a:xfrm>
        </p:grpSpPr>
        <p:sp>
          <p:nvSpPr>
            <p:cNvPr id="55" name="Oval 21"/>
            <p:cNvSpPr>
              <a:spLocks noChangeArrowheads="1"/>
            </p:cNvSpPr>
            <p:nvPr/>
          </p:nvSpPr>
          <p:spPr bwMode="gray">
            <a:xfrm>
              <a:off x="2049396" y="3503848"/>
              <a:ext cx="791672" cy="763136"/>
            </a:xfrm>
            <a:prstGeom prst="ellipse">
              <a:avLst/>
            </a:prstGeom>
            <a:solidFill>
              <a:schemeClr val="bg2"/>
            </a:solidFill>
            <a:ln w="1905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406284">
                <a:defRPr/>
              </a:pPr>
              <a:endParaRPr lang="en-US" sz="1244">
                <a:solidFill>
                  <a:srgbClr val="FFC000"/>
                </a:solidFill>
                <a:latin typeface="Work Sans Regular" charset="0"/>
                <a:ea typeface="Work Sans Regular" charset="0"/>
                <a:cs typeface="Work Sans Regular" charset="0"/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64540" y="3580634"/>
              <a:ext cx="548497" cy="549593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1753854" y="4763508"/>
            <a:ext cx="791672" cy="761867"/>
            <a:chOff x="1295066" y="4354817"/>
            <a:chExt cx="791672" cy="761867"/>
          </a:xfrm>
        </p:grpSpPr>
        <p:sp>
          <p:nvSpPr>
            <p:cNvPr id="69" name="Oval 24"/>
            <p:cNvSpPr>
              <a:spLocks noChangeArrowheads="1"/>
            </p:cNvSpPr>
            <p:nvPr/>
          </p:nvSpPr>
          <p:spPr bwMode="gray">
            <a:xfrm>
              <a:off x="1295066" y="4354817"/>
              <a:ext cx="791672" cy="761867"/>
            </a:xfrm>
            <a:prstGeom prst="ellipse">
              <a:avLst/>
            </a:prstGeom>
            <a:solidFill>
              <a:srgbClr val="FFB81C"/>
            </a:solidFill>
            <a:ln w="1905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406284">
                <a:defRPr/>
              </a:pPr>
              <a:endParaRPr lang="en-US" sz="1244">
                <a:solidFill>
                  <a:srgbClr val="000000"/>
                </a:solidFill>
                <a:latin typeface="Work Sans Regular" charset="0"/>
                <a:ea typeface="Work Sans Regular" charset="0"/>
                <a:cs typeface="Work Sans Regular" charset="0"/>
              </a:endParaRPr>
            </a:p>
          </p:txBody>
        </p: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0941" y="4432573"/>
              <a:ext cx="639913" cy="6399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0623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">
  <a:themeElements>
    <a:clrScheme name="TD 2018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Default Theme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3EE14DC3-A151-43E7-9902-CA7346EC05F9}" vid="{56D71305-BBAC-4CA9-ADE0-46FF0BBAFD4D}"/>
    </a:ext>
  </a:extLst>
</a:theme>
</file>

<file path=ppt/theme/theme11.xml><?xml version="1.0" encoding="utf-8"?>
<a:theme xmlns:a="http://schemas.openxmlformats.org/drawingml/2006/main" name="1_Content Text">
  <a:themeElements>
    <a:clrScheme name="Custom 12">
      <a:dk1>
        <a:sysClr val="windowText" lastClr="000000"/>
      </a:dk1>
      <a:lt1>
        <a:sysClr val="window" lastClr="FFFFFF"/>
      </a:lt1>
      <a:dk2>
        <a:srgbClr val="21314D"/>
      </a:dk2>
      <a:lt2>
        <a:srgbClr val="E7E6E6"/>
      </a:lt2>
      <a:accent1>
        <a:srgbClr val="00558C"/>
      </a:accent1>
      <a:accent2>
        <a:srgbClr val="00B1E2"/>
      </a:accent2>
      <a:accent3>
        <a:srgbClr val="A5A5A5"/>
      </a:accent3>
      <a:accent4>
        <a:srgbClr val="CCD8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ule">
      <a:majorFont>
        <a:latin typeface="Corbel"/>
        <a:ea typeface=""/>
        <a:cs typeface=""/>
        <a:font script="Jpan" typeface="ＭＳ ゴシック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ＭＳ ゴシック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rgbClr val="C0C0C0"/>
            </a:gs>
            <a:gs pos="100000">
              <a:schemeClr val="accent1">
                <a:tint val="50000"/>
                <a:shade val="100000"/>
                <a:satMod val="350000"/>
              </a:schemeClr>
            </a:gs>
          </a:gsLst>
          <a:lin ang="16200000" scaled="0"/>
          <a:tileRect/>
        </a:gra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_Cover Slide">
  <a:themeElements>
    <a:clrScheme name="TD 2018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 Slide - Light">
  <a:themeElements>
    <a:clrScheme name="TD 2018">
      <a:dk1>
        <a:srgbClr val="21314D"/>
      </a:dk1>
      <a:lt1>
        <a:srgbClr val="FFFFFF"/>
      </a:lt1>
      <a:dk2>
        <a:srgbClr val="00558C"/>
      </a:dk2>
      <a:lt2>
        <a:srgbClr val="00B1E2"/>
      </a:lt2>
      <a:accent1>
        <a:srgbClr val="21314D"/>
      </a:accent1>
      <a:accent2>
        <a:srgbClr val="00558C"/>
      </a:accent2>
      <a:accent3>
        <a:srgbClr val="00B1E2"/>
      </a:accent3>
      <a:accent4>
        <a:srgbClr val="CCD814"/>
      </a:accent4>
      <a:accent5>
        <a:srgbClr val="EEDC00"/>
      </a:accent5>
      <a:accent6>
        <a:srgbClr val="FFB81C"/>
      </a:accent6>
      <a:hlink>
        <a:srgbClr val="00B1E2"/>
      </a:hlink>
      <a:folHlink>
        <a:srgbClr val="CCD814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 Slide - Dar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Products and Services Section Headers">
  <a:themeElements>
    <a:clrScheme name="Custom 2">
      <a:dk1>
        <a:srgbClr val="01010F"/>
      </a:dk1>
      <a:lt1>
        <a:sysClr val="window" lastClr="FFFFFF"/>
      </a:lt1>
      <a:dk2>
        <a:srgbClr val="164C82"/>
      </a:dk2>
      <a:lt2>
        <a:srgbClr val="54A4E2"/>
      </a:lt2>
      <a:accent1>
        <a:srgbClr val="2279BC"/>
      </a:accent1>
      <a:accent2>
        <a:srgbClr val="36AEC7"/>
      </a:accent2>
      <a:accent3>
        <a:srgbClr val="ACCB32"/>
      </a:accent3>
      <a:accent4>
        <a:srgbClr val="9E3D90"/>
      </a:accent4>
      <a:accent5>
        <a:srgbClr val="F8981D"/>
      </a:accent5>
      <a:accent6>
        <a:srgbClr val="FFCD07"/>
      </a:accent6>
      <a:hlink>
        <a:srgbClr val="164C82"/>
      </a:hlink>
      <a:folHlink>
        <a:srgbClr val="B7B7B7"/>
      </a:folHlink>
    </a:clrScheme>
    <a:fontScheme name="IDC Corporate 2017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rtlCol="0">
        <a:spAutoFit/>
      </a:bodyPr>
      <a:lstStyle>
        <a:defPPr marL="274320" indent="-274320">
          <a:spcAft>
            <a:spcPts val="600"/>
          </a:spcAft>
          <a:buClr>
            <a:schemeClr val="tx2"/>
          </a:buClr>
          <a:buFont typeface="Wingdings" pitchFamily="2" charset="2"/>
          <a:buChar char="§"/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1CC0018-90B0-497A-8ABE-9F136FC5FCB7}" vid="{778E3E49-FBCC-49B9-BA7B-A7829A1E1024}"/>
    </a:ext>
  </a:extLst>
</a:theme>
</file>

<file path=ppt/theme/theme6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_Default Theme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Theme" id="{3EE14DC3-A151-43E7-9902-CA7346EC05F9}" vid="{56D71305-BBAC-4CA9-ADE0-46FF0BBAFD4D}"/>
    </a:ext>
  </a:extLst>
</a:theme>
</file>

<file path=ppt/theme/theme9.xml><?xml version="1.0" encoding="utf-8"?>
<a:theme xmlns:a="http://schemas.openxmlformats.org/drawingml/2006/main" name="Title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3</TotalTime>
  <Words>619</Words>
  <Application>Microsoft Macintosh PowerPoint</Application>
  <PresentationFormat>Widescreen</PresentationFormat>
  <Paragraphs>176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44" baseType="lpstr">
      <vt:lpstr>ＭＳ Ｐゴシック</vt:lpstr>
      <vt:lpstr>Arial</vt:lpstr>
      <vt:lpstr>Calibri</vt:lpstr>
      <vt:lpstr>Calibri Light</vt:lpstr>
      <vt:lpstr>Century Gothic</vt:lpstr>
      <vt:lpstr>CiscoSans</vt:lpstr>
      <vt:lpstr>CiscoSans ExtraLight</vt:lpstr>
      <vt:lpstr>CiscoSans Thin</vt:lpstr>
      <vt:lpstr>CiscoSansTT ExtraLight</vt:lpstr>
      <vt:lpstr>CiscoSansTT Thin</vt:lpstr>
      <vt:lpstr>Corbel</vt:lpstr>
      <vt:lpstr>Corbel Regular</vt:lpstr>
      <vt:lpstr>Open Sans</vt:lpstr>
      <vt:lpstr>Tipo de letra del sistema Fina</vt:lpstr>
      <vt:lpstr>Webdings</vt:lpstr>
      <vt:lpstr>Wingdings</vt:lpstr>
      <vt:lpstr>Work Sans Regular</vt:lpstr>
      <vt:lpstr>Work Sans SemiBold</vt:lpstr>
      <vt:lpstr>Cover Slide</vt:lpstr>
      <vt:lpstr>Content Slide - Light</vt:lpstr>
      <vt:lpstr>Content Slide - Dark</vt:lpstr>
      <vt:lpstr>Custom Design</vt:lpstr>
      <vt:lpstr>Products and Services Section Headers</vt:lpstr>
      <vt:lpstr>1_Custom Design</vt:lpstr>
      <vt:lpstr>1_Title Slide</vt:lpstr>
      <vt:lpstr>1_Default Theme</vt:lpstr>
      <vt:lpstr>Title Slide</vt:lpstr>
      <vt:lpstr>Default Theme</vt:lpstr>
      <vt:lpstr>1_Content Text</vt:lpstr>
      <vt:lpstr>1_Cover Slide</vt:lpstr>
      <vt:lpstr>think-cell Slide</vt:lpstr>
      <vt:lpstr>The IT Distributor of the Future</vt:lpstr>
      <vt:lpstr>The greatest danger in times of turbulence is not the turbulence, it is to act with yesterdays logic”         - Peter Drucker </vt:lpstr>
      <vt:lpstr>Technology Is Evolving Faster Than Ever Before</vt:lpstr>
      <vt:lpstr>Complexity Equals Opportunity</vt:lpstr>
      <vt:lpstr>The IT Distributor of the Future</vt:lpstr>
      <vt:lpstr>Our Business Context</vt:lpstr>
      <vt:lpstr>Our Strategy Focus</vt:lpstr>
      <vt:lpstr>Our End-to-End Portfolio Of Products, Services and Solutions is a Major Competitive Strength</vt:lpstr>
      <vt:lpstr>Focused Investment for the Future</vt:lpstr>
      <vt:lpstr>We Will Capitalize On Our Global Footprint</vt:lpstr>
      <vt:lpstr>Transforming Digitally for a Better Customer Experience</vt:lpstr>
      <vt:lpstr>Multiple, Custom Routes to Market</vt:lpstr>
      <vt:lpstr>PowerPoint Presentation</vt:lpstr>
    </vt:vector>
  </TitlesOfParts>
  <Company/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tchell, Diane</dc:creator>
  <cp:lastModifiedBy>Microsoft Office User</cp:lastModifiedBy>
  <cp:revision>65</cp:revision>
  <cp:lastPrinted>2018-02-05T15:25:40Z</cp:lastPrinted>
  <dcterms:created xsi:type="dcterms:W3CDTF">2015-10-14T19:36:08Z</dcterms:created>
  <dcterms:modified xsi:type="dcterms:W3CDTF">2018-05-30T14:50:37Z</dcterms:modified>
</cp:coreProperties>
</file>